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1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theme/theme2.xml" ContentType="application/vnd.openxmlformats-officedocument.theme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theme/theme4.xml" ContentType="application/vnd.openxmlformats-officedocument.theme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7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7">
  <p:sldMasterIdLst>
    <p:sldMasterId id="2147484573" r:id="rId4"/>
    <p:sldMasterId id="2147486360" r:id="rId5"/>
    <p:sldMasterId id="2147486894" r:id="rId6"/>
    <p:sldMasterId id="2147486957" r:id="rId7"/>
    <p:sldMasterId id="2147487051" r:id="rId8"/>
  </p:sldMasterIdLst>
  <p:notesMasterIdLst>
    <p:notesMasterId r:id="rId31"/>
  </p:notesMasterIdLst>
  <p:handoutMasterIdLst>
    <p:handoutMasterId r:id="rId32"/>
  </p:handoutMasterIdLst>
  <p:sldIdLst>
    <p:sldId id="2147482405" r:id="rId9"/>
    <p:sldId id="2147476035" r:id="rId10"/>
    <p:sldId id="2147483640" r:id="rId11"/>
    <p:sldId id="2147482431" r:id="rId12"/>
    <p:sldId id="2145705936" r:id="rId13"/>
    <p:sldId id="2147482410" r:id="rId14"/>
    <p:sldId id="2147482424" r:id="rId15"/>
    <p:sldId id="2147482427" r:id="rId16"/>
    <p:sldId id="2147482412" r:id="rId17"/>
    <p:sldId id="2147482425" r:id="rId18"/>
    <p:sldId id="2147482423" r:id="rId19"/>
    <p:sldId id="2147482426" r:id="rId20"/>
    <p:sldId id="2147482415" r:id="rId21"/>
    <p:sldId id="2147482416" r:id="rId22"/>
    <p:sldId id="2147482430" r:id="rId23"/>
    <p:sldId id="2147482408" r:id="rId24"/>
    <p:sldId id="2147482417" r:id="rId25"/>
    <p:sldId id="2147374761" r:id="rId26"/>
    <p:sldId id="2147482429" r:id="rId27"/>
    <p:sldId id="2147482421" r:id="rId28"/>
    <p:sldId id="2147482403" r:id="rId29"/>
    <p:sldId id="382" r:id="rId3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1070C03-4C84-EE1A-40C5-EC8CA19D269B}" name="Le Gall, Gregoire" initials="LGG" userId="S::gregoire.legall@arcadis.com::4261425a-2279-4acb-b476-54ca9d0d64fb" providerId="AD"/>
  <p188:author id="{750DFB4C-C99F-0981-96A8-871E841353C8}" name="Aguilera Casado, Elena" initials="ACE" userId="S::elena.aguilera@arcadis.com::66e4fc9e-c430-4447-85d6-86a9cefce10a" providerId="AD"/>
  <p188:author id="{81EC7862-41F1-521F-BF1D-16D8DE52B370}" name="Mas, Jesus" initials="MJ" userId="S::jesus.mas@arcadis.com::2a4d8adb-b746-49e7-aa01-4abe235a575e" providerId="AD"/>
  <p188:author id="{07AF33A5-0E33-B378-B4AD-05D61D780548}" name="Smith, Eric" initials="SE" userId="S::eric.smith2@arcadis.com::630f9371-a28c-4e5e-85a2-8e7e04e076cd" providerId="AD"/>
  <p188:author id="{53E4B0BF-8BC0-1759-2179-944165119CFB}" name="Ernst, Marie" initials="EM" userId="S::marie.ernst@arcadis.com::411ea09a-d5f6-42fb-a48c-36560e4a620c" providerId="AD"/>
  <p188:author id="{1B5606CE-C532-BD91-EF39-7393A3132F34}" name="Martin, Tom" initials="MT" userId="S::tom.martin@arcadis.com::54fa5441-cfec-420f-acfa-d1d646437b71" providerId="AD"/>
  <p188:author id="{DBF3D6EB-1F60-F987-654E-0F761345B117}" name="Verheul, Dolf" initials="VD" userId="S::dolf.verheul@arcadis.com::53af6ca8-2a92-4dc3-b9bf-19ad3ea5ac8b" providerId="AD"/>
  <p188:author id="{7936A9F1-C665-053F-E67B-0BAA8370F36F}" name="Carmona, Stephanie" initials="CS" userId="S::stephanie.carmona@arcadis.com::549f1449-4d60-4db8-926a-13b6d443a43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4610F"/>
    <a:srgbClr val="E86924"/>
    <a:srgbClr val="E3496B"/>
    <a:srgbClr val="F1A4B5"/>
    <a:srgbClr val="FCDFCD"/>
    <a:srgbClr val="F8BF9B"/>
    <a:srgbClr val="BA3B00"/>
    <a:srgbClr val="9D1D65"/>
    <a:srgbClr val="007079"/>
    <a:srgbClr val="2F619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411C53E-A726-4A43-9F39-7CD82433F258}" v="493" dt="2025-10-05T15:52:04.95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9CF1AB2-1976-4502-BF36-3FF5EA218861}" styleName="Estilo medio 4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68D230F3-CF80-4859-8CE7-A43EE81993B5}" styleName="Estilo claro 1 - Acento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159" autoAdjust="0"/>
    <p:restoredTop sz="94431" autoAdjust="0"/>
  </p:normalViewPr>
  <p:slideViewPr>
    <p:cSldViewPr snapToGrid="0">
      <p:cViewPr>
        <p:scale>
          <a:sx n="75" d="100"/>
          <a:sy n="75" d="100"/>
        </p:scale>
        <p:origin x="528" y="7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microsoft.com/office/2018/10/relationships/authors" Target="authors.xml"/><Relationship Id="rId21" Type="http://schemas.openxmlformats.org/officeDocument/2006/relationships/slide" Target="slides/slide13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presProps" Target="presProps.xml"/><Relationship Id="rId38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handoutMaster" Target="handoutMasters/handoutMaster1.xml"/><Relationship Id="rId37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tableStyles" Target="tableStyle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u'Azzam, Khadija" userId="36825828-e742-4d63-bee0-8d596eb55ca3" providerId="ADAL" clId="{7411C53E-A726-4A43-9F39-7CD82433F258}"/>
    <pc:docChg chg="undo redo custSel addSld delSld modSld sldOrd delMainMaster">
      <pc:chgData name="Mu'Azzam, Khadija" userId="36825828-e742-4d63-bee0-8d596eb55ca3" providerId="ADAL" clId="{7411C53E-A726-4A43-9F39-7CD82433F258}" dt="2025-10-05T15:52:50.771" v="4324" actId="1076"/>
      <pc:docMkLst>
        <pc:docMk/>
      </pc:docMkLst>
      <pc:sldChg chg="delSp add del mod ord">
        <pc:chgData name="Mu'Azzam, Khadija" userId="36825828-e742-4d63-bee0-8d596eb55ca3" providerId="ADAL" clId="{7411C53E-A726-4A43-9F39-7CD82433F258}" dt="2025-10-02T09:40:33.016" v="165" actId="47"/>
        <pc:sldMkLst>
          <pc:docMk/>
          <pc:sldMk cId="2636675870" sldId="258"/>
        </pc:sldMkLst>
      </pc:sldChg>
      <pc:sldChg chg="add del">
        <pc:chgData name="Mu'Azzam, Khadija" userId="36825828-e742-4d63-bee0-8d596eb55ca3" providerId="ADAL" clId="{7411C53E-A726-4A43-9F39-7CD82433F258}" dt="2025-10-02T09:33:04.977" v="143" actId="47"/>
        <pc:sldMkLst>
          <pc:docMk/>
          <pc:sldMk cId="0" sldId="259"/>
        </pc:sldMkLst>
      </pc:sldChg>
      <pc:sldChg chg="del">
        <pc:chgData name="Mu'Azzam, Khadija" userId="36825828-e742-4d63-bee0-8d596eb55ca3" providerId="ADAL" clId="{7411C53E-A726-4A43-9F39-7CD82433F258}" dt="2025-10-01T16:11:06.093" v="10" actId="47"/>
        <pc:sldMkLst>
          <pc:docMk/>
          <pc:sldMk cId="1146289097" sldId="323"/>
        </pc:sldMkLst>
      </pc:sldChg>
      <pc:sldChg chg="del">
        <pc:chgData name="Mu'Azzam, Khadija" userId="36825828-e742-4d63-bee0-8d596eb55ca3" providerId="ADAL" clId="{7411C53E-A726-4A43-9F39-7CD82433F258}" dt="2025-10-01T16:11:04.511" v="9" actId="47"/>
        <pc:sldMkLst>
          <pc:docMk/>
          <pc:sldMk cId="2791836078" sldId="325"/>
        </pc:sldMkLst>
      </pc:sldChg>
      <pc:sldChg chg="addSp delSp modSp add del mod">
        <pc:chgData name="Mu'Azzam, Khadija" userId="36825828-e742-4d63-bee0-8d596eb55ca3" providerId="ADAL" clId="{7411C53E-A726-4A43-9F39-7CD82433F258}" dt="2025-10-03T11:27:51.290" v="2537" actId="47"/>
        <pc:sldMkLst>
          <pc:docMk/>
          <pc:sldMk cId="2927425563" sldId="347"/>
        </pc:sldMkLst>
      </pc:sldChg>
      <pc:sldChg chg="addSp delSp modSp add mod">
        <pc:chgData name="Mu'Azzam, Khadija" userId="36825828-e742-4d63-bee0-8d596eb55ca3" providerId="ADAL" clId="{7411C53E-A726-4A43-9F39-7CD82433F258}" dt="2025-10-05T15:51:46.086" v="4320" actId="14100"/>
        <pc:sldMkLst>
          <pc:docMk/>
          <pc:sldMk cId="3550583615" sldId="382"/>
        </pc:sldMkLst>
        <pc:spChg chg="mod">
          <ac:chgData name="Mu'Azzam, Khadija" userId="36825828-e742-4d63-bee0-8d596eb55ca3" providerId="ADAL" clId="{7411C53E-A726-4A43-9F39-7CD82433F258}" dt="2025-10-02T10:34:32.302" v="697" actId="14100"/>
          <ac:spMkLst>
            <pc:docMk/>
            <pc:sldMk cId="3550583615" sldId="382"/>
            <ac:spMk id="4" creationId="{AEDCD927-4C6A-F9E6-0A50-8C2ED38F6CFA}"/>
          </ac:spMkLst>
        </pc:spChg>
        <pc:spChg chg="add mod">
          <ac:chgData name="Mu'Azzam, Khadija" userId="36825828-e742-4d63-bee0-8d596eb55ca3" providerId="ADAL" clId="{7411C53E-A726-4A43-9F39-7CD82433F258}" dt="2025-10-03T11:06:45.467" v="2025" actId="113"/>
          <ac:spMkLst>
            <pc:docMk/>
            <pc:sldMk cId="3550583615" sldId="382"/>
            <ac:spMk id="11" creationId="{B4CF415E-DF4A-7A24-87AB-57FA5DAB57B9}"/>
          </ac:spMkLst>
        </pc:spChg>
        <pc:spChg chg="add mod">
          <ac:chgData name="Mu'Azzam, Khadija" userId="36825828-e742-4d63-bee0-8d596eb55ca3" providerId="ADAL" clId="{7411C53E-A726-4A43-9F39-7CD82433F258}" dt="2025-10-03T11:06:00.460" v="2011" actId="1076"/>
          <ac:spMkLst>
            <pc:docMk/>
            <pc:sldMk cId="3550583615" sldId="382"/>
            <ac:spMk id="12" creationId="{EDD36C6C-31CB-3757-1CCA-D939D3FB8C00}"/>
          </ac:spMkLst>
        </pc:spChg>
        <pc:spChg chg="add mod">
          <ac:chgData name="Mu'Azzam, Khadija" userId="36825828-e742-4d63-bee0-8d596eb55ca3" providerId="ADAL" clId="{7411C53E-A726-4A43-9F39-7CD82433F258}" dt="2025-10-03T11:06:47.633" v="2026" actId="113"/>
          <ac:spMkLst>
            <pc:docMk/>
            <pc:sldMk cId="3550583615" sldId="382"/>
            <ac:spMk id="24" creationId="{A1D2D198-3E5B-20D4-26C3-690E153FE482}"/>
          </ac:spMkLst>
        </pc:spChg>
        <pc:spChg chg="add mod">
          <ac:chgData name="Mu'Azzam, Khadija" userId="36825828-e742-4d63-bee0-8d596eb55ca3" providerId="ADAL" clId="{7411C53E-A726-4A43-9F39-7CD82433F258}" dt="2025-10-03T11:06:02.818" v="2012" actId="1076"/>
          <ac:spMkLst>
            <pc:docMk/>
            <pc:sldMk cId="3550583615" sldId="382"/>
            <ac:spMk id="25" creationId="{B6102F68-B478-801E-245B-F2739CFCF345}"/>
          </ac:spMkLst>
        </pc:spChg>
        <pc:spChg chg="add mod">
          <ac:chgData name="Mu'Azzam, Khadija" userId="36825828-e742-4d63-bee0-8d596eb55ca3" providerId="ADAL" clId="{7411C53E-A726-4A43-9F39-7CD82433F258}" dt="2025-10-03T11:06:50.880" v="2027" actId="113"/>
          <ac:spMkLst>
            <pc:docMk/>
            <pc:sldMk cId="3550583615" sldId="382"/>
            <ac:spMk id="26" creationId="{D8F23256-B4EC-E9F6-88DD-0C4409794472}"/>
          </ac:spMkLst>
        </pc:spChg>
        <pc:spChg chg="add mod">
          <ac:chgData name="Mu'Azzam, Khadija" userId="36825828-e742-4d63-bee0-8d596eb55ca3" providerId="ADAL" clId="{7411C53E-A726-4A43-9F39-7CD82433F258}" dt="2025-10-03T11:06:08.694" v="2013" actId="1076"/>
          <ac:spMkLst>
            <pc:docMk/>
            <pc:sldMk cId="3550583615" sldId="382"/>
            <ac:spMk id="27" creationId="{94EDB746-A05A-14FB-A6CC-E575FAC84E83}"/>
          </ac:spMkLst>
        </pc:spChg>
        <pc:spChg chg="add mod">
          <ac:chgData name="Mu'Azzam, Khadija" userId="36825828-e742-4d63-bee0-8d596eb55ca3" providerId="ADAL" clId="{7411C53E-A726-4A43-9F39-7CD82433F258}" dt="2025-10-03T11:06:53.846" v="2028" actId="113"/>
          <ac:spMkLst>
            <pc:docMk/>
            <pc:sldMk cId="3550583615" sldId="382"/>
            <ac:spMk id="28" creationId="{AC25BB31-9527-0373-9EB5-BF1E9DB29608}"/>
          </ac:spMkLst>
        </pc:spChg>
        <pc:spChg chg="add mod">
          <ac:chgData name="Mu'Azzam, Khadija" userId="36825828-e742-4d63-bee0-8d596eb55ca3" providerId="ADAL" clId="{7411C53E-A726-4A43-9F39-7CD82433F258}" dt="2025-10-03T11:06:10.948" v="2014" actId="1076"/>
          <ac:spMkLst>
            <pc:docMk/>
            <pc:sldMk cId="3550583615" sldId="382"/>
            <ac:spMk id="29" creationId="{1EEBB0F4-5DF8-E322-0F11-4D3CAD9FD8CD}"/>
          </ac:spMkLst>
        </pc:spChg>
        <pc:picChg chg="add mod">
          <ac:chgData name="Mu'Azzam, Khadija" userId="36825828-e742-4d63-bee0-8d596eb55ca3" providerId="ADAL" clId="{7411C53E-A726-4A43-9F39-7CD82433F258}" dt="2025-10-05T15:34:32.511" v="4255" actId="1440"/>
          <ac:picMkLst>
            <pc:docMk/>
            <pc:sldMk cId="3550583615" sldId="382"/>
            <ac:picMk id="3" creationId="{51340892-425F-C7BF-4415-A4482617FFC5}"/>
          </ac:picMkLst>
        </pc:picChg>
        <pc:picChg chg="mod">
          <ac:chgData name="Mu'Azzam, Khadija" userId="36825828-e742-4d63-bee0-8d596eb55ca3" providerId="ADAL" clId="{7411C53E-A726-4A43-9F39-7CD82433F258}" dt="2025-10-05T15:34:28.700" v="4253" actId="1440"/>
          <ac:picMkLst>
            <pc:docMk/>
            <pc:sldMk cId="3550583615" sldId="382"/>
            <ac:picMk id="16" creationId="{5B0422A7-3854-10CE-9E3A-56EA92324F94}"/>
          </ac:picMkLst>
        </pc:picChg>
        <pc:picChg chg="add mod">
          <ac:chgData name="Mu'Azzam, Khadija" userId="36825828-e742-4d63-bee0-8d596eb55ca3" providerId="ADAL" clId="{7411C53E-A726-4A43-9F39-7CD82433F258}" dt="2025-10-05T15:34:30.124" v="4254" actId="1440"/>
          <ac:picMkLst>
            <pc:docMk/>
            <pc:sldMk cId="3550583615" sldId="382"/>
            <ac:picMk id="20" creationId="{6349ED3A-5749-559A-042B-48C6493A4BDD}"/>
          </ac:picMkLst>
        </pc:picChg>
        <pc:picChg chg="add mod">
          <ac:chgData name="Mu'Azzam, Khadija" userId="36825828-e742-4d63-bee0-8d596eb55ca3" providerId="ADAL" clId="{7411C53E-A726-4A43-9F39-7CD82433F258}" dt="2025-10-05T15:51:46.086" v="4320" actId="14100"/>
          <ac:picMkLst>
            <pc:docMk/>
            <pc:sldMk cId="3550583615" sldId="382"/>
            <ac:picMk id="22" creationId="{F186E90B-8719-7F70-51AC-44804951D987}"/>
          </ac:picMkLst>
        </pc:picChg>
      </pc:sldChg>
      <pc:sldChg chg="addSp delSp modSp mod ord modNotesTx">
        <pc:chgData name="Mu'Azzam, Khadija" userId="36825828-e742-4d63-bee0-8d596eb55ca3" providerId="ADAL" clId="{7411C53E-A726-4A43-9F39-7CD82433F258}" dt="2025-10-05T15:38:13.107" v="4273" actId="1076"/>
        <pc:sldMkLst>
          <pc:docMk/>
          <pc:sldMk cId="796654249" sldId="2145705936"/>
        </pc:sldMkLst>
        <pc:spChg chg="mod">
          <ac:chgData name="Mu'Azzam, Khadija" userId="36825828-e742-4d63-bee0-8d596eb55ca3" providerId="ADAL" clId="{7411C53E-A726-4A43-9F39-7CD82433F258}" dt="2025-10-05T12:01:58.159" v="3848" actId="1076"/>
          <ac:spMkLst>
            <pc:docMk/>
            <pc:sldMk cId="796654249" sldId="2145705936"/>
            <ac:spMk id="3" creationId="{A14B2DA4-6874-0C86-8FD8-14597F3AC152}"/>
          </ac:spMkLst>
        </pc:spChg>
        <pc:spChg chg="mod">
          <ac:chgData name="Mu'Azzam, Khadija" userId="36825828-e742-4d63-bee0-8d596eb55ca3" providerId="ADAL" clId="{7411C53E-A726-4A43-9F39-7CD82433F258}" dt="2025-10-05T12:06:17.039" v="3923" actId="207"/>
          <ac:spMkLst>
            <pc:docMk/>
            <pc:sldMk cId="796654249" sldId="2145705936"/>
            <ac:spMk id="6" creationId="{E3981F61-DEA1-26E0-0F6F-8C048038C0DB}"/>
          </ac:spMkLst>
        </pc:spChg>
        <pc:spChg chg="add del mod">
          <ac:chgData name="Mu'Azzam, Khadija" userId="36825828-e742-4d63-bee0-8d596eb55ca3" providerId="ADAL" clId="{7411C53E-A726-4A43-9F39-7CD82433F258}" dt="2025-10-05T15:38:13.107" v="4273" actId="1076"/>
          <ac:spMkLst>
            <pc:docMk/>
            <pc:sldMk cId="796654249" sldId="2145705936"/>
            <ac:spMk id="7" creationId="{AFFE9F91-2781-5127-D918-A2187E602787}"/>
          </ac:spMkLst>
        </pc:spChg>
        <pc:spChg chg="mod">
          <ac:chgData name="Mu'Azzam, Khadija" userId="36825828-e742-4d63-bee0-8d596eb55ca3" providerId="ADAL" clId="{7411C53E-A726-4A43-9F39-7CD82433F258}" dt="2025-10-05T12:01:48.012" v="3845" actId="1076"/>
          <ac:spMkLst>
            <pc:docMk/>
            <pc:sldMk cId="796654249" sldId="2145705936"/>
            <ac:spMk id="8" creationId="{09600332-288B-00AB-F1AF-BAEBAD6EC8CA}"/>
          </ac:spMkLst>
        </pc:spChg>
        <pc:spChg chg="mod">
          <ac:chgData name="Mu'Azzam, Khadija" userId="36825828-e742-4d63-bee0-8d596eb55ca3" providerId="ADAL" clId="{7411C53E-A726-4A43-9F39-7CD82433F258}" dt="2025-10-05T12:01:43.723" v="3844" actId="1076"/>
          <ac:spMkLst>
            <pc:docMk/>
            <pc:sldMk cId="796654249" sldId="2145705936"/>
            <ac:spMk id="9" creationId="{D4EC6182-4AC3-2ED1-B571-5889EA85148E}"/>
          </ac:spMkLst>
        </pc:spChg>
        <pc:picChg chg="mod">
          <ac:chgData name="Mu'Azzam, Khadija" userId="36825828-e742-4d63-bee0-8d596eb55ca3" providerId="ADAL" clId="{7411C53E-A726-4A43-9F39-7CD82433F258}" dt="2025-10-05T12:05:41.377" v="3914" actId="1076"/>
          <ac:picMkLst>
            <pc:docMk/>
            <pc:sldMk cId="796654249" sldId="2145705936"/>
            <ac:picMk id="4" creationId="{82E81855-4A22-9EB9-2C34-673EFF5E89F9}"/>
          </ac:picMkLst>
        </pc:picChg>
      </pc:sldChg>
      <pc:sldChg chg="addSp delSp modSp add del mod">
        <pc:chgData name="Mu'Azzam, Khadija" userId="36825828-e742-4d63-bee0-8d596eb55ca3" providerId="ADAL" clId="{7411C53E-A726-4A43-9F39-7CD82433F258}" dt="2025-10-05T15:09:37.841" v="4037" actId="403"/>
        <pc:sldMkLst>
          <pc:docMk/>
          <pc:sldMk cId="450110918" sldId="2147374761"/>
        </pc:sldMkLst>
        <pc:spChg chg="mod">
          <ac:chgData name="Mu'Azzam, Khadija" userId="36825828-e742-4d63-bee0-8d596eb55ca3" providerId="ADAL" clId="{7411C53E-A726-4A43-9F39-7CD82433F258}" dt="2025-10-03T13:33:25.679" v="3571" actId="207"/>
          <ac:spMkLst>
            <pc:docMk/>
            <pc:sldMk cId="450110918" sldId="2147374761"/>
            <ac:spMk id="41" creationId="{B16716E4-E0F6-9E69-11DC-2E44322733AE}"/>
          </ac:spMkLst>
        </pc:spChg>
        <pc:graphicFrameChg chg="add mod modGraphic">
          <ac:chgData name="Mu'Azzam, Khadija" userId="36825828-e742-4d63-bee0-8d596eb55ca3" providerId="ADAL" clId="{7411C53E-A726-4A43-9F39-7CD82433F258}" dt="2025-10-05T15:09:37.841" v="4037" actId="403"/>
          <ac:graphicFrameMkLst>
            <pc:docMk/>
            <pc:sldMk cId="450110918" sldId="2147374761"/>
            <ac:graphicFrameMk id="3" creationId="{C6B0F8A3-A6EC-7F11-A30B-C7AB90754D0A}"/>
          </ac:graphicFrameMkLst>
        </pc:graphicFrameChg>
        <pc:picChg chg="add del mod">
          <ac:chgData name="Mu'Azzam, Khadija" userId="36825828-e742-4d63-bee0-8d596eb55ca3" providerId="ADAL" clId="{7411C53E-A726-4A43-9F39-7CD82433F258}" dt="2025-10-03T13:47:37.704" v="3646" actId="478"/>
          <ac:picMkLst>
            <pc:docMk/>
            <pc:sldMk cId="450110918" sldId="2147374761"/>
            <ac:picMk id="40" creationId="{A8F18084-3834-2025-A503-189FDDE63A61}"/>
          </ac:picMkLst>
        </pc:picChg>
        <pc:picChg chg="add mod">
          <ac:chgData name="Mu'Azzam, Khadija" userId="36825828-e742-4d63-bee0-8d596eb55ca3" providerId="ADAL" clId="{7411C53E-A726-4A43-9F39-7CD82433F258}" dt="2025-10-02T15:51:02.467" v="1923" actId="1076"/>
          <ac:picMkLst>
            <pc:docMk/>
            <pc:sldMk cId="450110918" sldId="2147374761"/>
            <ac:picMk id="5122" creationId="{C6FF8AED-A8ED-B083-2B43-E1571B511D31}"/>
          </ac:picMkLst>
        </pc:picChg>
      </pc:sldChg>
      <pc:sldChg chg="del">
        <pc:chgData name="Mu'Azzam, Khadija" userId="36825828-e742-4d63-bee0-8d596eb55ca3" providerId="ADAL" clId="{7411C53E-A726-4A43-9F39-7CD82433F258}" dt="2025-10-02T09:37:49.512" v="151" actId="47"/>
        <pc:sldMkLst>
          <pc:docMk/>
          <pc:sldMk cId="2882960843" sldId="2147376184"/>
        </pc:sldMkLst>
      </pc:sldChg>
      <pc:sldChg chg="add del">
        <pc:chgData name="Mu'Azzam, Khadija" userId="36825828-e742-4d63-bee0-8d596eb55ca3" providerId="ADAL" clId="{7411C53E-A726-4A43-9F39-7CD82433F258}" dt="2025-10-02T09:37:50.334" v="152" actId="47"/>
        <pc:sldMkLst>
          <pc:docMk/>
          <pc:sldMk cId="2855394542" sldId="2147476025"/>
        </pc:sldMkLst>
      </pc:sldChg>
      <pc:sldChg chg="del">
        <pc:chgData name="Mu'Azzam, Khadija" userId="36825828-e742-4d63-bee0-8d596eb55ca3" providerId="ADAL" clId="{7411C53E-A726-4A43-9F39-7CD82433F258}" dt="2025-10-02T09:37:47.833" v="147" actId="47"/>
        <pc:sldMkLst>
          <pc:docMk/>
          <pc:sldMk cId="3557258276" sldId="2147476034"/>
        </pc:sldMkLst>
      </pc:sldChg>
      <pc:sldChg chg="addSp delSp modSp mod">
        <pc:chgData name="Mu'Azzam, Khadija" userId="36825828-e742-4d63-bee0-8d596eb55ca3" providerId="ADAL" clId="{7411C53E-A726-4A43-9F39-7CD82433F258}" dt="2025-10-05T11:59:11.559" v="3810" actId="208"/>
        <pc:sldMkLst>
          <pc:docMk/>
          <pc:sldMk cId="0" sldId="2147476035"/>
        </pc:sldMkLst>
        <pc:spChg chg="mod">
          <ac:chgData name="Mu'Azzam, Khadija" userId="36825828-e742-4d63-bee0-8d596eb55ca3" providerId="ADAL" clId="{7411C53E-A726-4A43-9F39-7CD82433F258}" dt="2025-10-02T09:53:21.386" v="257" actId="14100"/>
          <ac:spMkLst>
            <pc:docMk/>
            <pc:sldMk cId="0" sldId="2147476035"/>
            <ac:spMk id="4" creationId="{00000000-0000-0000-0000-000000000000}"/>
          </ac:spMkLst>
        </pc:spChg>
        <pc:spChg chg="add del mod">
          <ac:chgData name="Mu'Azzam, Khadija" userId="36825828-e742-4d63-bee0-8d596eb55ca3" providerId="ADAL" clId="{7411C53E-A726-4A43-9F39-7CD82433F258}" dt="2025-10-05T11:58:37.964" v="3797" actId="478"/>
          <ac:spMkLst>
            <pc:docMk/>
            <pc:sldMk cId="0" sldId="2147476035"/>
            <ac:spMk id="6" creationId="{B8E7621B-6592-C60F-4389-9280895F7E6A}"/>
          </ac:spMkLst>
        </pc:spChg>
        <pc:spChg chg="add mod">
          <ac:chgData name="Mu'Azzam, Khadija" userId="36825828-e742-4d63-bee0-8d596eb55ca3" providerId="ADAL" clId="{7411C53E-A726-4A43-9F39-7CD82433F258}" dt="2025-10-05T11:59:11.559" v="3810" actId="208"/>
          <ac:spMkLst>
            <pc:docMk/>
            <pc:sldMk cId="0" sldId="2147476035"/>
            <ac:spMk id="7" creationId="{92D5B5CF-7804-C74F-9E2F-E93098FF2D80}"/>
          </ac:spMkLst>
        </pc:spChg>
        <pc:spChg chg="mod">
          <ac:chgData name="Mu'Azzam, Khadija" userId="36825828-e742-4d63-bee0-8d596eb55ca3" providerId="ADAL" clId="{7411C53E-A726-4A43-9F39-7CD82433F258}" dt="2025-10-05T11:57:05.490" v="3782" actId="1076"/>
          <ac:spMkLst>
            <pc:docMk/>
            <pc:sldMk cId="0" sldId="2147476035"/>
            <ac:spMk id="36" creationId="{B8018A72-CBBD-5955-FF15-3B3471C9032B}"/>
          </ac:spMkLst>
        </pc:spChg>
        <pc:graphicFrameChg chg="mod modGraphic">
          <ac:chgData name="Mu'Azzam, Khadija" userId="36825828-e742-4d63-bee0-8d596eb55ca3" providerId="ADAL" clId="{7411C53E-A726-4A43-9F39-7CD82433F258}" dt="2025-10-05T11:57:50.473" v="3784" actId="207"/>
          <ac:graphicFrameMkLst>
            <pc:docMk/>
            <pc:sldMk cId="0" sldId="2147476035"/>
            <ac:graphicFrameMk id="3" creationId="{FB3FAA41-6D48-FCE7-91B1-07875C1C48BC}"/>
          </ac:graphicFrameMkLst>
        </pc:graphicFrameChg>
        <pc:picChg chg="mod">
          <ac:chgData name="Mu'Azzam, Khadija" userId="36825828-e742-4d63-bee0-8d596eb55ca3" providerId="ADAL" clId="{7411C53E-A726-4A43-9F39-7CD82433F258}" dt="2025-10-05T11:56:58.910" v="3781" actId="29295"/>
          <ac:picMkLst>
            <pc:docMk/>
            <pc:sldMk cId="0" sldId="2147476035"/>
            <ac:picMk id="2" creationId="{2BA927C6-B4DC-FD06-34DF-5CBF48BB2293}"/>
          </ac:picMkLst>
        </pc:picChg>
      </pc:sldChg>
      <pc:sldChg chg="addSp delSp modSp add del mod ord">
        <pc:chgData name="Mu'Azzam, Khadija" userId="36825828-e742-4d63-bee0-8d596eb55ca3" providerId="ADAL" clId="{7411C53E-A726-4A43-9F39-7CD82433F258}" dt="2025-10-05T14:55:50.698" v="3957" actId="47"/>
        <pc:sldMkLst>
          <pc:docMk/>
          <pc:sldMk cId="2124359496" sldId="2147478865"/>
        </pc:sldMkLst>
        <pc:spChg chg="add del mod">
          <ac:chgData name="Mu'Azzam, Khadija" userId="36825828-e742-4d63-bee0-8d596eb55ca3" providerId="ADAL" clId="{7411C53E-A726-4A43-9F39-7CD82433F258}" dt="2025-10-05T14:52:38.506" v="3936" actId="478"/>
          <ac:spMkLst>
            <pc:docMk/>
            <pc:sldMk cId="2124359496" sldId="2147478865"/>
            <ac:spMk id="2" creationId="{A3600FE1-2B39-69DF-90FF-720EE2821952}"/>
          </ac:spMkLst>
        </pc:spChg>
        <pc:spChg chg="add del mod">
          <ac:chgData name="Mu'Azzam, Khadija" userId="36825828-e742-4d63-bee0-8d596eb55ca3" providerId="ADAL" clId="{7411C53E-A726-4A43-9F39-7CD82433F258}" dt="2025-10-05T14:52:38.506" v="3936" actId="478"/>
          <ac:spMkLst>
            <pc:docMk/>
            <pc:sldMk cId="2124359496" sldId="2147478865"/>
            <ac:spMk id="6" creationId="{7F445D52-CD1E-BB1D-46BF-6444A96F5E46}"/>
          </ac:spMkLst>
        </pc:spChg>
        <pc:spChg chg="add del mod">
          <ac:chgData name="Mu'Azzam, Khadija" userId="36825828-e742-4d63-bee0-8d596eb55ca3" providerId="ADAL" clId="{7411C53E-A726-4A43-9F39-7CD82433F258}" dt="2025-10-05T14:52:38.506" v="3936" actId="478"/>
          <ac:spMkLst>
            <pc:docMk/>
            <pc:sldMk cId="2124359496" sldId="2147478865"/>
            <ac:spMk id="10" creationId="{6F39B4C7-8D1A-C24F-F1A9-9956708EFFE8}"/>
          </ac:spMkLst>
        </pc:spChg>
        <pc:spChg chg="add del mod">
          <ac:chgData name="Mu'Azzam, Khadija" userId="36825828-e742-4d63-bee0-8d596eb55ca3" providerId="ADAL" clId="{7411C53E-A726-4A43-9F39-7CD82433F258}" dt="2025-10-05T14:52:38.506" v="3936" actId="478"/>
          <ac:spMkLst>
            <pc:docMk/>
            <pc:sldMk cId="2124359496" sldId="2147478865"/>
            <ac:spMk id="11" creationId="{355EDDCA-29E2-4523-BF37-837D2198FB2E}"/>
          </ac:spMkLst>
        </pc:spChg>
        <pc:spChg chg="add del mod">
          <ac:chgData name="Mu'Azzam, Khadija" userId="36825828-e742-4d63-bee0-8d596eb55ca3" providerId="ADAL" clId="{7411C53E-A726-4A43-9F39-7CD82433F258}" dt="2025-10-05T14:52:38.506" v="3936" actId="478"/>
          <ac:spMkLst>
            <pc:docMk/>
            <pc:sldMk cId="2124359496" sldId="2147478865"/>
            <ac:spMk id="15" creationId="{226EB2F4-28CF-4F6D-926E-9F0EECBE7949}"/>
          </ac:spMkLst>
        </pc:spChg>
        <pc:spChg chg="add del mod">
          <ac:chgData name="Mu'Azzam, Khadija" userId="36825828-e742-4d63-bee0-8d596eb55ca3" providerId="ADAL" clId="{7411C53E-A726-4A43-9F39-7CD82433F258}" dt="2025-10-05T14:52:38.506" v="3936" actId="478"/>
          <ac:spMkLst>
            <pc:docMk/>
            <pc:sldMk cId="2124359496" sldId="2147478865"/>
            <ac:spMk id="17" creationId="{CE8C16EF-DDBF-4928-9BC5-77C46A2AADFC}"/>
          </ac:spMkLst>
        </pc:spChg>
        <pc:spChg chg="add del mod">
          <ac:chgData name="Mu'Azzam, Khadija" userId="36825828-e742-4d63-bee0-8d596eb55ca3" providerId="ADAL" clId="{7411C53E-A726-4A43-9F39-7CD82433F258}" dt="2025-10-05T14:52:38.506" v="3936" actId="478"/>
          <ac:spMkLst>
            <pc:docMk/>
            <pc:sldMk cId="2124359496" sldId="2147478865"/>
            <ac:spMk id="18" creationId="{C3D2115D-A035-F102-6A33-437C28CA9CD6}"/>
          </ac:spMkLst>
        </pc:spChg>
        <pc:spChg chg="add del mod">
          <ac:chgData name="Mu'Azzam, Khadija" userId="36825828-e742-4d63-bee0-8d596eb55ca3" providerId="ADAL" clId="{7411C53E-A726-4A43-9F39-7CD82433F258}" dt="2025-10-05T14:52:38.506" v="3936" actId="478"/>
          <ac:spMkLst>
            <pc:docMk/>
            <pc:sldMk cId="2124359496" sldId="2147478865"/>
            <ac:spMk id="19" creationId="{6DAFF2AE-3A18-4D62-B71C-3302503E7671}"/>
          </ac:spMkLst>
        </pc:spChg>
        <pc:spChg chg="add del mod">
          <ac:chgData name="Mu'Azzam, Khadija" userId="36825828-e742-4d63-bee0-8d596eb55ca3" providerId="ADAL" clId="{7411C53E-A726-4A43-9F39-7CD82433F258}" dt="2025-10-05T14:52:38.506" v="3936" actId="478"/>
          <ac:spMkLst>
            <pc:docMk/>
            <pc:sldMk cId="2124359496" sldId="2147478865"/>
            <ac:spMk id="20" creationId="{D0681490-2557-F348-45DF-78D604EB84A1}"/>
          </ac:spMkLst>
        </pc:spChg>
        <pc:picChg chg="add del mod">
          <ac:chgData name="Mu'Azzam, Khadija" userId="36825828-e742-4d63-bee0-8d596eb55ca3" providerId="ADAL" clId="{7411C53E-A726-4A43-9F39-7CD82433F258}" dt="2025-10-05T14:52:38.506" v="3936" actId="478"/>
          <ac:picMkLst>
            <pc:docMk/>
            <pc:sldMk cId="2124359496" sldId="2147478865"/>
            <ac:picMk id="14" creationId="{1B778783-CDA2-41B9-BDD3-F1D0EA0E794D}"/>
          </ac:picMkLst>
        </pc:picChg>
      </pc:sldChg>
      <pc:sldChg chg="del">
        <pc:chgData name="Mu'Azzam, Khadija" userId="36825828-e742-4d63-bee0-8d596eb55ca3" providerId="ADAL" clId="{7411C53E-A726-4A43-9F39-7CD82433F258}" dt="2025-10-02T09:37:49.208" v="149" actId="47"/>
        <pc:sldMkLst>
          <pc:docMk/>
          <pc:sldMk cId="1827076309" sldId="2147479092"/>
        </pc:sldMkLst>
      </pc:sldChg>
      <pc:sldChg chg="addSp delSp modSp add del mod">
        <pc:chgData name="Mu'Azzam, Khadija" userId="36825828-e742-4d63-bee0-8d596eb55ca3" providerId="ADAL" clId="{7411C53E-A726-4A43-9F39-7CD82433F258}" dt="2025-10-05T15:52:04.950" v="4321" actId="20577"/>
        <pc:sldMkLst>
          <pc:docMk/>
          <pc:sldMk cId="2585161429" sldId="2147482403"/>
        </pc:sldMkLst>
        <pc:spChg chg="mod">
          <ac:chgData name="Mu'Azzam, Khadija" userId="36825828-e742-4d63-bee0-8d596eb55ca3" providerId="ADAL" clId="{7411C53E-A726-4A43-9F39-7CD82433F258}" dt="2025-10-03T13:44:05.577" v="3619" actId="1076"/>
          <ac:spMkLst>
            <pc:docMk/>
            <pc:sldMk cId="2585161429" sldId="2147482403"/>
            <ac:spMk id="33" creationId="{06485FBD-3D8D-268A-7B76-68F3B7AEBD6F}"/>
          </ac:spMkLst>
        </pc:spChg>
        <pc:grpChg chg="del">
          <ac:chgData name="Mu'Azzam, Khadija" userId="36825828-e742-4d63-bee0-8d596eb55ca3" providerId="ADAL" clId="{7411C53E-A726-4A43-9F39-7CD82433F258}" dt="2025-10-02T10:13:52.898" v="453" actId="478"/>
          <ac:grpSpMkLst>
            <pc:docMk/>
            <pc:sldMk cId="2585161429" sldId="2147482403"/>
            <ac:grpSpMk id="63" creationId="{90F2413C-9B64-4421-C391-1E002D8E91CB}"/>
          </ac:grpSpMkLst>
        </pc:grpChg>
        <pc:graphicFrameChg chg="add mod modGraphic">
          <ac:chgData name="Mu'Azzam, Khadija" userId="36825828-e742-4d63-bee0-8d596eb55ca3" providerId="ADAL" clId="{7411C53E-A726-4A43-9F39-7CD82433F258}" dt="2025-10-05T15:52:04.950" v="4321" actId="20577"/>
          <ac:graphicFrameMkLst>
            <pc:docMk/>
            <pc:sldMk cId="2585161429" sldId="2147482403"/>
            <ac:graphicFrameMk id="3" creationId="{BCB0279A-9B6E-DFEF-DAE8-AE402838203B}"/>
          </ac:graphicFrameMkLst>
        </pc:graphicFrameChg>
        <pc:picChg chg="add mod">
          <ac:chgData name="Mu'Azzam, Khadija" userId="36825828-e742-4d63-bee0-8d596eb55ca3" providerId="ADAL" clId="{7411C53E-A726-4A43-9F39-7CD82433F258}" dt="2025-10-02T15:51:54.069" v="1951" actId="1035"/>
          <ac:picMkLst>
            <pc:docMk/>
            <pc:sldMk cId="2585161429" sldId="2147482403"/>
            <ac:picMk id="18" creationId="{33F2DAFF-A96C-B47E-6C55-5E4598260CE9}"/>
          </ac:picMkLst>
        </pc:picChg>
      </pc:sldChg>
      <pc:sldChg chg="addSp delSp modSp mod">
        <pc:chgData name="Mu'Azzam, Khadija" userId="36825828-e742-4d63-bee0-8d596eb55ca3" providerId="ADAL" clId="{7411C53E-A726-4A43-9F39-7CD82433F258}" dt="2025-10-05T11:55:10.107" v="3706" actId="1076"/>
        <pc:sldMkLst>
          <pc:docMk/>
          <pc:sldMk cId="411771436" sldId="2147482405"/>
        </pc:sldMkLst>
        <pc:spChg chg="add mod">
          <ac:chgData name="Mu'Azzam, Khadija" userId="36825828-e742-4d63-bee0-8d596eb55ca3" providerId="ADAL" clId="{7411C53E-A726-4A43-9F39-7CD82433F258}" dt="2025-10-05T11:55:10.107" v="3706" actId="1076"/>
          <ac:spMkLst>
            <pc:docMk/>
            <pc:sldMk cId="411771436" sldId="2147482405"/>
            <ac:spMk id="2" creationId="{2D0F9E12-F4F9-BCF9-57A9-AABBDA3FE798}"/>
          </ac:spMkLst>
        </pc:spChg>
        <pc:spChg chg="add mod">
          <ac:chgData name="Mu'Azzam, Khadija" userId="36825828-e742-4d63-bee0-8d596eb55ca3" providerId="ADAL" clId="{7411C53E-A726-4A43-9F39-7CD82433F258}" dt="2025-10-05T11:55:07.079" v="3705" actId="1076"/>
          <ac:spMkLst>
            <pc:docMk/>
            <pc:sldMk cId="411771436" sldId="2147482405"/>
            <ac:spMk id="3" creationId="{5F0B2083-B711-959D-25E4-E177A7BC3C72}"/>
          </ac:spMkLst>
        </pc:spChg>
        <pc:spChg chg="mod">
          <ac:chgData name="Mu'Azzam, Khadija" userId="36825828-e742-4d63-bee0-8d596eb55ca3" providerId="ADAL" clId="{7411C53E-A726-4A43-9F39-7CD82433F258}" dt="2025-10-05T11:54:14.922" v="3693" actId="14100"/>
          <ac:spMkLst>
            <pc:docMk/>
            <pc:sldMk cId="411771436" sldId="2147482405"/>
            <ac:spMk id="4" creationId="{E1118012-79B3-02AB-0006-CEE536545D5B}"/>
          </ac:spMkLst>
        </pc:spChg>
        <pc:spChg chg="mod">
          <ac:chgData name="Mu'Azzam, Khadija" userId="36825828-e742-4d63-bee0-8d596eb55ca3" providerId="ADAL" clId="{7411C53E-A726-4A43-9F39-7CD82433F258}" dt="2025-10-01T16:09:07.334" v="0" actId="1036"/>
          <ac:spMkLst>
            <pc:docMk/>
            <pc:sldMk cId="411771436" sldId="2147482405"/>
            <ac:spMk id="7" creationId="{41E89DF5-B8D7-F213-A696-36348E993A79}"/>
          </ac:spMkLst>
        </pc:spChg>
        <pc:spChg chg="mod">
          <ac:chgData name="Mu'Azzam, Khadija" userId="36825828-e742-4d63-bee0-8d596eb55ca3" providerId="ADAL" clId="{7411C53E-A726-4A43-9F39-7CD82433F258}" dt="2025-10-05T11:52:01.329" v="3670" actId="1076"/>
          <ac:spMkLst>
            <pc:docMk/>
            <pc:sldMk cId="411771436" sldId="2147482405"/>
            <ac:spMk id="9" creationId="{3BC54099-2405-6C7F-3C3C-36D2FD3A6E22}"/>
          </ac:spMkLst>
        </pc:spChg>
        <pc:spChg chg="mod">
          <ac:chgData name="Mu'Azzam, Khadija" userId="36825828-e742-4d63-bee0-8d596eb55ca3" providerId="ADAL" clId="{7411C53E-A726-4A43-9F39-7CD82433F258}" dt="2025-10-05T11:54:20.857" v="3695" actId="1076"/>
          <ac:spMkLst>
            <pc:docMk/>
            <pc:sldMk cId="411771436" sldId="2147482405"/>
            <ac:spMk id="14" creationId="{0907E3F6-3F05-6FA4-1D54-BB83D260F519}"/>
          </ac:spMkLst>
        </pc:spChg>
        <pc:spChg chg="mod">
          <ac:chgData name="Mu'Azzam, Khadija" userId="36825828-e742-4d63-bee0-8d596eb55ca3" providerId="ADAL" clId="{7411C53E-A726-4A43-9F39-7CD82433F258}" dt="2025-10-05T11:55:02.907" v="3704" actId="1076"/>
          <ac:spMkLst>
            <pc:docMk/>
            <pc:sldMk cId="411771436" sldId="2147482405"/>
            <ac:spMk id="16" creationId="{0C91AFA4-9F73-6DC0-F722-9CAE922EFCB7}"/>
          </ac:spMkLst>
        </pc:spChg>
      </pc:sldChg>
      <pc:sldChg chg="addSp delSp modSp add del mod modClrScheme modAnim chgLayout">
        <pc:chgData name="Mu'Azzam, Khadija" userId="36825828-e742-4d63-bee0-8d596eb55ca3" providerId="ADAL" clId="{7411C53E-A726-4A43-9F39-7CD82433F258}" dt="2025-10-05T15:31:45.215" v="4222" actId="1076"/>
        <pc:sldMkLst>
          <pc:docMk/>
          <pc:sldMk cId="4119456468" sldId="2147482408"/>
        </pc:sldMkLst>
        <pc:spChg chg="add mod">
          <ac:chgData name="Mu'Azzam, Khadija" userId="36825828-e742-4d63-bee0-8d596eb55ca3" providerId="ADAL" clId="{7411C53E-A726-4A43-9F39-7CD82433F258}" dt="2025-10-03T13:24:42.370" v="3497" actId="1076"/>
          <ac:spMkLst>
            <pc:docMk/>
            <pc:sldMk cId="4119456468" sldId="2147482408"/>
            <ac:spMk id="4" creationId="{AA60D7C4-696A-5CC5-302A-7A98870979A7}"/>
          </ac:spMkLst>
        </pc:spChg>
        <pc:spChg chg="add mod">
          <ac:chgData name="Mu'Azzam, Khadija" userId="36825828-e742-4d63-bee0-8d596eb55ca3" providerId="ADAL" clId="{7411C53E-A726-4A43-9F39-7CD82433F258}" dt="2025-10-03T13:24:42.370" v="3497" actId="1076"/>
          <ac:spMkLst>
            <pc:docMk/>
            <pc:sldMk cId="4119456468" sldId="2147482408"/>
            <ac:spMk id="7" creationId="{D0BF0F9D-15BA-47A5-C3EC-8B10DDE5AE7D}"/>
          </ac:spMkLst>
        </pc:spChg>
        <pc:spChg chg="add mod">
          <ac:chgData name="Mu'Azzam, Khadija" userId="36825828-e742-4d63-bee0-8d596eb55ca3" providerId="ADAL" clId="{7411C53E-A726-4A43-9F39-7CD82433F258}" dt="2025-10-03T13:29:24.953" v="3557" actId="1076"/>
          <ac:spMkLst>
            <pc:docMk/>
            <pc:sldMk cId="4119456468" sldId="2147482408"/>
            <ac:spMk id="10" creationId="{1339220F-AB65-0CE2-BFC4-19D589FDC35F}"/>
          </ac:spMkLst>
        </pc:spChg>
        <pc:spChg chg="add mod">
          <ac:chgData name="Mu'Azzam, Khadija" userId="36825828-e742-4d63-bee0-8d596eb55ca3" providerId="ADAL" clId="{7411C53E-A726-4A43-9F39-7CD82433F258}" dt="2025-10-03T13:24:42.370" v="3497" actId="1076"/>
          <ac:spMkLst>
            <pc:docMk/>
            <pc:sldMk cId="4119456468" sldId="2147482408"/>
            <ac:spMk id="11" creationId="{5DAD269D-C5FB-71FA-5C05-21B011E6AA0D}"/>
          </ac:spMkLst>
        </pc:spChg>
        <pc:spChg chg="mod">
          <ac:chgData name="Mu'Azzam, Khadija" userId="36825828-e742-4d63-bee0-8d596eb55ca3" providerId="ADAL" clId="{7411C53E-A726-4A43-9F39-7CD82433F258}" dt="2025-10-05T15:31:43.079" v="4221" actId="1076"/>
          <ac:spMkLst>
            <pc:docMk/>
            <pc:sldMk cId="4119456468" sldId="2147482408"/>
            <ac:spMk id="17" creationId="{6C6FAF79-EDD5-09AD-DA8B-048065BFF04D}"/>
          </ac:spMkLst>
        </pc:spChg>
        <pc:spChg chg="mod">
          <ac:chgData name="Mu'Azzam, Khadija" userId="36825828-e742-4d63-bee0-8d596eb55ca3" providerId="ADAL" clId="{7411C53E-A726-4A43-9F39-7CD82433F258}" dt="2025-10-03T13:24:42.370" v="3497" actId="1076"/>
          <ac:spMkLst>
            <pc:docMk/>
            <pc:sldMk cId="4119456468" sldId="2147482408"/>
            <ac:spMk id="18" creationId="{3471DB6B-EE7F-F142-4829-13B09524FE8B}"/>
          </ac:spMkLst>
        </pc:spChg>
        <pc:spChg chg="mod">
          <ac:chgData name="Mu'Azzam, Khadija" userId="36825828-e742-4d63-bee0-8d596eb55ca3" providerId="ADAL" clId="{7411C53E-A726-4A43-9F39-7CD82433F258}" dt="2025-10-03T13:24:42.370" v="3497" actId="1076"/>
          <ac:spMkLst>
            <pc:docMk/>
            <pc:sldMk cId="4119456468" sldId="2147482408"/>
            <ac:spMk id="21" creationId="{E208351C-AD8A-19B0-97F3-02427387D101}"/>
          </ac:spMkLst>
        </pc:spChg>
        <pc:spChg chg="mod">
          <ac:chgData name="Mu'Azzam, Khadija" userId="36825828-e742-4d63-bee0-8d596eb55ca3" providerId="ADAL" clId="{7411C53E-A726-4A43-9F39-7CD82433F258}" dt="2025-10-03T13:29:52.462" v="3561" actId="1076"/>
          <ac:spMkLst>
            <pc:docMk/>
            <pc:sldMk cId="4119456468" sldId="2147482408"/>
            <ac:spMk id="23" creationId="{EE70760E-0892-F98D-E849-53FF7728B10D}"/>
          </ac:spMkLst>
        </pc:spChg>
        <pc:spChg chg="mod">
          <ac:chgData name="Mu'Azzam, Khadija" userId="36825828-e742-4d63-bee0-8d596eb55ca3" providerId="ADAL" clId="{7411C53E-A726-4A43-9F39-7CD82433F258}" dt="2025-10-03T13:24:47.318" v="3498" actId="1076"/>
          <ac:spMkLst>
            <pc:docMk/>
            <pc:sldMk cId="4119456468" sldId="2147482408"/>
            <ac:spMk id="25" creationId="{F9940C5F-C36A-DE03-AADA-258626CBA08C}"/>
          </ac:spMkLst>
        </pc:spChg>
        <pc:spChg chg="mod">
          <ac:chgData name="Mu'Azzam, Khadija" userId="36825828-e742-4d63-bee0-8d596eb55ca3" providerId="ADAL" clId="{7411C53E-A726-4A43-9F39-7CD82433F258}" dt="2025-10-03T13:24:42.370" v="3497" actId="1076"/>
          <ac:spMkLst>
            <pc:docMk/>
            <pc:sldMk cId="4119456468" sldId="2147482408"/>
            <ac:spMk id="26" creationId="{DB96147E-50C0-45C0-8EFC-0ECC1252BC90}"/>
          </ac:spMkLst>
        </pc:spChg>
        <pc:spChg chg="mod">
          <ac:chgData name="Mu'Azzam, Khadija" userId="36825828-e742-4d63-bee0-8d596eb55ca3" providerId="ADAL" clId="{7411C53E-A726-4A43-9F39-7CD82433F258}" dt="2025-10-03T13:30:01.929" v="3564" actId="1076"/>
          <ac:spMkLst>
            <pc:docMk/>
            <pc:sldMk cId="4119456468" sldId="2147482408"/>
            <ac:spMk id="27" creationId="{FD59ACB5-C107-581C-2966-53F014EC679A}"/>
          </ac:spMkLst>
        </pc:spChg>
        <pc:spChg chg="mod">
          <ac:chgData name="Mu'Azzam, Khadija" userId="36825828-e742-4d63-bee0-8d596eb55ca3" providerId="ADAL" clId="{7411C53E-A726-4A43-9F39-7CD82433F258}" dt="2025-10-03T13:29:55.089" v="3562" actId="1076"/>
          <ac:spMkLst>
            <pc:docMk/>
            <pc:sldMk cId="4119456468" sldId="2147482408"/>
            <ac:spMk id="87" creationId="{80B7769D-17A2-597C-7D0C-9650C2633F77}"/>
          </ac:spMkLst>
        </pc:spChg>
        <pc:spChg chg="mod">
          <ac:chgData name="Mu'Azzam, Khadija" userId="36825828-e742-4d63-bee0-8d596eb55ca3" providerId="ADAL" clId="{7411C53E-A726-4A43-9F39-7CD82433F258}" dt="2025-10-03T13:29:58.917" v="3563" actId="1076"/>
          <ac:spMkLst>
            <pc:docMk/>
            <pc:sldMk cId="4119456468" sldId="2147482408"/>
            <ac:spMk id="88" creationId="{78A6C206-A5D7-559B-B9C2-C5D53E2F7380}"/>
          </ac:spMkLst>
        </pc:spChg>
        <pc:graphicFrameChg chg="mod modGraphic">
          <ac:chgData name="Mu'Azzam, Khadija" userId="36825828-e742-4d63-bee0-8d596eb55ca3" providerId="ADAL" clId="{7411C53E-A726-4A43-9F39-7CD82433F258}" dt="2025-10-03T13:25:17.583" v="3501" actId="403"/>
          <ac:graphicFrameMkLst>
            <pc:docMk/>
            <pc:sldMk cId="4119456468" sldId="2147482408"/>
            <ac:graphicFrameMk id="15" creationId="{A6CD9F7B-F9DA-A590-9C9E-E2EE308BB67F}"/>
          </ac:graphicFrameMkLst>
        </pc:graphicFrameChg>
        <pc:picChg chg="add mod">
          <ac:chgData name="Mu'Azzam, Khadija" userId="36825828-e742-4d63-bee0-8d596eb55ca3" providerId="ADAL" clId="{7411C53E-A726-4A43-9F39-7CD82433F258}" dt="2025-10-03T13:16:24.320" v="3419"/>
          <ac:picMkLst>
            <pc:docMk/>
            <pc:sldMk cId="4119456468" sldId="2147482408"/>
            <ac:picMk id="3" creationId="{E6488CE4-2780-AB9E-6181-B16A116D9AC5}"/>
          </ac:picMkLst>
        </pc:picChg>
        <pc:cxnChg chg="add mod">
          <ac:chgData name="Mu'Azzam, Khadija" userId="36825828-e742-4d63-bee0-8d596eb55ca3" providerId="ADAL" clId="{7411C53E-A726-4A43-9F39-7CD82433F258}" dt="2025-10-05T15:31:45.215" v="4222" actId="1076"/>
          <ac:cxnSpMkLst>
            <pc:docMk/>
            <pc:sldMk cId="4119456468" sldId="2147482408"/>
            <ac:cxnSpMk id="2" creationId="{A3A046EA-AF55-0C0B-5C52-EA65025B6171}"/>
          </ac:cxnSpMkLst>
        </pc:cxnChg>
      </pc:sldChg>
      <pc:sldChg chg="addSp delSp modSp add del mod modClrScheme chgLayout">
        <pc:chgData name="Mu'Azzam, Khadija" userId="36825828-e742-4d63-bee0-8d596eb55ca3" providerId="ADAL" clId="{7411C53E-A726-4A43-9F39-7CD82433F258}" dt="2025-10-05T15:38:26.725" v="4274" actId="1076"/>
        <pc:sldMkLst>
          <pc:docMk/>
          <pc:sldMk cId="232623123" sldId="2147482410"/>
        </pc:sldMkLst>
        <pc:spChg chg="mod">
          <ac:chgData name="Mu'Azzam, Khadija" userId="36825828-e742-4d63-bee0-8d596eb55ca3" providerId="ADAL" clId="{7411C53E-A726-4A43-9F39-7CD82433F258}" dt="2025-10-05T15:38:26.725" v="4274" actId="1076"/>
          <ac:spMkLst>
            <pc:docMk/>
            <pc:sldMk cId="232623123" sldId="2147482410"/>
            <ac:spMk id="2" creationId="{A0A43E8D-1628-56CD-C972-65B29418346C}"/>
          </ac:spMkLst>
        </pc:spChg>
        <pc:spChg chg="add del mod ord">
          <ac:chgData name="Mu'Azzam, Khadija" userId="36825828-e742-4d63-bee0-8d596eb55ca3" providerId="ADAL" clId="{7411C53E-A726-4A43-9F39-7CD82433F258}" dt="2025-10-05T14:53:40.621" v="3944" actId="478"/>
          <ac:spMkLst>
            <pc:docMk/>
            <pc:sldMk cId="232623123" sldId="2147482410"/>
            <ac:spMk id="6" creationId="{1AED3A6E-4594-DF33-DA46-AFA29DBFECCB}"/>
          </ac:spMkLst>
        </pc:spChg>
        <pc:spChg chg="add del mod ord">
          <ac:chgData name="Mu'Azzam, Khadija" userId="36825828-e742-4d63-bee0-8d596eb55ca3" providerId="ADAL" clId="{7411C53E-A726-4A43-9F39-7CD82433F258}" dt="2025-10-05T14:53:13.015" v="3940" actId="478"/>
          <ac:spMkLst>
            <pc:docMk/>
            <pc:sldMk cId="232623123" sldId="2147482410"/>
            <ac:spMk id="7" creationId="{04379C83-6C74-0936-508E-08D0AFE247BD}"/>
          </ac:spMkLst>
        </pc:spChg>
        <pc:spChg chg="add del mod ord">
          <ac:chgData name="Mu'Azzam, Khadija" userId="36825828-e742-4d63-bee0-8d596eb55ca3" providerId="ADAL" clId="{7411C53E-A726-4A43-9F39-7CD82433F258}" dt="2025-10-05T14:57:35.466" v="3971" actId="478"/>
          <ac:spMkLst>
            <pc:docMk/>
            <pc:sldMk cId="232623123" sldId="2147482410"/>
            <ac:spMk id="8" creationId="{1386C283-BD18-278F-89AE-38309BA3B63E}"/>
          </ac:spMkLst>
        </pc:spChg>
        <pc:spChg chg="add del mod">
          <ac:chgData name="Mu'Azzam, Khadija" userId="36825828-e742-4d63-bee0-8d596eb55ca3" providerId="ADAL" clId="{7411C53E-A726-4A43-9F39-7CD82433F258}" dt="2025-10-05T14:55:28.862" v="3956" actId="478"/>
          <ac:spMkLst>
            <pc:docMk/>
            <pc:sldMk cId="232623123" sldId="2147482410"/>
            <ac:spMk id="12" creationId="{210BE977-0612-96A4-ED3A-50CB14D5DCA3}"/>
          </ac:spMkLst>
        </pc:spChg>
        <pc:spChg chg="del">
          <ac:chgData name="Mu'Azzam, Khadija" userId="36825828-e742-4d63-bee0-8d596eb55ca3" providerId="ADAL" clId="{7411C53E-A726-4A43-9F39-7CD82433F258}" dt="2025-10-05T14:57:32.670" v="3970" actId="478"/>
          <ac:spMkLst>
            <pc:docMk/>
            <pc:sldMk cId="232623123" sldId="2147482410"/>
            <ac:spMk id="170" creationId="{F69BBB99-DA35-D33C-3321-675190A9D7EF}"/>
          </ac:spMkLst>
        </pc:spChg>
        <pc:graphicFrameChg chg="add mod modGraphic">
          <ac:chgData name="Mu'Azzam, Khadija" userId="36825828-e742-4d63-bee0-8d596eb55ca3" providerId="ADAL" clId="{7411C53E-A726-4A43-9F39-7CD82433F258}" dt="2025-10-05T15:11:18.485" v="4053" actId="1076"/>
          <ac:graphicFrameMkLst>
            <pc:docMk/>
            <pc:sldMk cId="232623123" sldId="2147482410"/>
            <ac:graphicFrameMk id="5" creationId="{B8D516B1-DC3E-6A33-1529-AA22AAB37797}"/>
          </ac:graphicFrameMkLst>
        </pc:graphicFrameChg>
        <pc:picChg chg="add del mod">
          <ac:chgData name="Mu'Azzam, Khadija" userId="36825828-e742-4d63-bee0-8d596eb55ca3" providerId="ADAL" clId="{7411C53E-A726-4A43-9F39-7CD82433F258}" dt="2025-10-05T14:55:57.849" v="3958" actId="478"/>
          <ac:picMkLst>
            <pc:docMk/>
            <pc:sldMk cId="232623123" sldId="2147482410"/>
            <ac:picMk id="4" creationId="{882FBFD6-DBFF-61B3-AFD1-CFC6228A3C10}"/>
          </ac:picMkLst>
        </pc:picChg>
        <pc:picChg chg="add mod">
          <ac:chgData name="Mu'Azzam, Khadija" userId="36825828-e742-4d63-bee0-8d596eb55ca3" providerId="ADAL" clId="{7411C53E-A726-4A43-9F39-7CD82433F258}" dt="2025-10-05T15:00:04.517" v="3995" actId="1076"/>
          <ac:picMkLst>
            <pc:docMk/>
            <pc:sldMk cId="232623123" sldId="2147482410"/>
            <ac:picMk id="9" creationId="{B12BACCF-80DD-C144-B68E-E24ECE35BF96}"/>
          </ac:picMkLst>
        </pc:picChg>
        <pc:picChg chg="add del mod">
          <ac:chgData name="Mu'Azzam, Khadija" userId="36825828-e742-4d63-bee0-8d596eb55ca3" providerId="ADAL" clId="{7411C53E-A726-4A43-9F39-7CD82433F258}" dt="2025-10-05T12:04:46.659" v="3902" actId="478"/>
          <ac:picMkLst>
            <pc:docMk/>
            <pc:sldMk cId="232623123" sldId="2147482410"/>
            <ac:picMk id="19" creationId="{2E5FBD49-0F96-6349-2EC5-B083D0839A57}"/>
          </ac:picMkLst>
        </pc:picChg>
        <pc:picChg chg="add del mod">
          <ac:chgData name="Mu'Azzam, Khadija" userId="36825828-e742-4d63-bee0-8d596eb55ca3" providerId="ADAL" clId="{7411C53E-A726-4A43-9F39-7CD82433F258}" dt="2025-10-05T12:04:47.392" v="3903" actId="478"/>
          <ac:picMkLst>
            <pc:docMk/>
            <pc:sldMk cId="232623123" sldId="2147482410"/>
            <ac:picMk id="25" creationId="{74B1ADBB-0647-0DB5-BCFB-73091175B4F9}"/>
          </ac:picMkLst>
        </pc:picChg>
        <pc:picChg chg="add del mod">
          <ac:chgData name="Mu'Azzam, Khadija" userId="36825828-e742-4d63-bee0-8d596eb55ca3" providerId="ADAL" clId="{7411C53E-A726-4A43-9F39-7CD82433F258}" dt="2025-10-05T12:04:47.948" v="3904" actId="478"/>
          <ac:picMkLst>
            <pc:docMk/>
            <pc:sldMk cId="232623123" sldId="2147482410"/>
            <ac:picMk id="28" creationId="{BE9C1F7C-D05E-E337-A12D-41A60E13BBA5}"/>
          </ac:picMkLst>
        </pc:picChg>
        <pc:picChg chg="add del mod">
          <ac:chgData name="Mu'Azzam, Khadija" userId="36825828-e742-4d63-bee0-8d596eb55ca3" providerId="ADAL" clId="{7411C53E-A726-4A43-9F39-7CD82433F258}" dt="2025-10-05T12:04:48.601" v="3905" actId="478"/>
          <ac:picMkLst>
            <pc:docMk/>
            <pc:sldMk cId="232623123" sldId="2147482410"/>
            <ac:picMk id="30" creationId="{E5B19DBB-872D-AFE6-3A5D-3A92D922E53E}"/>
          </ac:picMkLst>
        </pc:picChg>
        <pc:cxnChg chg="add mod">
          <ac:chgData name="Mu'Azzam, Khadija" userId="36825828-e742-4d63-bee0-8d596eb55ca3" providerId="ADAL" clId="{7411C53E-A726-4A43-9F39-7CD82433F258}" dt="2025-10-05T15:31:24.639" v="4217" actId="1037"/>
          <ac:cxnSpMkLst>
            <pc:docMk/>
            <pc:sldMk cId="232623123" sldId="2147482410"/>
            <ac:cxnSpMk id="10" creationId="{AAC5B840-704A-CDDD-972A-86BF78BB6CCF}"/>
          </ac:cxnSpMkLst>
        </pc:cxnChg>
      </pc:sldChg>
      <pc:sldChg chg="addSp delSp modSp add del mod ord">
        <pc:chgData name="Mu'Azzam, Khadija" userId="36825828-e742-4d63-bee0-8d596eb55ca3" providerId="ADAL" clId="{7411C53E-A726-4A43-9F39-7CD82433F258}" dt="2025-10-05T11:59:32.995" v="3814" actId="47"/>
        <pc:sldMkLst>
          <pc:docMk/>
          <pc:sldMk cId="1025881866" sldId="2147482411"/>
        </pc:sldMkLst>
      </pc:sldChg>
      <pc:sldChg chg="new del">
        <pc:chgData name="Mu'Azzam, Khadija" userId="36825828-e742-4d63-bee0-8d596eb55ca3" providerId="ADAL" clId="{7411C53E-A726-4A43-9F39-7CD82433F258}" dt="2025-10-01T16:13:42.931" v="38" actId="47"/>
        <pc:sldMkLst>
          <pc:docMk/>
          <pc:sldMk cId="2679170948" sldId="2147482411"/>
        </pc:sldMkLst>
      </pc:sldChg>
      <pc:sldChg chg="new del">
        <pc:chgData name="Mu'Azzam, Khadija" userId="36825828-e742-4d63-bee0-8d596eb55ca3" providerId="ADAL" clId="{7411C53E-A726-4A43-9F39-7CD82433F258}" dt="2025-10-01T16:13:18.209" v="37" actId="47"/>
        <pc:sldMkLst>
          <pc:docMk/>
          <pc:sldMk cId="1367531310" sldId="2147482412"/>
        </pc:sldMkLst>
      </pc:sldChg>
      <pc:sldChg chg="addSp delSp modSp add mod ord">
        <pc:chgData name="Mu'Azzam, Khadija" userId="36825828-e742-4d63-bee0-8d596eb55ca3" providerId="ADAL" clId="{7411C53E-A726-4A43-9F39-7CD82433F258}" dt="2025-10-05T15:38:38.969" v="4277" actId="208"/>
        <pc:sldMkLst>
          <pc:docMk/>
          <pc:sldMk cId="3277157489" sldId="2147482412"/>
        </pc:sldMkLst>
        <pc:spChg chg="add mod">
          <ac:chgData name="Mu'Azzam, Khadija" userId="36825828-e742-4d63-bee0-8d596eb55ca3" providerId="ADAL" clId="{7411C53E-A726-4A43-9F39-7CD82433F258}" dt="2025-10-05T15:05:54.059" v="4034" actId="113"/>
          <ac:spMkLst>
            <pc:docMk/>
            <pc:sldMk cId="3277157489" sldId="2147482412"/>
            <ac:spMk id="2" creationId="{B043D1F3-7FB6-EDC3-444A-49E702CCA696}"/>
          </ac:spMkLst>
        </pc:spChg>
        <pc:spChg chg="add mod">
          <ac:chgData name="Mu'Azzam, Khadija" userId="36825828-e742-4d63-bee0-8d596eb55ca3" providerId="ADAL" clId="{7411C53E-A726-4A43-9F39-7CD82433F258}" dt="2025-10-05T15:04:52.103" v="4015" actId="255"/>
          <ac:spMkLst>
            <pc:docMk/>
            <pc:sldMk cId="3277157489" sldId="2147482412"/>
            <ac:spMk id="10" creationId="{2CC3154D-63C7-E809-C830-95B80A0475E8}"/>
          </ac:spMkLst>
        </pc:spChg>
        <pc:spChg chg="add mod">
          <ac:chgData name="Mu'Azzam, Khadija" userId="36825828-e742-4d63-bee0-8d596eb55ca3" providerId="ADAL" clId="{7411C53E-A726-4A43-9F39-7CD82433F258}" dt="2025-10-03T11:27:31.862" v="2535" actId="1076"/>
          <ac:spMkLst>
            <pc:docMk/>
            <pc:sldMk cId="3277157489" sldId="2147482412"/>
            <ac:spMk id="11" creationId="{2ABA411F-F605-499B-3AD9-201D942A0F1A}"/>
          </ac:spMkLst>
        </pc:spChg>
        <pc:spChg chg="add mod">
          <ac:chgData name="Mu'Azzam, Khadija" userId="36825828-e742-4d63-bee0-8d596eb55ca3" providerId="ADAL" clId="{7411C53E-A726-4A43-9F39-7CD82433F258}" dt="2025-10-05T15:03:08.673" v="4007"/>
          <ac:spMkLst>
            <pc:docMk/>
            <pc:sldMk cId="3277157489" sldId="2147482412"/>
            <ac:spMk id="12" creationId="{CF40FAC8-2241-084E-BBE4-B6B97B7821C4}"/>
          </ac:spMkLst>
        </pc:spChg>
        <pc:spChg chg="add del mod ord">
          <ac:chgData name="Mu'Azzam, Khadija" userId="36825828-e742-4d63-bee0-8d596eb55ca3" providerId="ADAL" clId="{7411C53E-A726-4A43-9F39-7CD82433F258}" dt="2025-10-05T15:04:36.349" v="4011" actId="1076"/>
          <ac:spMkLst>
            <pc:docMk/>
            <pc:sldMk cId="3277157489" sldId="2147482412"/>
            <ac:spMk id="36" creationId="{5483E7DA-5E3A-4413-DAC6-A42A2C6CA486}"/>
          </ac:spMkLst>
        </pc:spChg>
        <pc:picChg chg="add mod ord">
          <ac:chgData name="Mu'Azzam, Khadija" userId="36825828-e742-4d63-bee0-8d596eb55ca3" providerId="ADAL" clId="{7411C53E-A726-4A43-9F39-7CD82433F258}" dt="2025-10-03T11:25:26.675" v="2506" actId="29295"/>
          <ac:picMkLst>
            <pc:docMk/>
            <pc:sldMk cId="3277157489" sldId="2147482412"/>
            <ac:picMk id="9" creationId="{45A79B65-B93B-4455-BD71-4AC2B8212F90}"/>
          </ac:picMkLst>
        </pc:picChg>
        <pc:cxnChg chg="add mod">
          <ac:chgData name="Mu'Azzam, Khadija" userId="36825828-e742-4d63-bee0-8d596eb55ca3" providerId="ADAL" clId="{7411C53E-A726-4A43-9F39-7CD82433F258}" dt="2025-10-05T15:38:38.969" v="4277" actId="208"/>
          <ac:cxnSpMkLst>
            <pc:docMk/>
            <pc:sldMk cId="3277157489" sldId="2147482412"/>
            <ac:cxnSpMk id="3" creationId="{EB0DD67C-1504-4A31-B58C-1C10AF1AC429}"/>
          </ac:cxnSpMkLst>
        </pc:cxnChg>
      </pc:sldChg>
      <pc:sldChg chg="delSp modSp add del mod">
        <pc:chgData name="Mu'Azzam, Khadija" userId="36825828-e742-4d63-bee0-8d596eb55ca3" providerId="ADAL" clId="{7411C53E-A726-4A43-9F39-7CD82433F258}" dt="2025-10-02T10:18:05.709" v="501" actId="2696"/>
        <pc:sldMkLst>
          <pc:docMk/>
          <pc:sldMk cId="225453333" sldId="2147482413"/>
        </pc:sldMkLst>
      </pc:sldChg>
      <pc:sldChg chg="addSp delSp modSp add del mod">
        <pc:chgData name="Mu'Azzam, Khadija" userId="36825828-e742-4d63-bee0-8d596eb55ca3" providerId="ADAL" clId="{7411C53E-A726-4A43-9F39-7CD82433F258}" dt="2025-10-03T12:20:26.813" v="2797" actId="47"/>
        <pc:sldMkLst>
          <pc:docMk/>
          <pc:sldMk cId="299666552" sldId="2147482414"/>
        </pc:sldMkLst>
      </pc:sldChg>
      <pc:sldChg chg="addSp modSp add mod ord">
        <pc:chgData name="Mu'Azzam, Khadija" userId="36825828-e742-4d63-bee0-8d596eb55ca3" providerId="ADAL" clId="{7411C53E-A726-4A43-9F39-7CD82433F258}" dt="2025-10-02T15:51:34.234" v="1930" actId="1036"/>
        <pc:sldMkLst>
          <pc:docMk/>
          <pc:sldMk cId="1006171622" sldId="2147482415"/>
        </pc:sldMkLst>
        <pc:spChg chg="mod">
          <ac:chgData name="Mu'Azzam, Khadija" userId="36825828-e742-4d63-bee0-8d596eb55ca3" providerId="ADAL" clId="{7411C53E-A726-4A43-9F39-7CD82433F258}" dt="2025-10-02T10:51:45.323" v="816" actId="207"/>
          <ac:spMkLst>
            <pc:docMk/>
            <pc:sldMk cId="1006171622" sldId="2147482415"/>
            <ac:spMk id="3" creationId="{9BE76A33-DAE1-E85A-85D7-976C6A1C0374}"/>
          </ac:spMkLst>
        </pc:spChg>
        <pc:spChg chg="mod">
          <ac:chgData name="Mu'Azzam, Khadija" userId="36825828-e742-4d63-bee0-8d596eb55ca3" providerId="ADAL" clId="{7411C53E-A726-4A43-9F39-7CD82433F258}" dt="2025-10-02T10:52:28.533" v="825" actId="113"/>
          <ac:spMkLst>
            <pc:docMk/>
            <pc:sldMk cId="1006171622" sldId="2147482415"/>
            <ac:spMk id="15" creationId="{A9EC3490-14BE-03CF-8D4F-FFD52887EEF5}"/>
          </ac:spMkLst>
        </pc:spChg>
        <pc:spChg chg="mod">
          <ac:chgData name="Mu'Azzam, Khadija" userId="36825828-e742-4d63-bee0-8d596eb55ca3" providerId="ADAL" clId="{7411C53E-A726-4A43-9F39-7CD82433F258}" dt="2025-10-02T10:52:40.233" v="826"/>
          <ac:spMkLst>
            <pc:docMk/>
            <pc:sldMk cId="1006171622" sldId="2147482415"/>
            <ac:spMk id="17" creationId="{CE7474A7-89FF-98A4-EFF4-EE8BC9B72B64}"/>
          </ac:spMkLst>
        </pc:spChg>
        <pc:spChg chg="mod">
          <ac:chgData name="Mu'Azzam, Khadija" userId="36825828-e742-4d63-bee0-8d596eb55ca3" providerId="ADAL" clId="{7411C53E-A726-4A43-9F39-7CD82433F258}" dt="2025-10-02T10:52:51.931" v="828" actId="20577"/>
          <ac:spMkLst>
            <pc:docMk/>
            <pc:sldMk cId="1006171622" sldId="2147482415"/>
            <ac:spMk id="19" creationId="{26B09DE4-1FAA-C2DA-30A5-0D59CC594E3E}"/>
          </ac:spMkLst>
        </pc:spChg>
        <pc:spChg chg="mod">
          <ac:chgData name="Mu'Azzam, Khadija" userId="36825828-e742-4d63-bee0-8d596eb55ca3" providerId="ADAL" clId="{7411C53E-A726-4A43-9F39-7CD82433F258}" dt="2025-10-02T10:53:33.711" v="829"/>
          <ac:spMkLst>
            <pc:docMk/>
            <pc:sldMk cId="1006171622" sldId="2147482415"/>
            <ac:spMk id="21" creationId="{A0D057EE-7B26-62CA-5E33-3954A40B4FA1}"/>
          </ac:spMkLst>
        </pc:spChg>
        <pc:picChg chg="add mod">
          <ac:chgData name="Mu'Azzam, Khadija" userId="36825828-e742-4d63-bee0-8d596eb55ca3" providerId="ADAL" clId="{7411C53E-A726-4A43-9F39-7CD82433F258}" dt="2025-10-02T15:51:34.234" v="1930" actId="1036"/>
          <ac:picMkLst>
            <pc:docMk/>
            <pc:sldMk cId="1006171622" sldId="2147482415"/>
            <ac:picMk id="5" creationId="{FD5F29C7-DF8F-F71A-ABDB-375D441FD56F}"/>
          </ac:picMkLst>
        </pc:picChg>
      </pc:sldChg>
      <pc:sldChg chg="addSp delSp modSp add mod ord modClrScheme chgLayout">
        <pc:chgData name="Mu'Azzam, Khadija" userId="36825828-e742-4d63-bee0-8d596eb55ca3" providerId="ADAL" clId="{7411C53E-A726-4A43-9F39-7CD82433F258}" dt="2025-10-05T15:48:50.022" v="4319" actId="20577"/>
        <pc:sldMkLst>
          <pc:docMk/>
          <pc:sldMk cId="1080294576" sldId="2147482416"/>
        </pc:sldMkLst>
        <pc:spChg chg="mod">
          <ac:chgData name="Mu'Azzam, Khadija" userId="36825828-e742-4d63-bee0-8d596eb55ca3" providerId="ADAL" clId="{7411C53E-A726-4A43-9F39-7CD82433F258}" dt="2025-10-05T15:31:38.198" v="4219" actId="1076"/>
          <ac:spMkLst>
            <pc:docMk/>
            <pc:sldMk cId="1080294576" sldId="2147482416"/>
            <ac:spMk id="2" creationId="{A0A43E8D-1628-56CD-C972-65B29418346C}"/>
          </ac:spMkLst>
        </pc:spChg>
        <pc:spChg chg="add mod">
          <ac:chgData name="Mu'Azzam, Khadija" userId="36825828-e742-4d63-bee0-8d596eb55ca3" providerId="ADAL" clId="{7411C53E-A726-4A43-9F39-7CD82433F258}" dt="2025-10-03T13:10:57.803" v="3394" actId="20577"/>
          <ac:spMkLst>
            <pc:docMk/>
            <pc:sldMk cId="1080294576" sldId="2147482416"/>
            <ac:spMk id="7" creationId="{68CCBA7E-C009-B4ED-F916-A527629B2D0D}"/>
          </ac:spMkLst>
        </pc:spChg>
        <pc:spChg chg="add mod">
          <ac:chgData name="Mu'Azzam, Khadija" userId="36825828-e742-4d63-bee0-8d596eb55ca3" providerId="ADAL" clId="{7411C53E-A726-4A43-9F39-7CD82433F258}" dt="2025-10-05T15:48:50.022" v="4319" actId="20577"/>
          <ac:spMkLst>
            <pc:docMk/>
            <pc:sldMk cId="1080294576" sldId="2147482416"/>
            <ac:spMk id="19" creationId="{CF2209AC-3E91-C7D1-6C05-C7C02990DBAE}"/>
          </ac:spMkLst>
        </pc:spChg>
        <pc:spChg chg="add mod">
          <ac:chgData name="Mu'Azzam, Khadija" userId="36825828-e742-4d63-bee0-8d596eb55ca3" providerId="ADAL" clId="{7411C53E-A726-4A43-9F39-7CD82433F258}" dt="2025-10-03T13:11:42.505" v="3408" actId="1076"/>
          <ac:spMkLst>
            <pc:docMk/>
            <pc:sldMk cId="1080294576" sldId="2147482416"/>
            <ac:spMk id="20" creationId="{016B230D-6B24-DA1B-1184-1FDBF2E76FA3}"/>
          </ac:spMkLst>
        </pc:spChg>
        <pc:spChg chg="add mod">
          <ac:chgData name="Mu'Azzam, Khadija" userId="36825828-e742-4d63-bee0-8d596eb55ca3" providerId="ADAL" clId="{7411C53E-A726-4A43-9F39-7CD82433F258}" dt="2025-10-05T15:48:47.418" v="4318" actId="20577"/>
          <ac:spMkLst>
            <pc:docMk/>
            <pc:sldMk cId="1080294576" sldId="2147482416"/>
            <ac:spMk id="21" creationId="{A3E14989-AFFE-4E57-5624-6C71D023D91E}"/>
          </ac:spMkLst>
        </pc:spChg>
        <pc:graphicFrameChg chg="add mod modGraphic">
          <ac:chgData name="Mu'Azzam, Khadija" userId="36825828-e742-4d63-bee0-8d596eb55ca3" providerId="ADAL" clId="{7411C53E-A726-4A43-9F39-7CD82433F258}" dt="2025-10-03T13:11:22.394" v="3399" actId="14100"/>
          <ac:graphicFrameMkLst>
            <pc:docMk/>
            <pc:sldMk cId="1080294576" sldId="2147482416"/>
            <ac:graphicFrameMk id="14" creationId="{54EB304C-CE91-5D32-9B37-40B3D97932D4}"/>
          </ac:graphicFrameMkLst>
        </pc:graphicFrameChg>
        <pc:picChg chg="add mod">
          <ac:chgData name="Mu'Azzam, Khadija" userId="36825828-e742-4d63-bee0-8d596eb55ca3" providerId="ADAL" clId="{7411C53E-A726-4A43-9F39-7CD82433F258}" dt="2025-10-05T15:38:56.334" v="4279" actId="1076"/>
          <ac:picMkLst>
            <pc:docMk/>
            <pc:sldMk cId="1080294576" sldId="2147482416"/>
            <ac:picMk id="3" creationId="{C7E0C23A-22DE-550D-2702-00F8FA984EF7}"/>
          </ac:picMkLst>
        </pc:picChg>
        <pc:cxnChg chg="add mod">
          <ac:chgData name="Mu'Azzam, Khadija" userId="36825828-e742-4d63-bee0-8d596eb55ca3" providerId="ADAL" clId="{7411C53E-A726-4A43-9F39-7CD82433F258}" dt="2025-10-05T15:31:33.469" v="4218" actId="208"/>
          <ac:cxnSpMkLst>
            <pc:docMk/>
            <pc:sldMk cId="1080294576" sldId="2147482416"/>
            <ac:cxnSpMk id="27" creationId="{34BC98A0-3105-BFBE-3048-EDD273776C7E}"/>
          </ac:cxnSpMkLst>
        </pc:cxnChg>
      </pc:sldChg>
      <pc:sldChg chg="addSp modSp add mod ord">
        <pc:chgData name="Mu'Azzam, Khadija" userId="36825828-e742-4d63-bee0-8d596eb55ca3" providerId="ADAL" clId="{7411C53E-A726-4A43-9F39-7CD82433F258}" dt="2025-10-05T15:32:03.734" v="4228" actId="1076"/>
        <pc:sldMkLst>
          <pc:docMk/>
          <pc:sldMk cId="1504800961" sldId="2147482417"/>
        </pc:sldMkLst>
        <pc:spChg chg="mod">
          <ac:chgData name="Mu'Azzam, Khadija" userId="36825828-e742-4d63-bee0-8d596eb55ca3" providerId="ADAL" clId="{7411C53E-A726-4A43-9F39-7CD82433F258}" dt="2025-10-05T15:32:03.734" v="4228" actId="1076"/>
          <ac:spMkLst>
            <pc:docMk/>
            <pc:sldMk cId="1504800961" sldId="2147482417"/>
            <ac:spMk id="4" creationId="{B655BE89-A10B-1E3D-5529-5B9D6E3278A8}"/>
          </ac:spMkLst>
        </pc:spChg>
        <pc:spChg chg="mod">
          <ac:chgData name="Mu'Azzam, Khadija" userId="36825828-e742-4d63-bee0-8d596eb55ca3" providerId="ADAL" clId="{7411C53E-A726-4A43-9F39-7CD82433F258}" dt="2025-10-02T15:40:27.286" v="1615" actId="1076"/>
          <ac:spMkLst>
            <pc:docMk/>
            <pc:sldMk cId="1504800961" sldId="2147482417"/>
            <ac:spMk id="20" creationId="{D33A1024-5E30-F3B9-B3D4-39DBD9E90E5B}"/>
          </ac:spMkLst>
        </pc:spChg>
        <pc:picChg chg="add mod">
          <ac:chgData name="Mu'Azzam, Khadija" userId="36825828-e742-4d63-bee0-8d596eb55ca3" providerId="ADAL" clId="{7411C53E-A726-4A43-9F39-7CD82433F258}" dt="2025-10-02T15:51:39.119" v="1931"/>
          <ac:picMkLst>
            <pc:docMk/>
            <pc:sldMk cId="1504800961" sldId="2147482417"/>
            <ac:picMk id="6" creationId="{29392CFF-5131-7C37-70D6-8F7EF552318E}"/>
          </ac:picMkLst>
        </pc:picChg>
        <pc:cxnChg chg="add mod">
          <ac:chgData name="Mu'Azzam, Khadija" userId="36825828-e742-4d63-bee0-8d596eb55ca3" providerId="ADAL" clId="{7411C53E-A726-4A43-9F39-7CD82433F258}" dt="2025-10-05T15:31:58.440" v="4227" actId="1076"/>
          <ac:cxnSpMkLst>
            <pc:docMk/>
            <pc:sldMk cId="1504800961" sldId="2147482417"/>
            <ac:cxnSpMk id="7" creationId="{97E5E675-40E3-75F2-19FE-022B42181ED9}"/>
          </ac:cxnSpMkLst>
        </pc:cxnChg>
      </pc:sldChg>
      <pc:sldChg chg="addSp delSp modSp add del mod ord">
        <pc:chgData name="Mu'Azzam, Khadija" userId="36825828-e742-4d63-bee0-8d596eb55ca3" providerId="ADAL" clId="{7411C53E-A726-4A43-9F39-7CD82433F258}" dt="2025-10-02T14:52:06.664" v="1201" actId="2696"/>
        <pc:sldMkLst>
          <pc:docMk/>
          <pc:sldMk cId="3390216167" sldId="2147482418"/>
        </pc:sldMkLst>
      </pc:sldChg>
      <pc:sldChg chg="addSp delSp modSp add del mod ord">
        <pc:chgData name="Mu'Azzam, Khadija" userId="36825828-e742-4d63-bee0-8d596eb55ca3" providerId="ADAL" clId="{7411C53E-A726-4A43-9F39-7CD82433F258}" dt="2025-10-05T15:12:11.509" v="4058" actId="47"/>
        <pc:sldMkLst>
          <pc:docMk/>
          <pc:sldMk cId="1201236796" sldId="2147482419"/>
        </pc:sldMkLst>
        <pc:graphicFrameChg chg="add del mod modGraphic">
          <ac:chgData name="Mu'Azzam, Khadija" userId="36825828-e742-4d63-bee0-8d596eb55ca3" providerId="ADAL" clId="{7411C53E-A726-4A43-9F39-7CD82433F258}" dt="2025-10-05T15:12:09.810" v="4057" actId="478"/>
          <ac:graphicFrameMkLst>
            <pc:docMk/>
            <pc:sldMk cId="1201236796" sldId="2147482419"/>
            <ac:graphicFrameMk id="27" creationId="{FDA0FF6F-C85E-BCDD-595F-AF7DCF57C81C}"/>
          </ac:graphicFrameMkLst>
        </pc:graphicFrameChg>
      </pc:sldChg>
      <pc:sldChg chg="modSp add del mod ord">
        <pc:chgData name="Mu'Azzam, Khadija" userId="36825828-e742-4d63-bee0-8d596eb55ca3" providerId="ADAL" clId="{7411C53E-A726-4A43-9F39-7CD82433F258}" dt="2025-10-05T12:00:23.464" v="3832" actId="47"/>
        <pc:sldMkLst>
          <pc:docMk/>
          <pc:sldMk cId="52745717" sldId="2147482420"/>
        </pc:sldMkLst>
      </pc:sldChg>
      <pc:sldChg chg="add del">
        <pc:chgData name="Mu'Azzam, Khadija" userId="36825828-e742-4d63-bee0-8d596eb55ca3" providerId="ADAL" clId="{7411C53E-A726-4A43-9F39-7CD82433F258}" dt="2025-10-02T15:00:12.827" v="1228" actId="2890"/>
        <pc:sldMkLst>
          <pc:docMk/>
          <pc:sldMk cId="223655531" sldId="2147482421"/>
        </pc:sldMkLst>
      </pc:sldChg>
      <pc:sldChg chg="addSp delSp modSp add mod ord modClrScheme chgLayout">
        <pc:chgData name="Mu'Azzam, Khadija" userId="36825828-e742-4d63-bee0-8d596eb55ca3" providerId="ADAL" clId="{7411C53E-A726-4A43-9F39-7CD82433F258}" dt="2025-10-05T15:32:45.917" v="4234" actId="1076"/>
        <pc:sldMkLst>
          <pc:docMk/>
          <pc:sldMk cId="1187408420" sldId="2147482421"/>
        </pc:sldMkLst>
        <pc:spChg chg="mod">
          <ac:chgData name="Mu'Azzam, Khadija" userId="36825828-e742-4d63-bee0-8d596eb55ca3" providerId="ADAL" clId="{7411C53E-A726-4A43-9F39-7CD82433F258}" dt="2025-10-05T15:32:45.917" v="4234" actId="1076"/>
          <ac:spMkLst>
            <pc:docMk/>
            <pc:sldMk cId="1187408420" sldId="2147482421"/>
            <ac:spMk id="2" creationId="{16998B33-4325-D17C-5E5F-B200BA7A5150}"/>
          </ac:spMkLst>
        </pc:spChg>
        <pc:spChg chg="add mod">
          <ac:chgData name="Mu'Azzam, Khadija" userId="36825828-e742-4d63-bee0-8d596eb55ca3" providerId="ADAL" clId="{7411C53E-A726-4A43-9F39-7CD82433F258}" dt="2025-10-02T15:07:37.553" v="1322" actId="1076"/>
          <ac:spMkLst>
            <pc:docMk/>
            <pc:sldMk cId="1187408420" sldId="2147482421"/>
            <ac:spMk id="4" creationId="{F1283695-F65E-4ED6-140E-22C1D54822B7}"/>
          </ac:spMkLst>
        </pc:spChg>
        <pc:spChg chg="add mod">
          <ac:chgData name="Mu'Azzam, Khadija" userId="36825828-e742-4d63-bee0-8d596eb55ca3" providerId="ADAL" clId="{7411C53E-A726-4A43-9F39-7CD82433F258}" dt="2025-10-02T15:06:58.486" v="1294" actId="20577"/>
          <ac:spMkLst>
            <pc:docMk/>
            <pc:sldMk cId="1187408420" sldId="2147482421"/>
            <ac:spMk id="5" creationId="{98BCFEF7-97BD-B26E-63B9-B410B44267D0}"/>
          </ac:spMkLst>
        </pc:spChg>
        <pc:spChg chg="add mod">
          <ac:chgData name="Mu'Azzam, Khadija" userId="36825828-e742-4d63-bee0-8d596eb55ca3" providerId="ADAL" clId="{7411C53E-A726-4A43-9F39-7CD82433F258}" dt="2025-10-02T15:07:45.386" v="1324" actId="123"/>
          <ac:spMkLst>
            <pc:docMk/>
            <pc:sldMk cId="1187408420" sldId="2147482421"/>
            <ac:spMk id="6" creationId="{23147CFA-A1CD-8F91-1C17-109CD38A3209}"/>
          </ac:spMkLst>
        </pc:spChg>
        <pc:graphicFrameChg chg="add mod">
          <ac:chgData name="Mu'Azzam, Khadija" userId="36825828-e742-4d63-bee0-8d596eb55ca3" providerId="ADAL" clId="{7411C53E-A726-4A43-9F39-7CD82433F258}" dt="2025-10-02T15:05:53.302" v="1274" actId="1076"/>
          <ac:graphicFrameMkLst>
            <pc:docMk/>
            <pc:sldMk cId="1187408420" sldId="2147482421"/>
            <ac:graphicFrameMk id="172" creationId="{1A78F8EC-365C-EF7F-EE20-689151D5D869}"/>
          </ac:graphicFrameMkLst>
        </pc:graphicFrameChg>
      </pc:sldChg>
      <pc:sldChg chg="modSp add del mod ord">
        <pc:chgData name="Mu'Azzam, Khadija" userId="36825828-e742-4d63-bee0-8d596eb55ca3" providerId="ADAL" clId="{7411C53E-A726-4A43-9F39-7CD82433F258}" dt="2025-10-05T11:59:55.480" v="3824" actId="47"/>
        <pc:sldMkLst>
          <pc:docMk/>
          <pc:sldMk cId="2955310960" sldId="2147482422"/>
        </pc:sldMkLst>
      </pc:sldChg>
      <pc:sldChg chg="addSp delSp modSp add mod modClrScheme chgLayout">
        <pc:chgData name="Mu'Azzam, Khadija" userId="36825828-e742-4d63-bee0-8d596eb55ca3" providerId="ADAL" clId="{7411C53E-A726-4A43-9F39-7CD82433F258}" dt="2025-10-03T12:20:56.728" v="2803" actId="1076"/>
        <pc:sldMkLst>
          <pc:docMk/>
          <pc:sldMk cId="439005501" sldId="2147482423"/>
        </pc:sldMkLst>
        <pc:spChg chg="add mod">
          <ac:chgData name="Mu'Azzam, Khadija" userId="36825828-e742-4d63-bee0-8d596eb55ca3" providerId="ADAL" clId="{7411C53E-A726-4A43-9F39-7CD82433F258}" dt="2025-10-03T12:12:25.103" v="2694" actId="1076"/>
          <ac:spMkLst>
            <pc:docMk/>
            <pc:sldMk cId="439005501" sldId="2147482423"/>
            <ac:spMk id="9" creationId="{035F528E-2374-BE9D-BF34-5F3BD6DB3B30}"/>
          </ac:spMkLst>
        </pc:spChg>
        <pc:spChg chg="add mod">
          <ac:chgData name="Mu'Azzam, Khadija" userId="36825828-e742-4d63-bee0-8d596eb55ca3" providerId="ADAL" clId="{7411C53E-A726-4A43-9F39-7CD82433F258}" dt="2025-10-03T12:17:31.130" v="2745" actId="1076"/>
          <ac:spMkLst>
            <pc:docMk/>
            <pc:sldMk cId="439005501" sldId="2147482423"/>
            <ac:spMk id="12" creationId="{CFC1D473-3CB9-BA33-CF6F-B6610C0A97A7}"/>
          </ac:spMkLst>
        </pc:spChg>
        <pc:spChg chg="add mod">
          <ac:chgData name="Mu'Azzam, Khadija" userId="36825828-e742-4d63-bee0-8d596eb55ca3" providerId="ADAL" clId="{7411C53E-A726-4A43-9F39-7CD82433F258}" dt="2025-10-03T12:18:05.876" v="2756" actId="1076"/>
          <ac:spMkLst>
            <pc:docMk/>
            <pc:sldMk cId="439005501" sldId="2147482423"/>
            <ac:spMk id="20" creationId="{6F9654D2-F5AA-ABCE-29E4-7691AF5F5247}"/>
          </ac:spMkLst>
        </pc:spChg>
        <pc:spChg chg="add mod">
          <ac:chgData name="Mu'Azzam, Khadija" userId="36825828-e742-4d63-bee0-8d596eb55ca3" providerId="ADAL" clId="{7411C53E-A726-4A43-9F39-7CD82433F258}" dt="2025-10-03T12:19:38.856" v="2784" actId="1076"/>
          <ac:spMkLst>
            <pc:docMk/>
            <pc:sldMk cId="439005501" sldId="2147482423"/>
            <ac:spMk id="27" creationId="{1D371856-1055-136A-EAC6-73D430F0264E}"/>
          </ac:spMkLst>
        </pc:spChg>
        <pc:spChg chg="add mod">
          <ac:chgData name="Mu'Azzam, Khadija" userId="36825828-e742-4d63-bee0-8d596eb55ca3" providerId="ADAL" clId="{7411C53E-A726-4A43-9F39-7CD82433F258}" dt="2025-10-03T12:20:56.728" v="2803" actId="1076"/>
          <ac:spMkLst>
            <pc:docMk/>
            <pc:sldMk cId="439005501" sldId="2147482423"/>
            <ac:spMk id="28" creationId="{E4E58CE0-FDB6-4BFD-4A40-5DB2AB01F461}"/>
          </ac:spMkLst>
        </pc:spChg>
        <pc:picChg chg="add mod">
          <ac:chgData name="Mu'Azzam, Khadija" userId="36825828-e742-4d63-bee0-8d596eb55ca3" providerId="ADAL" clId="{7411C53E-A726-4A43-9F39-7CD82433F258}" dt="2025-10-03T12:11:32.278" v="2682"/>
          <ac:picMkLst>
            <pc:docMk/>
            <pc:sldMk cId="439005501" sldId="2147482423"/>
            <ac:picMk id="8" creationId="{086D729D-7B13-9369-0A68-7A92B1A4D578}"/>
          </ac:picMkLst>
        </pc:picChg>
        <pc:picChg chg="add mod">
          <ac:chgData name="Mu'Azzam, Khadija" userId="36825828-e742-4d63-bee0-8d596eb55ca3" providerId="ADAL" clId="{7411C53E-A726-4A43-9F39-7CD82433F258}" dt="2025-10-03T12:15:40.808" v="2726" actId="1076"/>
          <ac:picMkLst>
            <pc:docMk/>
            <pc:sldMk cId="439005501" sldId="2147482423"/>
            <ac:picMk id="10" creationId="{273854C1-DA45-7A85-A7C5-9C242719F516}"/>
          </ac:picMkLst>
        </pc:picChg>
        <pc:picChg chg="add mod">
          <ac:chgData name="Mu'Azzam, Khadija" userId="36825828-e742-4d63-bee0-8d596eb55ca3" providerId="ADAL" clId="{7411C53E-A726-4A43-9F39-7CD82433F258}" dt="2025-10-03T12:18:03.510" v="2755" actId="1076"/>
          <ac:picMkLst>
            <pc:docMk/>
            <pc:sldMk cId="439005501" sldId="2147482423"/>
            <ac:picMk id="13" creationId="{B07D40D5-9C63-2B1C-4EF9-8F26AEAA7C6C}"/>
          </ac:picMkLst>
        </pc:picChg>
        <pc:picChg chg="mod">
          <ac:chgData name="Mu'Azzam, Khadija" userId="36825828-e742-4d63-bee0-8d596eb55ca3" providerId="ADAL" clId="{7411C53E-A726-4A43-9F39-7CD82433F258}" dt="2025-10-03T12:18:13.163" v="2757" actId="1076"/>
          <ac:picMkLst>
            <pc:docMk/>
            <pc:sldMk cId="439005501" sldId="2147482423"/>
            <ac:picMk id="14" creationId="{8CA1F5D6-2FD4-D27F-52DC-BDE7FE9575C7}"/>
          </ac:picMkLst>
        </pc:picChg>
        <pc:picChg chg="mod">
          <ac:chgData name="Mu'Azzam, Khadija" userId="36825828-e742-4d63-bee0-8d596eb55ca3" providerId="ADAL" clId="{7411C53E-A726-4A43-9F39-7CD82433F258}" dt="2025-10-03T12:20:52.773" v="2802" actId="1076"/>
          <ac:picMkLst>
            <pc:docMk/>
            <pc:sldMk cId="439005501" sldId="2147482423"/>
            <ac:picMk id="16" creationId="{A5253B69-E84E-708F-62AA-217D6D8D048B}"/>
          </ac:picMkLst>
        </pc:picChg>
        <pc:picChg chg="add mod">
          <ac:chgData name="Mu'Azzam, Khadija" userId="36825828-e742-4d63-bee0-8d596eb55ca3" providerId="ADAL" clId="{7411C53E-A726-4A43-9F39-7CD82433F258}" dt="2025-10-03T12:19:41.033" v="2785" actId="1076"/>
          <ac:picMkLst>
            <pc:docMk/>
            <pc:sldMk cId="439005501" sldId="2147482423"/>
            <ac:picMk id="24" creationId="{889EEAB6-2060-EFDE-FC76-56D0F43C7CE9}"/>
          </ac:picMkLst>
        </pc:picChg>
        <pc:picChg chg="mod">
          <ac:chgData name="Mu'Azzam, Khadija" userId="36825828-e742-4d63-bee0-8d596eb55ca3" providerId="ADAL" clId="{7411C53E-A726-4A43-9F39-7CD82433F258}" dt="2025-10-03T12:18:18.256" v="2759" actId="1076"/>
          <ac:picMkLst>
            <pc:docMk/>
            <pc:sldMk cId="439005501" sldId="2147482423"/>
            <ac:picMk id="26" creationId="{7F3AA1D8-6183-A413-AFDA-3BE61B0A6716}"/>
          </ac:picMkLst>
        </pc:picChg>
        <pc:picChg chg="add mod">
          <ac:chgData name="Mu'Azzam, Khadija" userId="36825828-e742-4d63-bee0-8d596eb55ca3" providerId="ADAL" clId="{7411C53E-A726-4A43-9F39-7CD82433F258}" dt="2025-10-03T12:20:42.850" v="2799" actId="1076"/>
          <ac:picMkLst>
            <pc:docMk/>
            <pc:sldMk cId="439005501" sldId="2147482423"/>
            <ac:picMk id="29" creationId="{6D4DED47-AB3A-E34E-D3AE-000B8B1A8D29}"/>
          </ac:picMkLst>
        </pc:picChg>
      </pc:sldChg>
      <pc:sldChg chg="addSp delSp modSp add del mod modClrScheme chgLayout">
        <pc:chgData name="Mu'Azzam, Khadija" userId="36825828-e742-4d63-bee0-8d596eb55ca3" providerId="ADAL" clId="{7411C53E-A726-4A43-9F39-7CD82433F258}" dt="2025-10-03T12:26:58.878" v="2854" actId="47"/>
        <pc:sldMkLst>
          <pc:docMk/>
          <pc:sldMk cId="665613526" sldId="2147482424"/>
        </pc:sldMkLst>
      </pc:sldChg>
      <pc:sldChg chg="addSp delSp modSp add del mod modClrScheme chgLayout">
        <pc:chgData name="Mu'Azzam, Khadija" userId="36825828-e742-4d63-bee0-8d596eb55ca3" providerId="ADAL" clId="{7411C53E-A726-4A43-9F39-7CD82433F258}" dt="2025-10-03T12:35:54.118" v="2923" actId="47"/>
        <pc:sldMkLst>
          <pc:docMk/>
          <pc:sldMk cId="1734066894" sldId="2147482424"/>
        </pc:sldMkLst>
      </pc:sldChg>
      <pc:sldChg chg="modSp add mod ord">
        <pc:chgData name="Mu'Azzam, Khadija" userId="36825828-e742-4d63-bee0-8d596eb55ca3" providerId="ADAL" clId="{7411C53E-A726-4A43-9F39-7CD82433F258}" dt="2025-10-05T15:46:19.767" v="4315" actId="1076"/>
        <pc:sldMkLst>
          <pc:docMk/>
          <pc:sldMk cId="2189272694" sldId="2147482424"/>
        </pc:sldMkLst>
        <pc:spChg chg="mod">
          <ac:chgData name="Mu'Azzam, Khadija" userId="36825828-e742-4d63-bee0-8d596eb55ca3" providerId="ADAL" clId="{7411C53E-A726-4A43-9F39-7CD82433F258}" dt="2025-10-05T15:46:19.767" v="4315" actId="1076"/>
          <ac:spMkLst>
            <pc:docMk/>
            <pc:sldMk cId="2189272694" sldId="2147482424"/>
            <ac:spMk id="7" creationId="{E662FC7B-8AF2-D848-6AC5-20451C144361}"/>
          </ac:spMkLst>
        </pc:spChg>
      </pc:sldChg>
      <pc:sldChg chg="add del setBg">
        <pc:chgData name="Mu'Azzam, Khadija" userId="36825828-e742-4d63-bee0-8d596eb55ca3" providerId="ADAL" clId="{7411C53E-A726-4A43-9F39-7CD82433F258}" dt="2025-10-05T11:59:41.864" v="3818"/>
        <pc:sldMkLst>
          <pc:docMk/>
          <pc:sldMk cId="309726295" sldId="2147482425"/>
        </pc:sldMkLst>
      </pc:sldChg>
      <pc:sldChg chg="add del setBg">
        <pc:chgData name="Mu'Azzam, Khadija" userId="36825828-e742-4d63-bee0-8d596eb55ca3" providerId="ADAL" clId="{7411C53E-A726-4A43-9F39-7CD82433F258}" dt="2025-10-05T11:59:47.120" v="3820"/>
        <pc:sldMkLst>
          <pc:docMk/>
          <pc:sldMk cId="1742944774" sldId="2147482425"/>
        </pc:sldMkLst>
      </pc:sldChg>
      <pc:sldChg chg="addSp delSp modSp add del mod ord">
        <pc:chgData name="Mu'Azzam, Khadija" userId="36825828-e742-4d63-bee0-8d596eb55ca3" providerId="ADAL" clId="{7411C53E-A726-4A43-9F39-7CD82433F258}" dt="2025-10-03T12:37:11.792" v="2927" actId="47"/>
        <pc:sldMkLst>
          <pc:docMk/>
          <pc:sldMk cId="1786644767" sldId="2147482425"/>
        </pc:sldMkLst>
      </pc:sldChg>
      <pc:sldChg chg="modSp add mod ord">
        <pc:chgData name="Mu'Azzam, Khadija" userId="36825828-e742-4d63-bee0-8d596eb55ca3" providerId="ADAL" clId="{7411C53E-A726-4A43-9F39-7CD82433F258}" dt="2025-10-05T12:00:38.151" v="3835" actId="1076"/>
        <pc:sldMkLst>
          <pc:docMk/>
          <pc:sldMk cId="4162065456" sldId="2147482425"/>
        </pc:sldMkLst>
        <pc:spChg chg="mod">
          <ac:chgData name="Mu'Azzam, Khadija" userId="36825828-e742-4d63-bee0-8d596eb55ca3" providerId="ADAL" clId="{7411C53E-A726-4A43-9F39-7CD82433F258}" dt="2025-10-05T12:00:38.151" v="3835" actId="1076"/>
          <ac:spMkLst>
            <pc:docMk/>
            <pc:sldMk cId="4162065456" sldId="2147482425"/>
            <ac:spMk id="7" creationId="{97A21735-051B-E59C-50F2-6FA48CA44BDA}"/>
          </ac:spMkLst>
        </pc:spChg>
      </pc:sldChg>
      <pc:sldChg chg="modSp add mod ord">
        <pc:chgData name="Mu'Azzam, Khadija" userId="36825828-e742-4d63-bee0-8d596eb55ca3" providerId="ADAL" clId="{7411C53E-A726-4A43-9F39-7CD82433F258}" dt="2025-10-05T12:00:21.637" v="3831" actId="1076"/>
        <pc:sldMkLst>
          <pc:docMk/>
          <pc:sldMk cId="2035559454" sldId="2147482426"/>
        </pc:sldMkLst>
        <pc:spChg chg="mod">
          <ac:chgData name="Mu'Azzam, Khadija" userId="36825828-e742-4d63-bee0-8d596eb55ca3" providerId="ADAL" clId="{7411C53E-A726-4A43-9F39-7CD82433F258}" dt="2025-10-05T12:00:21.637" v="3831" actId="1076"/>
          <ac:spMkLst>
            <pc:docMk/>
            <pc:sldMk cId="2035559454" sldId="2147482426"/>
            <ac:spMk id="7" creationId="{F45F9753-114E-CDF7-FDA2-7C1EC4392AF4}"/>
          </ac:spMkLst>
        </pc:spChg>
      </pc:sldChg>
      <pc:sldChg chg="addSp delSp modSp add del mod ord">
        <pc:chgData name="Mu'Azzam, Khadija" userId="36825828-e742-4d63-bee0-8d596eb55ca3" providerId="ADAL" clId="{7411C53E-A726-4A43-9F39-7CD82433F258}" dt="2025-10-03T12:43:15.650" v="3028" actId="2696"/>
        <pc:sldMkLst>
          <pc:docMk/>
          <pc:sldMk cId="3361843929" sldId="2147482426"/>
        </pc:sldMkLst>
      </pc:sldChg>
      <pc:sldChg chg="modSp add mod">
        <pc:chgData name="Mu'Azzam, Khadija" userId="36825828-e742-4d63-bee0-8d596eb55ca3" providerId="ADAL" clId="{7411C53E-A726-4A43-9F39-7CD82433F258}" dt="2025-10-05T15:52:50.771" v="4324" actId="1076"/>
        <pc:sldMkLst>
          <pc:docMk/>
          <pc:sldMk cId="3674014229" sldId="2147482427"/>
        </pc:sldMkLst>
        <pc:spChg chg="mod">
          <ac:chgData name="Mu'Azzam, Khadija" userId="36825828-e742-4d63-bee0-8d596eb55ca3" providerId="ADAL" clId="{7411C53E-A726-4A43-9F39-7CD82433F258}" dt="2025-10-05T15:52:47.399" v="4323" actId="1076"/>
          <ac:spMkLst>
            <pc:docMk/>
            <pc:sldMk cId="3674014229" sldId="2147482427"/>
            <ac:spMk id="15" creationId="{EC4D6C46-F509-317E-5E32-C3488BD3B47A}"/>
          </ac:spMkLst>
        </pc:spChg>
        <pc:spChg chg="mod">
          <ac:chgData name="Mu'Azzam, Khadija" userId="36825828-e742-4d63-bee0-8d596eb55ca3" providerId="ADAL" clId="{7411C53E-A726-4A43-9F39-7CD82433F258}" dt="2025-10-05T15:52:42.985" v="4322" actId="1076"/>
          <ac:spMkLst>
            <pc:docMk/>
            <pc:sldMk cId="3674014229" sldId="2147482427"/>
            <ac:spMk id="17" creationId="{0E884EBD-5375-6DE2-BC73-08EE14AC3EA4}"/>
          </ac:spMkLst>
        </pc:spChg>
        <pc:spChg chg="mod">
          <ac:chgData name="Mu'Azzam, Khadija" userId="36825828-e742-4d63-bee0-8d596eb55ca3" providerId="ADAL" clId="{7411C53E-A726-4A43-9F39-7CD82433F258}" dt="2025-10-05T15:52:50.771" v="4324" actId="1076"/>
          <ac:spMkLst>
            <pc:docMk/>
            <pc:sldMk cId="3674014229" sldId="2147482427"/>
            <ac:spMk id="19" creationId="{66B3AFF5-8098-4854-D794-106BAAA80CFD}"/>
          </ac:spMkLst>
        </pc:spChg>
        <pc:picChg chg="mod">
          <ac:chgData name="Mu'Azzam, Khadija" userId="36825828-e742-4d63-bee0-8d596eb55ca3" providerId="ADAL" clId="{7411C53E-A726-4A43-9F39-7CD82433F258}" dt="2025-10-05T14:59:54.019" v="3992" actId="1076"/>
          <ac:picMkLst>
            <pc:docMk/>
            <pc:sldMk cId="3674014229" sldId="2147482427"/>
            <ac:picMk id="8" creationId="{C099773D-F0B0-1339-631D-D1AB9D287E09}"/>
          </ac:picMkLst>
        </pc:picChg>
      </pc:sldChg>
      <pc:sldChg chg="addSp delSp modSp add del mod ord">
        <pc:chgData name="Mu'Azzam, Khadija" userId="36825828-e742-4d63-bee0-8d596eb55ca3" providerId="ADAL" clId="{7411C53E-A726-4A43-9F39-7CD82433F258}" dt="2025-10-05T15:28:27.303" v="4159" actId="47"/>
        <pc:sldMkLst>
          <pc:docMk/>
          <pc:sldMk cId="3512242152" sldId="2147482428"/>
        </pc:sldMkLst>
        <pc:spChg chg="del">
          <ac:chgData name="Mu'Azzam, Khadija" userId="36825828-e742-4d63-bee0-8d596eb55ca3" providerId="ADAL" clId="{7411C53E-A726-4A43-9F39-7CD82433F258}" dt="2025-10-05T15:13:05.281" v="4065" actId="478"/>
          <ac:spMkLst>
            <pc:docMk/>
            <pc:sldMk cId="3512242152" sldId="2147482428"/>
            <ac:spMk id="2" creationId="{058753A1-D32E-A0C9-D932-3B19F3024D43}"/>
          </ac:spMkLst>
        </pc:spChg>
        <pc:spChg chg="mod">
          <ac:chgData name="Mu'Azzam, Khadija" userId="36825828-e742-4d63-bee0-8d596eb55ca3" providerId="ADAL" clId="{7411C53E-A726-4A43-9F39-7CD82433F258}" dt="2025-10-05T15:12:42.751" v="4061" actId="207"/>
          <ac:spMkLst>
            <pc:docMk/>
            <pc:sldMk cId="3512242152" sldId="2147482428"/>
            <ac:spMk id="3" creationId="{A43A7923-1107-BEF5-A69A-E28D574CD75C}"/>
          </ac:spMkLst>
        </pc:spChg>
        <pc:spChg chg="add del mod">
          <ac:chgData name="Mu'Azzam, Khadija" userId="36825828-e742-4d63-bee0-8d596eb55ca3" providerId="ADAL" clId="{7411C53E-A726-4A43-9F39-7CD82433F258}" dt="2025-10-05T15:13:03.839" v="4064" actId="478"/>
          <ac:spMkLst>
            <pc:docMk/>
            <pc:sldMk cId="3512242152" sldId="2147482428"/>
            <ac:spMk id="8" creationId="{871B443A-1282-AA67-C812-087E5ECF6650}"/>
          </ac:spMkLst>
        </pc:spChg>
        <pc:spChg chg="del">
          <ac:chgData name="Mu'Azzam, Khadija" userId="36825828-e742-4d63-bee0-8d596eb55ca3" providerId="ADAL" clId="{7411C53E-A726-4A43-9F39-7CD82433F258}" dt="2025-10-05T15:13:01.414" v="4063" actId="478"/>
          <ac:spMkLst>
            <pc:docMk/>
            <pc:sldMk cId="3512242152" sldId="2147482428"/>
            <ac:spMk id="11" creationId="{F2AF3A6E-893B-3556-D901-99ED4DDB440C}"/>
          </ac:spMkLst>
        </pc:spChg>
        <pc:spChg chg="del">
          <ac:chgData name="Mu'Azzam, Khadija" userId="36825828-e742-4d63-bee0-8d596eb55ca3" providerId="ADAL" clId="{7411C53E-A726-4A43-9F39-7CD82433F258}" dt="2025-10-05T15:13:01.414" v="4063" actId="478"/>
          <ac:spMkLst>
            <pc:docMk/>
            <pc:sldMk cId="3512242152" sldId="2147482428"/>
            <ac:spMk id="15" creationId="{387A6A68-8B0E-7397-D069-232597A84EDA}"/>
          </ac:spMkLst>
        </pc:spChg>
        <pc:spChg chg="add del mod">
          <ac:chgData name="Mu'Azzam, Khadija" userId="36825828-e742-4d63-bee0-8d596eb55ca3" providerId="ADAL" clId="{7411C53E-A726-4A43-9F39-7CD82433F258}" dt="2025-10-05T15:13:10.300" v="4067" actId="478"/>
          <ac:spMkLst>
            <pc:docMk/>
            <pc:sldMk cId="3512242152" sldId="2147482428"/>
            <ac:spMk id="16" creationId="{57CF72E6-ADDE-0296-9821-A60F4CFC46F2}"/>
          </ac:spMkLst>
        </pc:spChg>
        <pc:spChg chg="del">
          <ac:chgData name="Mu'Azzam, Khadija" userId="36825828-e742-4d63-bee0-8d596eb55ca3" providerId="ADAL" clId="{7411C53E-A726-4A43-9F39-7CD82433F258}" dt="2025-10-05T15:13:08.292" v="4066" actId="478"/>
          <ac:spMkLst>
            <pc:docMk/>
            <pc:sldMk cId="3512242152" sldId="2147482428"/>
            <ac:spMk id="17" creationId="{B43B032B-0CBF-DD3F-C452-EEB5EFE99CB3}"/>
          </ac:spMkLst>
        </pc:spChg>
        <pc:spChg chg="del">
          <ac:chgData name="Mu'Azzam, Khadija" userId="36825828-e742-4d63-bee0-8d596eb55ca3" providerId="ADAL" clId="{7411C53E-A726-4A43-9F39-7CD82433F258}" dt="2025-10-05T15:13:08.292" v="4066" actId="478"/>
          <ac:spMkLst>
            <pc:docMk/>
            <pc:sldMk cId="3512242152" sldId="2147482428"/>
            <ac:spMk id="19" creationId="{EDD776FA-7CEE-A82A-E08A-F6F2DAF4D1F7}"/>
          </ac:spMkLst>
        </pc:spChg>
        <pc:spChg chg="del">
          <ac:chgData name="Mu'Azzam, Khadija" userId="36825828-e742-4d63-bee0-8d596eb55ca3" providerId="ADAL" clId="{7411C53E-A726-4A43-9F39-7CD82433F258}" dt="2025-10-05T15:13:08.292" v="4066" actId="478"/>
          <ac:spMkLst>
            <pc:docMk/>
            <pc:sldMk cId="3512242152" sldId="2147482428"/>
            <ac:spMk id="20" creationId="{7A5C0673-7DBA-3D89-28EE-5DD1E431E8C7}"/>
          </ac:spMkLst>
        </pc:spChg>
        <pc:spChg chg="del">
          <ac:chgData name="Mu'Azzam, Khadija" userId="36825828-e742-4d63-bee0-8d596eb55ca3" providerId="ADAL" clId="{7411C53E-A726-4A43-9F39-7CD82433F258}" dt="2025-10-05T15:12:52.804" v="4062" actId="478"/>
          <ac:spMkLst>
            <pc:docMk/>
            <pc:sldMk cId="3512242152" sldId="2147482428"/>
            <ac:spMk id="21" creationId="{84E4D4EC-51AF-4020-47C6-A0FD2E4A19CE}"/>
          </ac:spMkLst>
        </pc:spChg>
        <pc:spChg chg="add del mod">
          <ac:chgData name="Mu'Azzam, Khadija" userId="36825828-e742-4d63-bee0-8d596eb55ca3" providerId="ADAL" clId="{7411C53E-A726-4A43-9F39-7CD82433F258}" dt="2025-10-05T15:13:10.300" v="4067" actId="478"/>
          <ac:spMkLst>
            <pc:docMk/>
            <pc:sldMk cId="3512242152" sldId="2147482428"/>
            <ac:spMk id="27" creationId="{374EDF01-3122-2E8E-30FF-C643302116AB}"/>
          </ac:spMkLst>
        </pc:spChg>
        <pc:graphicFrameChg chg="add del mod modGraphic">
          <ac:chgData name="Mu'Azzam, Khadija" userId="36825828-e742-4d63-bee0-8d596eb55ca3" providerId="ADAL" clId="{7411C53E-A726-4A43-9F39-7CD82433F258}" dt="2025-10-05T15:28:23.104" v="4157" actId="21"/>
          <ac:graphicFrameMkLst>
            <pc:docMk/>
            <pc:sldMk cId="3512242152" sldId="2147482428"/>
            <ac:graphicFrameMk id="6" creationId="{BB883E75-9741-7BA1-850D-EEFA7A112EA3}"/>
          </ac:graphicFrameMkLst>
        </pc:graphicFrameChg>
        <pc:picChg chg="del">
          <ac:chgData name="Mu'Azzam, Khadija" userId="36825828-e742-4d63-bee0-8d596eb55ca3" providerId="ADAL" clId="{7411C53E-A726-4A43-9F39-7CD82433F258}" dt="2025-10-05T15:13:08.292" v="4066" actId="478"/>
          <ac:picMkLst>
            <pc:docMk/>
            <pc:sldMk cId="3512242152" sldId="2147482428"/>
            <ac:picMk id="12" creationId="{DF86130D-692B-119E-A8CA-91D60FF470C9}"/>
          </ac:picMkLst>
        </pc:picChg>
        <pc:picChg chg="del">
          <ac:chgData name="Mu'Azzam, Khadija" userId="36825828-e742-4d63-bee0-8d596eb55ca3" providerId="ADAL" clId="{7411C53E-A726-4A43-9F39-7CD82433F258}" dt="2025-10-05T15:13:08.292" v="4066" actId="478"/>
          <ac:picMkLst>
            <pc:docMk/>
            <pc:sldMk cId="3512242152" sldId="2147482428"/>
            <ac:picMk id="13" creationId="{9BF1AF1E-C7D0-511A-1F77-F386E97D9A14}"/>
          </ac:picMkLst>
        </pc:picChg>
        <pc:picChg chg="del">
          <ac:chgData name="Mu'Azzam, Khadija" userId="36825828-e742-4d63-bee0-8d596eb55ca3" providerId="ADAL" clId="{7411C53E-A726-4A43-9F39-7CD82433F258}" dt="2025-10-05T15:13:01.414" v="4063" actId="478"/>
          <ac:picMkLst>
            <pc:docMk/>
            <pc:sldMk cId="3512242152" sldId="2147482428"/>
            <ac:picMk id="14" creationId="{C86F8FB4-7E73-66C3-A4B0-7BDFAE6DFCE0}"/>
          </ac:picMkLst>
        </pc:picChg>
      </pc:sldChg>
      <pc:sldChg chg="addSp delSp modSp add mod ord modClrScheme chgLayout">
        <pc:chgData name="Mu'Azzam, Khadija" userId="36825828-e742-4d63-bee0-8d596eb55ca3" providerId="ADAL" clId="{7411C53E-A726-4A43-9F39-7CD82433F258}" dt="2025-10-05T15:34:12.642" v="4252" actId="1076"/>
        <pc:sldMkLst>
          <pc:docMk/>
          <pc:sldMk cId="3131555189" sldId="2147482429"/>
        </pc:sldMkLst>
        <pc:spChg chg="del">
          <ac:chgData name="Mu'Azzam, Khadija" userId="36825828-e742-4d63-bee0-8d596eb55ca3" providerId="ADAL" clId="{7411C53E-A726-4A43-9F39-7CD82433F258}" dt="2025-10-05T15:14:18.433" v="4073" actId="478"/>
          <ac:spMkLst>
            <pc:docMk/>
            <pc:sldMk cId="3131555189" sldId="2147482429"/>
            <ac:spMk id="2" creationId="{99793FE2-CBAB-200A-0DCD-B9E3C8891DAC}"/>
          </ac:spMkLst>
        </pc:spChg>
        <pc:spChg chg="mod">
          <ac:chgData name="Mu'Azzam, Khadija" userId="36825828-e742-4d63-bee0-8d596eb55ca3" providerId="ADAL" clId="{7411C53E-A726-4A43-9F39-7CD82433F258}" dt="2025-10-05T15:30:00.652" v="4174" actId="14100"/>
          <ac:spMkLst>
            <pc:docMk/>
            <pc:sldMk cId="3131555189" sldId="2147482429"/>
            <ac:spMk id="10" creationId="{6E375DD8-13B5-134F-9FEB-B9EFAD02FAB9}"/>
          </ac:spMkLst>
        </pc:spChg>
        <pc:spChg chg="mod ord">
          <ac:chgData name="Mu'Azzam, Khadija" userId="36825828-e742-4d63-bee0-8d596eb55ca3" providerId="ADAL" clId="{7411C53E-A726-4A43-9F39-7CD82433F258}" dt="2025-10-05T15:32:18.855" v="4232" actId="1076"/>
          <ac:spMkLst>
            <pc:docMk/>
            <pc:sldMk cId="3131555189" sldId="2147482429"/>
            <ac:spMk id="11" creationId="{F3AD4629-881F-A96B-125D-7A4DEC35F8C9}"/>
          </ac:spMkLst>
        </pc:spChg>
        <pc:spChg chg="add del mod">
          <ac:chgData name="Mu'Azzam, Khadija" userId="36825828-e742-4d63-bee0-8d596eb55ca3" providerId="ADAL" clId="{7411C53E-A726-4A43-9F39-7CD82433F258}" dt="2025-10-05T15:27:33.165" v="4136" actId="1076"/>
          <ac:spMkLst>
            <pc:docMk/>
            <pc:sldMk cId="3131555189" sldId="2147482429"/>
            <ac:spMk id="12" creationId="{773EE899-8222-CB9F-F8A2-BD4114BBF97B}"/>
          </ac:spMkLst>
        </pc:spChg>
        <pc:spChg chg="add del mod">
          <ac:chgData name="Mu'Azzam, Khadija" userId="36825828-e742-4d63-bee0-8d596eb55ca3" providerId="ADAL" clId="{7411C53E-A726-4A43-9F39-7CD82433F258}" dt="2025-10-05T15:30:22.039" v="4196" actId="207"/>
          <ac:spMkLst>
            <pc:docMk/>
            <pc:sldMk cId="3131555189" sldId="2147482429"/>
            <ac:spMk id="36" creationId="{E4709A01-2C48-B22F-3282-D55D85D69F36}"/>
          </ac:spMkLst>
        </pc:spChg>
        <pc:graphicFrameChg chg="add mod modGraphic">
          <ac:chgData name="Mu'Azzam, Khadija" userId="36825828-e742-4d63-bee0-8d596eb55ca3" providerId="ADAL" clId="{7411C53E-A726-4A43-9F39-7CD82433F258}" dt="2025-10-05T15:34:12.642" v="4252" actId="1076"/>
          <ac:graphicFrameMkLst>
            <pc:docMk/>
            <pc:sldMk cId="3131555189" sldId="2147482429"/>
            <ac:graphicFrameMk id="4" creationId="{54CFF789-46F6-177A-8897-DC91EC4B527D}"/>
          </ac:graphicFrameMkLst>
        </pc:graphicFrameChg>
        <pc:graphicFrameChg chg="add del mod">
          <ac:chgData name="Mu'Azzam, Khadija" userId="36825828-e742-4d63-bee0-8d596eb55ca3" providerId="ADAL" clId="{7411C53E-A726-4A43-9F39-7CD82433F258}" dt="2025-10-05T15:29:37.452" v="4166" actId="478"/>
          <ac:graphicFrameMkLst>
            <pc:docMk/>
            <pc:sldMk cId="3131555189" sldId="2147482429"/>
            <ac:graphicFrameMk id="6" creationId="{BB883E75-9741-7BA1-850D-EEFA7A112EA3}"/>
          </ac:graphicFrameMkLst>
        </pc:graphicFrameChg>
        <pc:picChg chg="add del mod">
          <ac:chgData name="Mu'Azzam, Khadija" userId="36825828-e742-4d63-bee0-8d596eb55ca3" providerId="ADAL" clId="{7411C53E-A726-4A43-9F39-7CD82433F258}" dt="2025-10-05T15:27:36.032" v="4138" actId="478"/>
          <ac:picMkLst>
            <pc:docMk/>
            <pc:sldMk cId="3131555189" sldId="2147482429"/>
            <ac:picMk id="3" creationId="{F817538A-43F7-AA09-B557-97F0FF13E578}"/>
          </ac:picMkLst>
        </pc:picChg>
        <pc:picChg chg="mod modCrop">
          <ac:chgData name="Mu'Azzam, Khadija" userId="36825828-e742-4d63-bee0-8d596eb55ca3" providerId="ADAL" clId="{7411C53E-A726-4A43-9F39-7CD82433F258}" dt="2025-10-05T15:27:31.886" v="4132" actId="1076"/>
          <ac:picMkLst>
            <pc:docMk/>
            <pc:sldMk cId="3131555189" sldId="2147482429"/>
            <ac:picMk id="9" creationId="{1EE0E674-3052-5F05-43D4-D4EC71AF69C3}"/>
          </ac:picMkLst>
        </pc:picChg>
        <pc:cxnChg chg="add mod">
          <ac:chgData name="Mu'Azzam, Khadija" userId="36825828-e742-4d63-bee0-8d596eb55ca3" providerId="ADAL" clId="{7411C53E-A726-4A43-9F39-7CD82433F258}" dt="2025-10-05T15:32:16.951" v="4231" actId="1076"/>
          <ac:cxnSpMkLst>
            <pc:docMk/>
            <pc:sldMk cId="3131555189" sldId="2147482429"/>
            <ac:cxnSpMk id="5" creationId="{0F0930A9-AC0A-1A23-CF45-F84F6B4010D6}"/>
          </ac:cxnSpMkLst>
        </pc:cxnChg>
      </pc:sldChg>
      <pc:sldChg chg="modSp add mod ord">
        <pc:chgData name="Mu'Azzam, Khadija" userId="36825828-e742-4d63-bee0-8d596eb55ca3" providerId="ADAL" clId="{7411C53E-A726-4A43-9F39-7CD82433F258}" dt="2025-10-05T15:35:30.151" v="4263" actId="1076"/>
        <pc:sldMkLst>
          <pc:docMk/>
          <pc:sldMk cId="377041207" sldId="2147482430"/>
        </pc:sldMkLst>
        <pc:spChg chg="mod">
          <ac:chgData name="Mu'Azzam, Khadija" userId="36825828-e742-4d63-bee0-8d596eb55ca3" providerId="ADAL" clId="{7411C53E-A726-4A43-9F39-7CD82433F258}" dt="2025-10-05T15:35:30.151" v="4263" actId="1076"/>
          <ac:spMkLst>
            <pc:docMk/>
            <pc:sldMk cId="377041207" sldId="2147482430"/>
            <ac:spMk id="7" creationId="{31F400F6-D01B-DA79-2A13-2C1748F4ACB9}"/>
          </ac:spMkLst>
        </pc:spChg>
      </pc:sldChg>
      <pc:sldChg chg="modSp add mod">
        <pc:chgData name="Mu'Azzam, Khadija" userId="36825828-e742-4d63-bee0-8d596eb55ca3" providerId="ADAL" clId="{7411C53E-A726-4A43-9F39-7CD82433F258}" dt="2025-10-05T15:35:42.157" v="4265" actId="1076"/>
        <pc:sldMkLst>
          <pc:docMk/>
          <pc:sldMk cId="614754247" sldId="2147482431"/>
        </pc:sldMkLst>
        <pc:spChg chg="mod">
          <ac:chgData name="Mu'Azzam, Khadija" userId="36825828-e742-4d63-bee0-8d596eb55ca3" providerId="ADAL" clId="{7411C53E-A726-4A43-9F39-7CD82433F258}" dt="2025-10-05T15:35:42.157" v="4265" actId="1076"/>
          <ac:spMkLst>
            <pc:docMk/>
            <pc:sldMk cId="614754247" sldId="2147482431"/>
            <ac:spMk id="7" creationId="{1322592B-12DF-E9DB-0A21-C44026E56925}"/>
          </ac:spMkLst>
        </pc:spChg>
      </pc:sldChg>
      <pc:sldChg chg="addSp modSp add">
        <pc:chgData name="Mu'Azzam, Khadija" userId="36825828-e742-4d63-bee0-8d596eb55ca3" providerId="ADAL" clId="{7411C53E-A726-4A43-9F39-7CD82433F258}" dt="2025-10-05T15:37:53.668" v="4268" actId="1076"/>
        <pc:sldMkLst>
          <pc:docMk/>
          <pc:sldMk cId="1816886359" sldId="2147483640"/>
        </pc:sldMkLst>
        <pc:picChg chg="add mod">
          <ac:chgData name="Mu'Azzam, Khadija" userId="36825828-e742-4d63-bee0-8d596eb55ca3" providerId="ADAL" clId="{7411C53E-A726-4A43-9F39-7CD82433F258}" dt="2025-10-05T15:37:53.668" v="4268" actId="1076"/>
          <ac:picMkLst>
            <pc:docMk/>
            <pc:sldMk cId="1816886359" sldId="2147483640"/>
            <ac:picMk id="3" creationId="{800F102D-A272-7102-4B91-26B76F01308E}"/>
          </ac:picMkLst>
        </pc:picChg>
      </pc:sldChg>
      <pc:sldMasterChg chg="del delSldLayout">
        <pc:chgData name="Mu'Azzam, Khadija" userId="36825828-e742-4d63-bee0-8d596eb55ca3" providerId="ADAL" clId="{7411C53E-A726-4A43-9F39-7CD82433F258}" dt="2025-10-01T16:11:06.093" v="10" actId="47"/>
        <pc:sldMasterMkLst>
          <pc:docMk/>
          <pc:sldMasterMk cId="2399230452" sldId="2147486902"/>
        </pc:sldMasterMkLst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4105816664" sldId="2147486903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373994180" sldId="2147486904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1494108005" sldId="2147486905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1054523686" sldId="2147486906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3415043843" sldId="2147486907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2312158729" sldId="2147486908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138635081" sldId="2147486909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3590876467" sldId="2147486910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4025380008" sldId="2147486911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2619310462" sldId="2147486912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2928360010" sldId="2147486913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1588473686" sldId="2147486914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472689697" sldId="2147486915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4263482481" sldId="2147486916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3603631132" sldId="2147486917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1194431823" sldId="2147486918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2778289792" sldId="2147486919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331651814" sldId="2147486920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95451211" sldId="2147486921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1282736593" sldId="2147486922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442656171" sldId="2147486923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2521290531" sldId="2147486924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3448244748" sldId="2147486925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49783799" sldId="2147486926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3029817784" sldId="2147486927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49038974" sldId="2147486928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1207343630" sldId="2147486929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1560561" sldId="2147486930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2732401230" sldId="2147486931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1758713580" sldId="2147486932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351556889" sldId="2147486933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1478182541" sldId="2147486934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1572304208" sldId="2147486935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4175597162" sldId="2147486936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531661005" sldId="2147486937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1791063426" sldId="2147486938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3245325552" sldId="2147486939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3530460458" sldId="2147486940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35583877" sldId="2147486941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1098183762" sldId="2147486942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1191108986" sldId="2147486943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2582819723" sldId="2147486944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3578647960" sldId="2147486945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1822708827" sldId="2147486946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370698667" sldId="2147486947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3372070787" sldId="2147486948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3137201035" sldId="2147486949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155279319" sldId="2147486950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971523500" sldId="2147486951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1970994454" sldId="2147486952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407562895" sldId="2147486953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434324098" sldId="2147486954"/>
          </pc:sldLayoutMkLst>
        </pc:sldLayoutChg>
        <pc:sldLayoutChg chg="del">
          <pc:chgData name="Mu'Azzam, Khadija" userId="36825828-e742-4d63-bee0-8d596eb55ca3" providerId="ADAL" clId="{7411C53E-A726-4A43-9F39-7CD82433F258}" dt="2025-10-01T16:11:06.093" v="10" actId="47"/>
          <pc:sldLayoutMkLst>
            <pc:docMk/>
            <pc:sldMasterMk cId="2399230452" sldId="2147486902"/>
            <pc:sldLayoutMk cId="973711253" sldId="2147486955"/>
          </pc:sldLayoutMkLst>
        </pc:sldLayoutChg>
      </pc:sldMasterChg>
      <pc:sldMasterChg chg="delSldLayout">
        <pc:chgData name="Mu'Azzam, Khadija" userId="36825828-e742-4d63-bee0-8d596eb55ca3" providerId="ADAL" clId="{7411C53E-A726-4A43-9F39-7CD82433F258}" dt="2025-10-02T10:19:01.064" v="513" actId="2696"/>
        <pc:sldMasterMkLst>
          <pc:docMk/>
          <pc:sldMasterMk cId="1535594170" sldId="2147486957"/>
        </pc:sldMasterMkLst>
        <pc:sldLayoutChg chg="del">
          <pc:chgData name="Mu'Azzam, Khadija" userId="36825828-e742-4d63-bee0-8d596eb55ca3" providerId="ADAL" clId="{7411C53E-A726-4A43-9F39-7CD82433F258}" dt="2025-10-02T10:19:01.064" v="513" actId="2696"/>
          <pc:sldLayoutMkLst>
            <pc:docMk/>
            <pc:sldMasterMk cId="1535594170" sldId="2147486957"/>
            <pc:sldLayoutMk cId="3145357174" sldId="2147487071"/>
          </pc:sldLayoutMkLst>
        </pc:sldLayoutChg>
      </pc:sldMasterChg>
      <pc:sldMasterChg chg="del delSldLayout">
        <pc:chgData name="Mu'Azzam, Khadija" userId="36825828-e742-4d63-bee0-8d596eb55ca3" providerId="ADAL" clId="{7411C53E-A726-4A43-9F39-7CD82433F258}" dt="2025-10-02T09:37:47.058" v="144" actId="47"/>
        <pc:sldMasterMkLst>
          <pc:docMk/>
          <pc:sldMasterMk cId="8886472" sldId="2147486963"/>
        </pc:sldMasterMkLst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998546513" sldId="2147486964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2926210973" sldId="2147486965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2348020256" sldId="2147486966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859797565" sldId="2147486967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81617987" sldId="2147486968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52199331" sldId="2147486969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3098721754" sldId="2147486970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3960013497" sldId="2147486971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1533172198" sldId="2147486972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1972334776" sldId="2147486973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556987593" sldId="2147486974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3169239076" sldId="2147486975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1621761111" sldId="2147486976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2171198955" sldId="2147486977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2031854846" sldId="2147486978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1240176809" sldId="2147486979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460768822" sldId="2147486980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2829219592" sldId="2147486981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4186091754" sldId="2147486982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2058881232" sldId="2147486983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301931600" sldId="2147486984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892845353" sldId="2147486985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244254017" sldId="2147486986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1869824500" sldId="2147486987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3608410761" sldId="2147486988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3260695155" sldId="2147486989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1944436490" sldId="2147486990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380196229" sldId="2147486991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939906799" sldId="2147486992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367736199" sldId="2147486993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2939156390" sldId="2147486994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2826647253" sldId="2147486995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1231384961" sldId="2147486996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3097956036" sldId="2147486997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2199990877" sldId="2147486998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3326017899" sldId="2147486999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4289003071" sldId="2147487000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1327116117" sldId="2147487001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2752625293" sldId="2147487002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3177774726" sldId="2147487003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928890762" sldId="2147487004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337687480" sldId="2147487005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1645063157" sldId="2147487006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2612957841" sldId="2147487007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1275352066" sldId="2147487008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236562809" sldId="2147487009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2249826186" sldId="2147487010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1904454264" sldId="2147487011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1865178575" sldId="2147487012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2170948176" sldId="2147487013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780742445" sldId="2147487014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2941228578" sldId="2147487015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3405634954" sldId="2147487016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920755422" sldId="2147487017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3932484836" sldId="2147487018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3562393596" sldId="2147487019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1286881775" sldId="2147487020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1990688462" sldId="2147487021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2897730870" sldId="2147487022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2749037150" sldId="2147487023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2679501757" sldId="2147487024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270610361" sldId="2147487025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3105267664" sldId="2147487026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3249919214" sldId="2147487027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2392365454" sldId="2147487028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611311320" sldId="2147487029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2342366435" sldId="2147487030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1019089389" sldId="2147487031"/>
          </pc:sldLayoutMkLst>
        </pc:sldLayoutChg>
        <pc:sldLayoutChg chg="del">
          <pc:chgData name="Mu'Azzam, Khadija" userId="36825828-e742-4d63-bee0-8d596eb55ca3" providerId="ADAL" clId="{7411C53E-A726-4A43-9F39-7CD82433F258}" dt="2025-10-02T09:37:47.058" v="144" actId="47"/>
          <pc:sldLayoutMkLst>
            <pc:docMk/>
            <pc:sldMasterMk cId="8886472" sldId="2147486963"/>
            <pc:sldLayoutMk cId="191239524" sldId="2147487032"/>
          </pc:sldLayoutMkLst>
        </pc:sldLayoutChg>
      </pc:sldMasterChg>
      <pc:sldMasterChg chg="del delSldLayout">
        <pc:chgData name="Mu'Azzam, Khadija" userId="36825828-e742-4d63-bee0-8d596eb55ca3" providerId="ADAL" clId="{7411C53E-A726-4A43-9F39-7CD82433F258}" dt="2025-10-02T09:37:49.208" v="149" actId="47"/>
        <pc:sldMasterMkLst>
          <pc:docMk/>
          <pc:sldMasterMk cId="2886701138" sldId="2147487034"/>
        </pc:sldMasterMkLst>
        <pc:sldLayoutChg chg="del">
          <pc:chgData name="Mu'Azzam, Khadija" userId="36825828-e742-4d63-bee0-8d596eb55ca3" providerId="ADAL" clId="{7411C53E-A726-4A43-9F39-7CD82433F258}" dt="2025-10-02T09:37:49.208" v="149" actId="47"/>
          <pc:sldLayoutMkLst>
            <pc:docMk/>
            <pc:sldMasterMk cId="2886701138" sldId="2147487034"/>
            <pc:sldLayoutMk cId="2933127320" sldId="2147487035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08" v="149" actId="47"/>
          <pc:sldLayoutMkLst>
            <pc:docMk/>
            <pc:sldMasterMk cId="2886701138" sldId="2147487034"/>
            <pc:sldLayoutMk cId="1106322004" sldId="2147487036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08" v="149" actId="47"/>
          <pc:sldLayoutMkLst>
            <pc:docMk/>
            <pc:sldMasterMk cId="2886701138" sldId="2147487034"/>
            <pc:sldLayoutMk cId="489097769" sldId="2147487037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08" v="149" actId="47"/>
          <pc:sldLayoutMkLst>
            <pc:docMk/>
            <pc:sldMasterMk cId="2886701138" sldId="2147487034"/>
            <pc:sldLayoutMk cId="1827163495" sldId="2147487038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08" v="149" actId="47"/>
          <pc:sldLayoutMkLst>
            <pc:docMk/>
            <pc:sldMasterMk cId="2886701138" sldId="2147487034"/>
            <pc:sldLayoutMk cId="2622778891" sldId="2147487039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08" v="149" actId="47"/>
          <pc:sldLayoutMkLst>
            <pc:docMk/>
            <pc:sldMasterMk cId="2886701138" sldId="2147487034"/>
            <pc:sldLayoutMk cId="3307442560" sldId="2147487040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08" v="149" actId="47"/>
          <pc:sldLayoutMkLst>
            <pc:docMk/>
            <pc:sldMasterMk cId="2886701138" sldId="2147487034"/>
            <pc:sldLayoutMk cId="2708855997" sldId="2147487041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08" v="149" actId="47"/>
          <pc:sldLayoutMkLst>
            <pc:docMk/>
            <pc:sldMasterMk cId="2886701138" sldId="2147487034"/>
            <pc:sldLayoutMk cId="549495297" sldId="2147487042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08" v="149" actId="47"/>
          <pc:sldLayoutMkLst>
            <pc:docMk/>
            <pc:sldMasterMk cId="2886701138" sldId="2147487034"/>
            <pc:sldLayoutMk cId="2042165491" sldId="2147487043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08" v="149" actId="47"/>
          <pc:sldLayoutMkLst>
            <pc:docMk/>
            <pc:sldMasterMk cId="2886701138" sldId="2147487034"/>
            <pc:sldLayoutMk cId="2434219451" sldId="2147487044"/>
          </pc:sldLayoutMkLst>
        </pc:sldLayoutChg>
      </pc:sldMasterChg>
      <pc:sldMasterChg chg="delSldLayout">
        <pc:chgData name="Mu'Azzam, Khadija" userId="36825828-e742-4d63-bee0-8d596eb55ca3" providerId="ADAL" clId="{7411C53E-A726-4A43-9F39-7CD82433F258}" dt="2025-10-02T09:37:49.512" v="151" actId="47"/>
        <pc:sldMasterMkLst>
          <pc:docMk/>
          <pc:sldMasterMk cId="2823948000" sldId="2147487051"/>
        </pc:sldMasterMkLst>
        <pc:sldLayoutChg chg="del">
          <pc:chgData name="Mu'Azzam, Khadija" userId="36825828-e742-4d63-bee0-8d596eb55ca3" providerId="ADAL" clId="{7411C53E-A726-4A43-9F39-7CD82433F258}" dt="2025-10-02T09:37:49.512" v="151" actId="47"/>
          <pc:sldLayoutMkLst>
            <pc:docMk/>
            <pc:sldMasterMk cId="2823948000" sldId="2147487051"/>
            <pc:sldLayoutMk cId="894983059" sldId="2147487065"/>
          </pc:sldLayoutMkLst>
        </pc:sldLayoutChg>
      </pc:sldMasterChg>
      <pc:sldMasterChg chg="del delSldLayout">
        <pc:chgData name="Mu'Azzam, Khadija" userId="36825828-e742-4d63-bee0-8d596eb55ca3" providerId="ADAL" clId="{7411C53E-A726-4A43-9F39-7CD82433F258}" dt="2025-10-02T09:37:49.262" v="150" actId="47"/>
        <pc:sldMasterMkLst>
          <pc:docMk/>
          <pc:sldMasterMk cId="1174960789" sldId="2147487203"/>
        </pc:sldMasterMkLst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2423478180" sldId="2147487204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1098928370" sldId="2147487205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850737180" sldId="2147487206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1154672951" sldId="2147487207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2011449679" sldId="2147487208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4181577391" sldId="2147487209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3813870095" sldId="2147487210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528526717" sldId="2147487211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1653987325" sldId="2147487212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802335306" sldId="2147487213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902765368" sldId="2147487214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1195231228" sldId="2147487215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2165007699" sldId="2147487216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3551557395" sldId="2147487217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56578202" sldId="2147487218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3913456822" sldId="2147487219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2386732920" sldId="2147487220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3379371471" sldId="2147487221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24930825" sldId="2147487222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1544737013" sldId="2147487223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3219596283" sldId="2147487224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4091486686" sldId="2147487225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1646810623" sldId="2147487226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3556279512" sldId="2147487227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529768569" sldId="2147487228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946061959" sldId="2147487229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364082455" sldId="2147487230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767400641" sldId="2147487231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428883565" sldId="2147487232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1152324078" sldId="2147487233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2537358367" sldId="2147487234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2394530409" sldId="2147487235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3156829366" sldId="2147487236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100103792" sldId="2147487237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3490188894" sldId="2147487238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2625140177" sldId="2147487239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132650145" sldId="2147487240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1664490044" sldId="2147487241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548942631" sldId="2147487242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1711299615" sldId="2147487243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148449750" sldId="2147487244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3124661200" sldId="2147487245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1480894745" sldId="2147487246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1952464890" sldId="2147487247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1731096107" sldId="2147487248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941007612" sldId="2147487249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3252276879" sldId="2147487250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2312795716" sldId="2147487251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113237404" sldId="2147487252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766107953" sldId="2147487253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302859324" sldId="2147487254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4244472952" sldId="2147487255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1133726495" sldId="2147487256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3595078943" sldId="2147487257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625354486" sldId="2147487258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1117428085" sldId="2147487259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3605670120" sldId="2147487260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2309687474" sldId="2147487261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202030242" sldId="2147487262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2894727396" sldId="2147487263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2854146732" sldId="2147487264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1374573198" sldId="2147487265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331092496" sldId="2147487266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21095775" sldId="2147487267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3489978618" sldId="2147487268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2163743797" sldId="2147487269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3680171115" sldId="2147487270"/>
          </pc:sldLayoutMkLst>
        </pc:sldLayoutChg>
        <pc:sldLayoutChg chg="del">
          <pc:chgData name="Mu'Azzam, Khadija" userId="36825828-e742-4d63-bee0-8d596eb55ca3" providerId="ADAL" clId="{7411C53E-A726-4A43-9F39-7CD82433F258}" dt="2025-10-02T09:37:49.262" v="150" actId="47"/>
          <pc:sldLayoutMkLst>
            <pc:docMk/>
            <pc:sldMasterMk cId="1174960789" sldId="2147487203"/>
            <pc:sldLayoutMk cId="1093353609" sldId="2147487271"/>
          </pc:sldLayoutMkLst>
        </pc:sldLayoutChg>
      </pc:sldMasterChg>
      <pc:sldMasterChg chg="del delSldLayout">
        <pc:chgData name="Mu'Azzam, Khadija" userId="36825828-e742-4d63-bee0-8d596eb55ca3" providerId="ADAL" clId="{7411C53E-A726-4A43-9F39-7CD82433F258}" dt="2025-10-02T09:37:48.495" v="148" actId="47"/>
        <pc:sldMasterMkLst>
          <pc:docMk/>
          <pc:sldMasterMk cId="2427045610" sldId="2147487330"/>
        </pc:sldMasterMkLst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783472820" sldId="2147487331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065141247" sldId="2147487332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4178650743" sldId="2147487333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075150698" sldId="2147487334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512230000" sldId="2147487335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383091816" sldId="2147487336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107608115" sldId="2147487337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4061435293" sldId="2147487338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355172829" sldId="2147487339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909725301" sldId="2147487340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415179539" sldId="2147487341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562181779" sldId="2147487342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626815276" sldId="2147487343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696709810" sldId="2147487344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902728651" sldId="2147487345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853377298" sldId="2147487346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4939762" sldId="2147487347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926847334" sldId="2147487348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947691119" sldId="2147487349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785154552" sldId="2147487350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427152497" sldId="2147487351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4084717476" sldId="2147487352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674773593" sldId="2147487353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678743339" sldId="2147487354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76001381" sldId="2147487355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884312742" sldId="2147487356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467598533" sldId="2147487357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688555382" sldId="2147487358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4166415949" sldId="2147487359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27089215" sldId="2147487360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4012079103" sldId="2147487361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500801442" sldId="2147487362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041098906" sldId="2147487363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32153288" sldId="2147487364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597953986" sldId="2147487365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751048908" sldId="2147487366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711377732" sldId="2147487367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185573017" sldId="2147487368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547027596" sldId="2147487369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638317426" sldId="2147487370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776968035" sldId="2147487371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052092325" sldId="2147487372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733986415" sldId="2147487373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436065052" sldId="2147487374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822224243" sldId="2147487375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945908697" sldId="2147487376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393395533" sldId="2147487377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806082509" sldId="2147487378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641254610" sldId="2147487379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486667224" sldId="2147487380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504948318" sldId="2147487381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408552370" sldId="2147487382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148345167" sldId="2147487383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922042407" sldId="2147487384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329358760" sldId="2147487385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559990469" sldId="2147487386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345143026" sldId="2147487387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648051723" sldId="2147487388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923993862" sldId="2147487389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860339637" sldId="2147487390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548280019" sldId="2147487391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449028943" sldId="2147487392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559972781" sldId="2147487393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519223286" sldId="2147487394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72794559" sldId="2147487395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819839279" sldId="2147487396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4048308551" sldId="2147487397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4244459598" sldId="2147487398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304204276" sldId="2147487399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85781592" sldId="2147487400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667781134" sldId="2147487401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4265540709" sldId="2147487402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338826216" sldId="2147487403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018726605" sldId="2147487404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652112358" sldId="2147487405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409847321" sldId="2147487406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522611588" sldId="2147487407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006859143" sldId="2147487408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644850879" sldId="2147487409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569392359" sldId="2147487410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327547514" sldId="2147487411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705554881" sldId="2147487412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637211052" sldId="2147487413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995977120" sldId="2147487414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873536794" sldId="2147487415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44047783" sldId="2147487416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241359399" sldId="2147487417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946870848" sldId="2147487418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500612270" sldId="2147487419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7188429" sldId="2147487420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489255178" sldId="2147487421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312481416" sldId="2147487422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548945292" sldId="2147487423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86366893" sldId="2147487424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760187012" sldId="2147487425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380311001" sldId="2147487426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975096583" sldId="2147487427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350470411" sldId="2147487428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852524973" sldId="2147487429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902272352" sldId="2147487430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4130065987" sldId="2147487431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790769509" sldId="2147487432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175301916" sldId="2147487433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964556498" sldId="2147487434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4208102881" sldId="2147487435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473808763" sldId="2147487436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411467647" sldId="2147487437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412883648" sldId="2147487438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277098605" sldId="2147487439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898389967" sldId="2147487440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831754676" sldId="2147487441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153104230" sldId="2147487442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677301208" sldId="2147487443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0969274" sldId="2147487444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4009694923" sldId="2147487445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286661184" sldId="2147487446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558292305" sldId="2147487447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689810701" sldId="2147487448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809985834" sldId="2147487449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465151594" sldId="2147487450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622265237" sldId="2147487451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733692312" sldId="2147487452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4151404960" sldId="2147487453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210118071" sldId="2147487454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4026102257" sldId="2147487455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24294495" sldId="2147487456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426256349" sldId="2147487457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528170419" sldId="2147487458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508685345" sldId="2147487459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493358248" sldId="2147487460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746534174" sldId="2147487461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966216978" sldId="2147487462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864535131" sldId="2147487463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248386858" sldId="2147487464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706121928" sldId="2147487465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983463843" sldId="2147487466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087198659" sldId="2147487467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913135601" sldId="2147487468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288233947" sldId="2147487469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95167397" sldId="2147487470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338932143" sldId="2147487471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915134893" sldId="2147487472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453631294" sldId="2147487473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528205793" sldId="2147487474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813081404" sldId="2147487475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694580276" sldId="2147487476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634158450" sldId="2147487477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056685240" sldId="2147487478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663936235" sldId="2147487479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805665458" sldId="2147487480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947779270" sldId="2147487481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509740980" sldId="2147487482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766775868" sldId="2147487483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586134225" sldId="2147487484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23748503" sldId="2147487485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655454802" sldId="2147487486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168792499" sldId="2147487487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321057056" sldId="2147487488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01030142" sldId="2147487489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310446882" sldId="2147487490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385830908" sldId="2147487491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519027492" sldId="2147487492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588256784" sldId="2147487493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172277194" sldId="2147487494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275140284" sldId="2147487495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593940616" sldId="2147487496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712932411" sldId="2147487497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641949194" sldId="2147487498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4087006779" sldId="2147487499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882125608" sldId="2147487500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101064668" sldId="2147487501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094729584" sldId="2147487502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744286917" sldId="2147487503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679074926" sldId="2147487504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4287341118" sldId="2147487505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691029796" sldId="2147487506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167475186" sldId="2147487507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445090493" sldId="2147487508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519451092" sldId="2147487509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678310642" sldId="2147487510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030251580" sldId="2147487511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020278318" sldId="2147487512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974965561" sldId="2147487513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4174124221" sldId="2147487514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4117598847" sldId="2147487515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860673116" sldId="2147487516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478158093" sldId="2147487517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938036095" sldId="2147487518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11992279" sldId="2147487519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093610453" sldId="2147487520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628180404" sldId="2147487521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593834245" sldId="2147487522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539112510" sldId="2147487523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05354238" sldId="2147487524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865052775" sldId="2147487525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715216886" sldId="2147487526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495293549" sldId="2147487527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446840834" sldId="2147487528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078865345" sldId="2147487529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788921933" sldId="2147487530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007626667" sldId="2147487531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934616912" sldId="2147487532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132350901" sldId="2147487533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194807806" sldId="2147487534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790886355" sldId="2147487535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699579920" sldId="2147487536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782685107" sldId="2147487537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984765283" sldId="2147487538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070160659" sldId="2147487539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942351637" sldId="2147487540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349219728" sldId="2147487541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844329033" sldId="2147487542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526583260" sldId="2147487543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66069700" sldId="2147487544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059085238" sldId="2147487545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547011223" sldId="2147487546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266646683" sldId="2147487547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964673117" sldId="2147487548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684474703" sldId="2147487549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366152811" sldId="2147487550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70832226" sldId="2147487551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048604014" sldId="2147487552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614319247" sldId="2147487553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215274240" sldId="2147487554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661492598" sldId="2147487555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747784044" sldId="2147487556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533366064" sldId="2147487557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982489019" sldId="2147487558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4273084774" sldId="2147487559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968442073" sldId="2147487560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519893808" sldId="2147487561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566897864" sldId="2147487562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721886270" sldId="2147487563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58884917" sldId="2147487564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161560681" sldId="2147487565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632740796" sldId="2147487566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728732261" sldId="2147487567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793544538" sldId="2147487568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804300435" sldId="2147487569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773072463" sldId="2147487570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41496499" sldId="2147487571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4097481568" sldId="2147487572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51686319" sldId="2147487573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647174084" sldId="2147487574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555514588" sldId="2147487575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411636784" sldId="2147487576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643867846" sldId="2147487577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798751096" sldId="2147487578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791567076" sldId="2147487579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591819906" sldId="2147487580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204126283" sldId="2147487581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717146661" sldId="2147487582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373333477" sldId="2147487583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095865965" sldId="2147487584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36147518" sldId="2147487585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824616094" sldId="2147487586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376568514" sldId="2147487587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607365190" sldId="2147487588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768471747" sldId="2147487589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845357256" sldId="2147487590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164701038" sldId="2147487591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915943009" sldId="2147487592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435747928" sldId="2147487593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985179299" sldId="2147487594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4056377521" sldId="2147487595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498658753" sldId="2147487596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960919867" sldId="2147487597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502361877" sldId="2147487598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558979528" sldId="2147487599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825847094" sldId="2147487600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365412721" sldId="2147487601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179044178" sldId="2147487602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390282325" sldId="2147487603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57835108" sldId="2147487604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108747625" sldId="2147487605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146619680" sldId="2147487606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699259744" sldId="2147487607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569386430" sldId="2147487608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812685993" sldId="2147487609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665577935" sldId="2147487610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448855074" sldId="2147487611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728953942" sldId="2147487612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929490659" sldId="2147487613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792429685" sldId="2147487614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839915635" sldId="2147487615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646198761" sldId="2147487616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773482379" sldId="2147487617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6527012" sldId="2147487618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941530505" sldId="2147487619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508324217" sldId="2147487620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118702076" sldId="2147487621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541788038" sldId="2147487622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963221467" sldId="2147487623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761310648" sldId="2147487624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4046157867" sldId="2147487625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790448769" sldId="2147487626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680717672" sldId="2147487627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1532711717" sldId="2147487628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2240317722" sldId="2147487629"/>
          </pc:sldLayoutMkLst>
        </pc:sldLayoutChg>
        <pc:sldLayoutChg chg="del">
          <pc:chgData name="Mu'Azzam, Khadija" userId="36825828-e742-4d63-bee0-8d596eb55ca3" providerId="ADAL" clId="{7411C53E-A726-4A43-9F39-7CD82433F258}" dt="2025-10-02T09:37:48.495" v="148" actId="47"/>
          <pc:sldLayoutMkLst>
            <pc:docMk/>
            <pc:sldMasterMk cId="2427045610" sldId="2147487330"/>
            <pc:sldLayoutMk cId="3586354800" sldId="2147487630"/>
          </pc:sldLayoutMkLst>
        </pc:sldLayoutChg>
      </pc:sldMasterChg>
    </pc:docChg>
  </pc:docChgLst>
</pc:chgInfo>
</file>

<file path=ppt/diagrams/_rels/data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svg"/><Relationship Id="rId1" Type="http://schemas.openxmlformats.org/officeDocument/2006/relationships/image" Target="../media/image62.png"/><Relationship Id="rId6" Type="http://schemas.openxmlformats.org/officeDocument/2006/relationships/image" Target="../media/image67.svg"/><Relationship Id="rId5" Type="http://schemas.openxmlformats.org/officeDocument/2006/relationships/image" Target="../media/image66.png"/><Relationship Id="rId4" Type="http://schemas.openxmlformats.org/officeDocument/2006/relationships/image" Target="../media/image65.svg"/></Relationships>
</file>

<file path=ppt/diagrams/_rels/drawing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svg"/><Relationship Id="rId1" Type="http://schemas.openxmlformats.org/officeDocument/2006/relationships/image" Target="../media/image62.png"/><Relationship Id="rId6" Type="http://schemas.openxmlformats.org/officeDocument/2006/relationships/image" Target="../media/image67.svg"/><Relationship Id="rId5" Type="http://schemas.openxmlformats.org/officeDocument/2006/relationships/image" Target="../media/image66.png"/><Relationship Id="rId4" Type="http://schemas.openxmlformats.org/officeDocument/2006/relationships/image" Target="../media/image65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4">
  <dgm:title val=""/>
  <dgm:desc val=""/>
  <dgm:catLst>
    <dgm:cat type="accent2" pri="11400"/>
  </dgm:catLst>
  <dgm:styleLbl name="node0">
    <dgm:fillClrLst meth="cycle">
      <a:schemeClr val="accent2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2">
        <a:shade val="50000"/>
      </a:schemeClr>
      <a:schemeClr val="accent2">
        <a:tint val="45000"/>
      </a:schemeClr>
    </dgm:fillClrLst>
    <dgm:linClrLst meth="cycle">
      <a:schemeClr val="accent2">
        <a:shade val="50000"/>
      </a:schemeClr>
      <a:schemeClr val="accent2">
        <a:tint val="45000"/>
      </a:schemeClr>
    </dgm:linClrLst>
    <dgm:effectClrLst/>
    <dgm:txLinClrLst/>
    <dgm:txFillClrLst/>
    <dgm:txEffectClrLst/>
  </dgm:styleLbl>
  <dgm:styleLbl name="ln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2">
        <a:shade val="80000"/>
        <a:alpha val="50000"/>
      </a:schemeClr>
      <a:schemeClr val="accent2">
        <a:tint val="45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55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B066A53-A0C0-4951-8FE0-8C5358F452E6}" type="doc">
      <dgm:prSet loTypeId="urn:diagrams.loki3.com/VaryingWidthList" loCatId="list" qsTypeId="urn:microsoft.com/office/officeart/2005/8/quickstyle/3d1" qsCatId="3D" csTypeId="urn:microsoft.com/office/officeart/2005/8/colors/colorful3" csCatId="colorful" phldr="1"/>
      <dgm:spPr/>
      <dgm:t>
        <a:bodyPr/>
        <a:lstStyle/>
        <a:p>
          <a:endParaRPr lang="en-GB"/>
        </a:p>
      </dgm:t>
    </dgm:pt>
    <dgm:pt modelId="{01E40996-15D4-4801-9ADD-52D22B033DD9}">
      <dgm:prSet phldrT="[Text]" custT="1"/>
      <dgm:spPr/>
      <dgm:t>
        <a:bodyPr/>
        <a:lstStyle/>
        <a:p>
          <a:r>
            <a:rPr lang="en-GB" sz="2200" dirty="0">
              <a:latin typeface="Arial" panose="020B0604020202020204" pitchFamily="34" charset="0"/>
              <a:cs typeface="Arial" panose="020B0604020202020204" pitchFamily="34" charset="0"/>
            </a:rPr>
            <a:t>Account for nonlinear regions via shape reconstruction and feasibility analysis.</a:t>
          </a:r>
        </a:p>
      </dgm:t>
    </dgm:pt>
    <dgm:pt modelId="{C58FB904-D1D2-472D-8A63-B6FBCEC23922}" type="parTrans" cxnId="{93B52D06-65EB-45D2-9D67-E34FDADE3408}">
      <dgm:prSet/>
      <dgm:spPr/>
      <dgm:t>
        <a:bodyPr/>
        <a:lstStyle/>
        <a:p>
          <a:endParaRPr lang="en-GB" sz="2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A4A3762-97AA-46B9-A67A-787871EA97B6}" type="sibTrans" cxnId="{93B52D06-65EB-45D2-9D67-E34FDADE3408}">
      <dgm:prSet/>
      <dgm:spPr/>
      <dgm:t>
        <a:bodyPr/>
        <a:lstStyle/>
        <a:p>
          <a:endParaRPr lang="en-GB" sz="2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82272BD-3E87-4D25-A070-40E036950FE6}">
      <dgm:prSet phldrT="[Text]" custT="1"/>
      <dgm:spPr/>
      <dgm:t>
        <a:bodyPr/>
        <a:lstStyle/>
        <a:p>
          <a:r>
            <a:rPr lang="en-GB" sz="2200" dirty="0">
              <a:latin typeface="Arial" panose="020B0604020202020204" pitchFamily="34" charset="0"/>
              <a:cs typeface="Arial" panose="020B0604020202020204" pitchFamily="34" charset="0"/>
            </a:rPr>
            <a:t>Use black-box approximations to keep computation practical for expensive simulations.</a:t>
          </a:r>
        </a:p>
      </dgm:t>
    </dgm:pt>
    <dgm:pt modelId="{0846FDB9-6E68-4B7B-ACCD-D9E842AAC3AF}" type="parTrans" cxnId="{1A4F65F6-8600-475D-9973-A623CB312049}">
      <dgm:prSet/>
      <dgm:spPr/>
      <dgm:t>
        <a:bodyPr/>
        <a:lstStyle/>
        <a:p>
          <a:endParaRPr lang="en-GB" sz="2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6733C52-7E8D-4598-BC1B-A612C4988850}" type="sibTrans" cxnId="{1A4F65F6-8600-475D-9973-A623CB312049}">
      <dgm:prSet/>
      <dgm:spPr/>
      <dgm:t>
        <a:bodyPr/>
        <a:lstStyle/>
        <a:p>
          <a:endParaRPr lang="en-GB" sz="2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B419958-68C3-482D-BDF3-CE6960B7804A}">
      <dgm:prSet phldrT="[Text]" custT="1"/>
      <dgm:spPr/>
      <dgm:t>
        <a:bodyPr/>
        <a:lstStyle/>
        <a:p>
          <a:r>
            <a:rPr lang="en-GB" sz="2200" dirty="0">
              <a:latin typeface="Arial" panose="020B0604020202020204" pitchFamily="34" charset="0"/>
              <a:cs typeface="Arial" panose="020B0604020202020204" pitchFamily="34" charset="0"/>
            </a:rPr>
            <a:t>Combine frequentist &amp; Bayesian approaches to estimate prediction intervals and the probability of meeting constraints.</a:t>
          </a:r>
        </a:p>
      </dgm:t>
    </dgm:pt>
    <dgm:pt modelId="{27F7B90E-FAC8-4AB3-A436-58EE64A24E71}" type="parTrans" cxnId="{B026DAA8-DEDA-49B6-88D4-DE72F96236B5}">
      <dgm:prSet/>
      <dgm:spPr/>
      <dgm:t>
        <a:bodyPr/>
        <a:lstStyle/>
        <a:p>
          <a:endParaRPr lang="en-GB" sz="2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DEC2485-7A6C-4A6F-B00D-F6E505F375AB}" type="sibTrans" cxnId="{B026DAA8-DEDA-49B6-88D4-DE72F96236B5}">
      <dgm:prSet/>
      <dgm:spPr/>
      <dgm:t>
        <a:bodyPr/>
        <a:lstStyle/>
        <a:p>
          <a:endParaRPr lang="en-GB" sz="2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9392F9C-CF25-4DCB-96ED-D4F367E6B004}">
      <dgm:prSet phldrT="[Text]" custT="1"/>
      <dgm:spPr>
        <a:solidFill>
          <a:schemeClr val="bg2">
            <a:lumMod val="25000"/>
          </a:schemeClr>
        </a:solidFill>
      </dgm:spPr>
      <dgm:t>
        <a:bodyPr/>
        <a:lstStyle/>
        <a:p>
          <a:r>
            <a:rPr lang="en-GB" sz="2200" dirty="0">
              <a:latin typeface="Arial" panose="020B0604020202020204" pitchFamily="34" charset="0"/>
              <a:cs typeface="Arial" panose="020B0604020202020204" pitchFamily="34" charset="0"/>
            </a:rPr>
            <a:t>DoE &amp; empirical, mechanistic, or hybrid models</a:t>
          </a:r>
        </a:p>
      </dgm:t>
    </dgm:pt>
    <dgm:pt modelId="{BFAA2DB3-CE69-4435-A3F8-0C9106CD8231}" type="sibTrans" cxnId="{9D178446-9C5C-4B9C-9291-CB541CB86686}">
      <dgm:prSet/>
      <dgm:spPr/>
      <dgm:t>
        <a:bodyPr/>
        <a:lstStyle/>
        <a:p>
          <a:endParaRPr lang="en-GB" sz="2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5E9D2CF-57A7-453D-82AC-DB34584D08EE}" type="parTrans" cxnId="{9D178446-9C5C-4B9C-9291-CB541CB86686}">
      <dgm:prSet/>
      <dgm:spPr/>
      <dgm:t>
        <a:bodyPr/>
        <a:lstStyle/>
        <a:p>
          <a:endParaRPr lang="en-GB" sz="2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D7E807B-968D-4547-A862-F49F8F69526A}" type="pres">
      <dgm:prSet presAssocID="{9B066A53-A0C0-4951-8FE0-8C5358F452E6}" presName="Name0" presStyleCnt="0">
        <dgm:presLayoutVars>
          <dgm:resizeHandles/>
        </dgm:presLayoutVars>
      </dgm:prSet>
      <dgm:spPr/>
    </dgm:pt>
    <dgm:pt modelId="{A3B78DC1-F88E-4683-9E86-1E73DCC05AE1}" type="pres">
      <dgm:prSet presAssocID="{39392F9C-CF25-4DCB-96ED-D4F367E6B004}" presName="text" presStyleLbl="node1" presStyleIdx="0" presStyleCnt="4" custScaleX="158413">
        <dgm:presLayoutVars>
          <dgm:bulletEnabled val="1"/>
        </dgm:presLayoutVars>
      </dgm:prSet>
      <dgm:spPr/>
    </dgm:pt>
    <dgm:pt modelId="{21182430-BA2B-4089-9DF4-EE273C461CBA}" type="pres">
      <dgm:prSet presAssocID="{BFAA2DB3-CE69-4435-A3F8-0C9106CD8231}" presName="space" presStyleCnt="0"/>
      <dgm:spPr/>
    </dgm:pt>
    <dgm:pt modelId="{16BDF016-E7F1-438D-B43F-6817E9756DFC}" type="pres">
      <dgm:prSet presAssocID="{01E40996-15D4-4801-9ADD-52D22B033DD9}" presName="text" presStyleLbl="node1" presStyleIdx="1" presStyleCnt="4" custScaleX="207792">
        <dgm:presLayoutVars>
          <dgm:bulletEnabled val="1"/>
        </dgm:presLayoutVars>
      </dgm:prSet>
      <dgm:spPr/>
    </dgm:pt>
    <dgm:pt modelId="{82A7C4FA-D403-4067-BAD2-C4772650FA29}" type="pres">
      <dgm:prSet presAssocID="{AA4A3762-97AA-46B9-A67A-787871EA97B6}" presName="space" presStyleCnt="0"/>
      <dgm:spPr/>
    </dgm:pt>
    <dgm:pt modelId="{77131427-63EA-4E34-BBD4-BAC6BDE1B12B}" type="pres">
      <dgm:prSet presAssocID="{A82272BD-3E87-4D25-A070-40E036950FE6}" presName="text" presStyleLbl="node1" presStyleIdx="2" presStyleCnt="4" custScaleX="217900">
        <dgm:presLayoutVars>
          <dgm:bulletEnabled val="1"/>
        </dgm:presLayoutVars>
      </dgm:prSet>
      <dgm:spPr/>
    </dgm:pt>
    <dgm:pt modelId="{A9DE7045-01FF-4B62-B843-661D5188F69F}" type="pres">
      <dgm:prSet presAssocID="{E6733C52-7E8D-4598-BC1B-A612C4988850}" presName="space" presStyleCnt="0"/>
      <dgm:spPr/>
    </dgm:pt>
    <dgm:pt modelId="{E674E665-393A-4983-8D49-8FA041165F7D}" type="pres">
      <dgm:prSet presAssocID="{8B419958-68C3-482D-BDF3-CE6960B7804A}" presName="text" presStyleLbl="node1" presStyleIdx="3" presStyleCnt="4" custScaleX="213313">
        <dgm:presLayoutVars>
          <dgm:bulletEnabled val="1"/>
        </dgm:presLayoutVars>
      </dgm:prSet>
      <dgm:spPr/>
    </dgm:pt>
  </dgm:ptLst>
  <dgm:cxnLst>
    <dgm:cxn modelId="{93B52D06-65EB-45D2-9D67-E34FDADE3408}" srcId="{9B066A53-A0C0-4951-8FE0-8C5358F452E6}" destId="{01E40996-15D4-4801-9ADD-52D22B033DD9}" srcOrd="1" destOrd="0" parTransId="{C58FB904-D1D2-472D-8A63-B6FBCEC23922}" sibTransId="{AA4A3762-97AA-46B9-A67A-787871EA97B6}"/>
    <dgm:cxn modelId="{D1E5EE31-784C-4F2C-A4E5-D7B8A5E3E8CA}" type="presOf" srcId="{8B419958-68C3-482D-BDF3-CE6960B7804A}" destId="{E674E665-393A-4983-8D49-8FA041165F7D}" srcOrd="0" destOrd="0" presId="urn:diagrams.loki3.com/VaryingWidthList"/>
    <dgm:cxn modelId="{9D178446-9C5C-4B9C-9291-CB541CB86686}" srcId="{9B066A53-A0C0-4951-8FE0-8C5358F452E6}" destId="{39392F9C-CF25-4DCB-96ED-D4F367E6B004}" srcOrd="0" destOrd="0" parTransId="{45E9D2CF-57A7-453D-82AC-DB34584D08EE}" sibTransId="{BFAA2DB3-CE69-4435-A3F8-0C9106CD8231}"/>
    <dgm:cxn modelId="{77D2986A-5CF7-4C67-9B8F-F9DFFBB8F802}" type="presOf" srcId="{A82272BD-3E87-4D25-A070-40E036950FE6}" destId="{77131427-63EA-4E34-BBD4-BAC6BDE1B12B}" srcOrd="0" destOrd="0" presId="urn:diagrams.loki3.com/VaryingWidthList"/>
    <dgm:cxn modelId="{168DF797-64FF-4557-9A39-140DD0BE0D07}" type="presOf" srcId="{39392F9C-CF25-4DCB-96ED-D4F367E6B004}" destId="{A3B78DC1-F88E-4683-9E86-1E73DCC05AE1}" srcOrd="0" destOrd="0" presId="urn:diagrams.loki3.com/VaryingWidthList"/>
    <dgm:cxn modelId="{B026DAA8-DEDA-49B6-88D4-DE72F96236B5}" srcId="{9B066A53-A0C0-4951-8FE0-8C5358F452E6}" destId="{8B419958-68C3-482D-BDF3-CE6960B7804A}" srcOrd="3" destOrd="0" parTransId="{27F7B90E-FAC8-4AB3-A436-58EE64A24E71}" sibTransId="{6DEC2485-7A6C-4A6F-B00D-F6E505F375AB}"/>
    <dgm:cxn modelId="{0BDD5AE0-29D9-464C-BEAE-3CB1CBDCAF68}" type="presOf" srcId="{01E40996-15D4-4801-9ADD-52D22B033DD9}" destId="{16BDF016-E7F1-438D-B43F-6817E9756DFC}" srcOrd="0" destOrd="0" presId="urn:diagrams.loki3.com/VaryingWidthList"/>
    <dgm:cxn modelId="{B7780CEE-7A78-41DA-8575-E179DD187867}" type="presOf" srcId="{9B066A53-A0C0-4951-8FE0-8C5358F452E6}" destId="{8D7E807B-968D-4547-A862-F49F8F69526A}" srcOrd="0" destOrd="0" presId="urn:diagrams.loki3.com/VaryingWidthList"/>
    <dgm:cxn modelId="{1A4F65F6-8600-475D-9973-A623CB312049}" srcId="{9B066A53-A0C0-4951-8FE0-8C5358F452E6}" destId="{A82272BD-3E87-4D25-A070-40E036950FE6}" srcOrd="2" destOrd="0" parTransId="{0846FDB9-6E68-4B7B-ACCD-D9E842AAC3AF}" sibTransId="{E6733C52-7E8D-4598-BC1B-A612C4988850}"/>
    <dgm:cxn modelId="{64613893-4685-4DC5-B7B5-01A73D8CEF4E}" type="presParOf" srcId="{8D7E807B-968D-4547-A862-F49F8F69526A}" destId="{A3B78DC1-F88E-4683-9E86-1E73DCC05AE1}" srcOrd="0" destOrd="0" presId="urn:diagrams.loki3.com/VaryingWidthList"/>
    <dgm:cxn modelId="{F6544E52-0433-414D-86EC-741FCB2C6484}" type="presParOf" srcId="{8D7E807B-968D-4547-A862-F49F8F69526A}" destId="{21182430-BA2B-4089-9DF4-EE273C461CBA}" srcOrd="1" destOrd="0" presId="urn:diagrams.loki3.com/VaryingWidthList"/>
    <dgm:cxn modelId="{8C3E9497-8C17-4B30-AC69-53FEA913AE74}" type="presParOf" srcId="{8D7E807B-968D-4547-A862-F49F8F69526A}" destId="{16BDF016-E7F1-438D-B43F-6817E9756DFC}" srcOrd="2" destOrd="0" presId="urn:diagrams.loki3.com/VaryingWidthList"/>
    <dgm:cxn modelId="{8DE4F8E6-19EA-44F4-A00A-350ADFA4AE30}" type="presParOf" srcId="{8D7E807B-968D-4547-A862-F49F8F69526A}" destId="{82A7C4FA-D403-4067-BAD2-C4772650FA29}" srcOrd="3" destOrd="0" presId="urn:diagrams.loki3.com/VaryingWidthList"/>
    <dgm:cxn modelId="{C58239EC-14C0-40DF-BBA2-B34C89160B35}" type="presParOf" srcId="{8D7E807B-968D-4547-A862-F49F8F69526A}" destId="{77131427-63EA-4E34-BBD4-BAC6BDE1B12B}" srcOrd="4" destOrd="0" presId="urn:diagrams.loki3.com/VaryingWidthList"/>
    <dgm:cxn modelId="{587EBC11-7470-4AFF-A876-8AE9B39FDA62}" type="presParOf" srcId="{8D7E807B-968D-4547-A862-F49F8F69526A}" destId="{A9DE7045-01FF-4B62-B843-661D5188F69F}" srcOrd="5" destOrd="0" presId="urn:diagrams.loki3.com/VaryingWidthList"/>
    <dgm:cxn modelId="{F86EE549-37D2-4185-B647-52ECA60BA948}" type="presParOf" srcId="{8D7E807B-968D-4547-A862-F49F8F69526A}" destId="{E674E665-393A-4983-8D49-8FA041165F7D}" srcOrd="6" destOrd="0" presId="urn:diagrams.loki3.com/VaryingWidth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9155E9D-DB88-409A-84C7-7AD256CCFCC2}" type="doc">
      <dgm:prSet loTypeId="urn:microsoft.com/office/officeart/2005/8/layout/gear1" loCatId="process" qsTypeId="urn:microsoft.com/office/officeart/2005/8/quickstyle/3d3" qsCatId="3D" csTypeId="urn:microsoft.com/office/officeart/2005/8/colors/accent2_4" csCatId="accent2" phldr="1"/>
      <dgm:spPr/>
    </dgm:pt>
    <dgm:pt modelId="{E9769601-0C7D-41A5-A0B5-B32A3FCA0CF8}">
      <dgm:prSet phldrT="[Text]"/>
      <dgm:spPr/>
      <dgm:t>
        <a:bodyPr/>
        <a:lstStyle/>
        <a:p>
          <a:r>
            <a:rPr lang="en-GB" dirty="0"/>
            <a:t>Physical</a:t>
          </a:r>
        </a:p>
      </dgm:t>
    </dgm:pt>
    <dgm:pt modelId="{E9C82816-090A-41A4-B9F1-035F0E9A998A}" type="parTrans" cxnId="{809A5C82-34CD-4FAB-A4A4-A8DE64FA5D13}">
      <dgm:prSet/>
      <dgm:spPr/>
      <dgm:t>
        <a:bodyPr/>
        <a:lstStyle/>
        <a:p>
          <a:endParaRPr lang="en-GB"/>
        </a:p>
      </dgm:t>
    </dgm:pt>
    <dgm:pt modelId="{392B3832-7FF1-4972-BDDA-52FB1DF5496B}" type="sibTrans" cxnId="{809A5C82-34CD-4FAB-A4A4-A8DE64FA5D13}">
      <dgm:prSet/>
      <dgm:spPr/>
      <dgm:t>
        <a:bodyPr/>
        <a:lstStyle/>
        <a:p>
          <a:endParaRPr lang="en-GB"/>
        </a:p>
      </dgm:t>
    </dgm:pt>
    <dgm:pt modelId="{13404B6E-4859-4FAA-9CBB-2EF38164BEAD}">
      <dgm:prSet phldrT="[Text]"/>
      <dgm:spPr/>
      <dgm:t>
        <a:bodyPr/>
        <a:lstStyle/>
        <a:p>
          <a:r>
            <a:rPr lang="en-GB" dirty="0"/>
            <a:t>Digital</a:t>
          </a:r>
        </a:p>
      </dgm:t>
    </dgm:pt>
    <dgm:pt modelId="{4511AC6B-21B0-4828-9AEC-1AA99635420F}" type="parTrans" cxnId="{69B075BC-E845-4B05-828F-728345BD99B0}">
      <dgm:prSet/>
      <dgm:spPr/>
      <dgm:t>
        <a:bodyPr/>
        <a:lstStyle/>
        <a:p>
          <a:endParaRPr lang="en-GB"/>
        </a:p>
      </dgm:t>
    </dgm:pt>
    <dgm:pt modelId="{563BBF6B-0082-4966-9BEC-C7A895A7D6F7}" type="sibTrans" cxnId="{69B075BC-E845-4B05-828F-728345BD99B0}">
      <dgm:prSet/>
      <dgm:spPr/>
      <dgm:t>
        <a:bodyPr/>
        <a:lstStyle/>
        <a:p>
          <a:endParaRPr lang="en-GB"/>
        </a:p>
      </dgm:t>
    </dgm:pt>
    <dgm:pt modelId="{DCA770FE-DDBA-4584-A08D-DC5A4A7CD50D}">
      <dgm:prSet phldrT="[Text]"/>
      <dgm:spPr/>
      <dgm:t>
        <a:bodyPr/>
        <a:lstStyle/>
        <a:p>
          <a:r>
            <a:rPr lang="en-GB" dirty="0"/>
            <a:t>Virtual</a:t>
          </a:r>
        </a:p>
      </dgm:t>
    </dgm:pt>
    <dgm:pt modelId="{4FA08640-ABB6-430A-80DA-DAD447D12149}" type="parTrans" cxnId="{CCDE197F-74CC-4F9D-9729-8EABE1FA7CEC}">
      <dgm:prSet/>
      <dgm:spPr/>
      <dgm:t>
        <a:bodyPr/>
        <a:lstStyle/>
        <a:p>
          <a:endParaRPr lang="en-GB"/>
        </a:p>
      </dgm:t>
    </dgm:pt>
    <dgm:pt modelId="{6E89852C-0AAA-4583-9E2E-3011B011D8F3}" type="sibTrans" cxnId="{CCDE197F-74CC-4F9D-9729-8EABE1FA7CEC}">
      <dgm:prSet/>
      <dgm:spPr/>
      <dgm:t>
        <a:bodyPr/>
        <a:lstStyle/>
        <a:p>
          <a:endParaRPr lang="en-GB"/>
        </a:p>
      </dgm:t>
    </dgm:pt>
    <dgm:pt modelId="{340A2477-9DF5-4936-8A2B-859DC8A85CF2}" type="pres">
      <dgm:prSet presAssocID="{89155E9D-DB88-409A-84C7-7AD256CCFCC2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1B9AFB02-CE59-4649-BE71-554D4609CBCC}" type="pres">
      <dgm:prSet presAssocID="{E9769601-0C7D-41A5-A0B5-B32A3FCA0CF8}" presName="gear1" presStyleLbl="node1" presStyleIdx="0" presStyleCnt="3">
        <dgm:presLayoutVars>
          <dgm:chMax val="1"/>
          <dgm:bulletEnabled val="1"/>
        </dgm:presLayoutVars>
      </dgm:prSet>
      <dgm:spPr/>
    </dgm:pt>
    <dgm:pt modelId="{75C6EC40-7AD7-4BE8-84B8-18E0D0032A9E}" type="pres">
      <dgm:prSet presAssocID="{E9769601-0C7D-41A5-A0B5-B32A3FCA0CF8}" presName="gear1srcNode" presStyleLbl="node1" presStyleIdx="0" presStyleCnt="3"/>
      <dgm:spPr/>
    </dgm:pt>
    <dgm:pt modelId="{2D787042-AC66-45BC-846C-80009CCA7143}" type="pres">
      <dgm:prSet presAssocID="{E9769601-0C7D-41A5-A0B5-B32A3FCA0CF8}" presName="gear1dstNode" presStyleLbl="node1" presStyleIdx="0" presStyleCnt="3"/>
      <dgm:spPr/>
    </dgm:pt>
    <dgm:pt modelId="{5F7AC8F1-6AB7-4A93-A406-0C23B9F32237}" type="pres">
      <dgm:prSet presAssocID="{13404B6E-4859-4FAA-9CBB-2EF38164BEAD}" presName="gear2" presStyleLbl="node1" presStyleIdx="1" presStyleCnt="3">
        <dgm:presLayoutVars>
          <dgm:chMax val="1"/>
          <dgm:bulletEnabled val="1"/>
        </dgm:presLayoutVars>
      </dgm:prSet>
      <dgm:spPr/>
    </dgm:pt>
    <dgm:pt modelId="{203B7ED5-BAD7-429B-85B8-C3ECF7216A53}" type="pres">
      <dgm:prSet presAssocID="{13404B6E-4859-4FAA-9CBB-2EF38164BEAD}" presName="gear2srcNode" presStyleLbl="node1" presStyleIdx="1" presStyleCnt="3"/>
      <dgm:spPr/>
    </dgm:pt>
    <dgm:pt modelId="{FDECC15F-83D3-45C7-9F91-915BE8FD6509}" type="pres">
      <dgm:prSet presAssocID="{13404B6E-4859-4FAA-9CBB-2EF38164BEAD}" presName="gear2dstNode" presStyleLbl="node1" presStyleIdx="1" presStyleCnt="3"/>
      <dgm:spPr/>
    </dgm:pt>
    <dgm:pt modelId="{7B531463-4866-4364-B62D-BD70A513598F}" type="pres">
      <dgm:prSet presAssocID="{DCA770FE-DDBA-4584-A08D-DC5A4A7CD50D}" presName="gear3" presStyleLbl="node1" presStyleIdx="2" presStyleCnt="3"/>
      <dgm:spPr/>
    </dgm:pt>
    <dgm:pt modelId="{3B026284-414E-469D-B756-97DC8AA08C6F}" type="pres">
      <dgm:prSet presAssocID="{DCA770FE-DDBA-4584-A08D-DC5A4A7CD50D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87111997-7EE5-4BDF-9D89-5004703377C5}" type="pres">
      <dgm:prSet presAssocID="{DCA770FE-DDBA-4584-A08D-DC5A4A7CD50D}" presName="gear3srcNode" presStyleLbl="node1" presStyleIdx="2" presStyleCnt="3"/>
      <dgm:spPr/>
    </dgm:pt>
    <dgm:pt modelId="{7F73C82E-7DB3-4E09-9105-B18E5359FE9E}" type="pres">
      <dgm:prSet presAssocID="{DCA770FE-DDBA-4584-A08D-DC5A4A7CD50D}" presName="gear3dstNode" presStyleLbl="node1" presStyleIdx="2" presStyleCnt="3"/>
      <dgm:spPr/>
    </dgm:pt>
    <dgm:pt modelId="{33C2041B-F488-4A3F-B2B1-C20A757EB0EE}" type="pres">
      <dgm:prSet presAssocID="{392B3832-7FF1-4972-BDDA-52FB1DF5496B}" presName="connector1" presStyleLbl="sibTrans2D1" presStyleIdx="0" presStyleCnt="3"/>
      <dgm:spPr/>
    </dgm:pt>
    <dgm:pt modelId="{671E5A40-7A17-4C8E-A734-A0BA722D6CB8}" type="pres">
      <dgm:prSet presAssocID="{563BBF6B-0082-4966-9BEC-C7A895A7D6F7}" presName="connector2" presStyleLbl="sibTrans2D1" presStyleIdx="1" presStyleCnt="3"/>
      <dgm:spPr/>
    </dgm:pt>
    <dgm:pt modelId="{4A0148B6-72A4-4C97-94D6-FB03CD1B054C}" type="pres">
      <dgm:prSet presAssocID="{6E89852C-0AAA-4583-9E2E-3011B011D8F3}" presName="connector3" presStyleLbl="sibTrans2D1" presStyleIdx="2" presStyleCnt="3"/>
      <dgm:spPr/>
    </dgm:pt>
  </dgm:ptLst>
  <dgm:cxnLst>
    <dgm:cxn modelId="{8934DE19-448A-4740-AABC-DEE22FF65797}" type="presOf" srcId="{13404B6E-4859-4FAA-9CBB-2EF38164BEAD}" destId="{5F7AC8F1-6AB7-4A93-A406-0C23B9F32237}" srcOrd="0" destOrd="0" presId="urn:microsoft.com/office/officeart/2005/8/layout/gear1"/>
    <dgm:cxn modelId="{C57E9624-6192-4986-A55E-B729242DBFD0}" type="presOf" srcId="{DCA770FE-DDBA-4584-A08D-DC5A4A7CD50D}" destId="{87111997-7EE5-4BDF-9D89-5004703377C5}" srcOrd="2" destOrd="0" presId="urn:microsoft.com/office/officeart/2005/8/layout/gear1"/>
    <dgm:cxn modelId="{5A7AAF2D-4563-41B0-A27A-DB5556A10A43}" type="presOf" srcId="{E9769601-0C7D-41A5-A0B5-B32A3FCA0CF8}" destId="{2D787042-AC66-45BC-846C-80009CCA7143}" srcOrd="2" destOrd="0" presId="urn:microsoft.com/office/officeart/2005/8/layout/gear1"/>
    <dgm:cxn modelId="{CCED696B-45C6-4F73-8BB7-000D8BD13A41}" type="presOf" srcId="{E9769601-0C7D-41A5-A0B5-B32A3FCA0CF8}" destId="{75C6EC40-7AD7-4BE8-84B8-18E0D0032A9E}" srcOrd="1" destOrd="0" presId="urn:microsoft.com/office/officeart/2005/8/layout/gear1"/>
    <dgm:cxn modelId="{CCDE197F-74CC-4F9D-9729-8EABE1FA7CEC}" srcId="{89155E9D-DB88-409A-84C7-7AD256CCFCC2}" destId="{DCA770FE-DDBA-4584-A08D-DC5A4A7CD50D}" srcOrd="2" destOrd="0" parTransId="{4FA08640-ABB6-430A-80DA-DAD447D12149}" sibTransId="{6E89852C-0AAA-4583-9E2E-3011B011D8F3}"/>
    <dgm:cxn modelId="{809A5C82-34CD-4FAB-A4A4-A8DE64FA5D13}" srcId="{89155E9D-DB88-409A-84C7-7AD256CCFCC2}" destId="{E9769601-0C7D-41A5-A0B5-B32A3FCA0CF8}" srcOrd="0" destOrd="0" parTransId="{E9C82816-090A-41A4-B9F1-035F0E9A998A}" sibTransId="{392B3832-7FF1-4972-BDDA-52FB1DF5496B}"/>
    <dgm:cxn modelId="{A116A78D-40B2-4506-9ECD-C83FEC1F81F3}" type="presOf" srcId="{6E89852C-0AAA-4583-9E2E-3011B011D8F3}" destId="{4A0148B6-72A4-4C97-94D6-FB03CD1B054C}" srcOrd="0" destOrd="0" presId="urn:microsoft.com/office/officeart/2005/8/layout/gear1"/>
    <dgm:cxn modelId="{D079F79A-CE05-4E6D-AA60-E1E4C62E8A00}" type="presOf" srcId="{DCA770FE-DDBA-4584-A08D-DC5A4A7CD50D}" destId="{3B026284-414E-469D-B756-97DC8AA08C6F}" srcOrd="1" destOrd="0" presId="urn:microsoft.com/office/officeart/2005/8/layout/gear1"/>
    <dgm:cxn modelId="{009F6FB9-7E15-4ED8-BC54-2B14A388093A}" type="presOf" srcId="{E9769601-0C7D-41A5-A0B5-B32A3FCA0CF8}" destId="{1B9AFB02-CE59-4649-BE71-554D4609CBCC}" srcOrd="0" destOrd="0" presId="urn:microsoft.com/office/officeart/2005/8/layout/gear1"/>
    <dgm:cxn modelId="{69B075BC-E845-4B05-828F-728345BD99B0}" srcId="{89155E9D-DB88-409A-84C7-7AD256CCFCC2}" destId="{13404B6E-4859-4FAA-9CBB-2EF38164BEAD}" srcOrd="1" destOrd="0" parTransId="{4511AC6B-21B0-4828-9AEC-1AA99635420F}" sibTransId="{563BBF6B-0082-4966-9BEC-C7A895A7D6F7}"/>
    <dgm:cxn modelId="{979A7DC7-DF47-42D3-9861-3380D86270F7}" type="presOf" srcId="{89155E9D-DB88-409A-84C7-7AD256CCFCC2}" destId="{340A2477-9DF5-4936-8A2B-859DC8A85CF2}" srcOrd="0" destOrd="0" presId="urn:microsoft.com/office/officeart/2005/8/layout/gear1"/>
    <dgm:cxn modelId="{A63DBBC9-2ABC-4BFA-8CC5-ED72A92B91C9}" type="presOf" srcId="{13404B6E-4859-4FAA-9CBB-2EF38164BEAD}" destId="{FDECC15F-83D3-45C7-9F91-915BE8FD6509}" srcOrd="2" destOrd="0" presId="urn:microsoft.com/office/officeart/2005/8/layout/gear1"/>
    <dgm:cxn modelId="{1BFCFFCA-9B40-46D3-BFC6-6DEF83384BB2}" type="presOf" srcId="{DCA770FE-DDBA-4584-A08D-DC5A4A7CD50D}" destId="{7F73C82E-7DB3-4E09-9105-B18E5359FE9E}" srcOrd="3" destOrd="0" presId="urn:microsoft.com/office/officeart/2005/8/layout/gear1"/>
    <dgm:cxn modelId="{2B0C9ACB-096F-4E5A-86DD-C1BA1F3BD1EE}" type="presOf" srcId="{392B3832-7FF1-4972-BDDA-52FB1DF5496B}" destId="{33C2041B-F488-4A3F-B2B1-C20A757EB0EE}" srcOrd="0" destOrd="0" presId="urn:microsoft.com/office/officeart/2005/8/layout/gear1"/>
    <dgm:cxn modelId="{57E667D2-8EA0-4542-AD78-5B6663EA934B}" type="presOf" srcId="{DCA770FE-DDBA-4584-A08D-DC5A4A7CD50D}" destId="{7B531463-4866-4364-B62D-BD70A513598F}" srcOrd="0" destOrd="0" presId="urn:microsoft.com/office/officeart/2005/8/layout/gear1"/>
    <dgm:cxn modelId="{3D3E86EF-5B63-4862-9335-9666DF286D9B}" type="presOf" srcId="{563BBF6B-0082-4966-9BEC-C7A895A7D6F7}" destId="{671E5A40-7A17-4C8E-A734-A0BA722D6CB8}" srcOrd="0" destOrd="0" presId="urn:microsoft.com/office/officeart/2005/8/layout/gear1"/>
    <dgm:cxn modelId="{29C1ADF5-2504-4B31-8EFC-A4D097AD7A2E}" type="presOf" srcId="{13404B6E-4859-4FAA-9CBB-2EF38164BEAD}" destId="{203B7ED5-BAD7-429B-85B8-C3ECF7216A53}" srcOrd="1" destOrd="0" presId="urn:microsoft.com/office/officeart/2005/8/layout/gear1"/>
    <dgm:cxn modelId="{FFAC94B9-4159-407D-8075-58423EE55CEA}" type="presParOf" srcId="{340A2477-9DF5-4936-8A2B-859DC8A85CF2}" destId="{1B9AFB02-CE59-4649-BE71-554D4609CBCC}" srcOrd="0" destOrd="0" presId="urn:microsoft.com/office/officeart/2005/8/layout/gear1"/>
    <dgm:cxn modelId="{65C7F701-1170-4AAB-8746-B59B28343B1B}" type="presParOf" srcId="{340A2477-9DF5-4936-8A2B-859DC8A85CF2}" destId="{75C6EC40-7AD7-4BE8-84B8-18E0D0032A9E}" srcOrd="1" destOrd="0" presId="urn:microsoft.com/office/officeart/2005/8/layout/gear1"/>
    <dgm:cxn modelId="{961B9E14-85D4-42DA-8AF6-6B400FB33C6D}" type="presParOf" srcId="{340A2477-9DF5-4936-8A2B-859DC8A85CF2}" destId="{2D787042-AC66-45BC-846C-80009CCA7143}" srcOrd="2" destOrd="0" presId="urn:microsoft.com/office/officeart/2005/8/layout/gear1"/>
    <dgm:cxn modelId="{DA697F49-29DC-4808-97B9-26A4ACE2FA9C}" type="presParOf" srcId="{340A2477-9DF5-4936-8A2B-859DC8A85CF2}" destId="{5F7AC8F1-6AB7-4A93-A406-0C23B9F32237}" srcOrd="3" destOrd="0" presId="urn:microsoft.com/office/officeart/2005/8/layout/gear1"/>
    <dgm:cxn modelId="{73EB53A0-D4B2-4AF6-8E24-6BC265F31C39}" type="presParOf" srcId="{340A2477-9DF5-4936-8A2B-859DC8A85CF2}" destId="{203B7ED5-BAD7-429B-85B8-C3ECF7216A53}" srcOrd="4" destOrd="0" presId="urn:microsoft.com/office/officeart/2005/8/layout/gear1"/>
    <dgm:cxn modelId="{B6E707B4-5C47-4BB6-BD21-104FACD85D40}" type="presParOf" srcId="{340A2477-9DF5-4936-8A2B-859DC8A85CF2}" destId="{FDECC15F-83D3-45C7-9F91-915BE8FD6509}" srcOrd="5" destOrd="0" presId="urn:microsoft.com/office/officeart/2005/8/layout/gear1"/>
    <dgm:cxn modelId="{C8EA44C6-44D2-4F7F-A0A6-EE9C5BABECA2}" type="presParOf" srcId="{340A2477-9DF5-4936-8A2B-859DC8A85CF2}" destId="{7B531463-4866-4364-B62D-BD70A513598F}" srcOrd="6" destOrd="0" presId="urn:microsoft.com/office/officeart/2005/8/layout/gear1"/>
    <dgm:cxn modelId="{5D40171F-ADDD-4BD0-A2E9-74FBCCA6CA5F}" type="presParOf" srcId="{340A2477-9DF5-4936-8A2B-859DC8A85CF2}" destId="{3B026284-414E-469D-B756-97DC8AA08C6F}" srcOrd="7" destOrd="0" presId="urn:microsoft.com/office/officeart/2005/8/layout/gear1"/>
    <dgm:cxn modelId="{11E6CEAD-30E4-4AC9-B9F4-D9FE55386794}" type="presParOf" srcId="{340A2477-9DF5-4936-8A2B-859DC8A85CF2}" destId="{87111997-7EE5-4BDF-9D89-5004703377C5}" srcOrd="8" destOrd="0" presId="urn:microsoft.com/office/officeart/2005/8/layout/gear1"/>
    <dgm:cxn modelId="{3FA9107F-D2B4-4002-A459-30229C7CF63B}" type="presParOf" srcId="{340A2477-9DF5-4936-8A2B-859DC8A85CF2}" destId="{7F73C82E-7DB3-4E09-9105-B18E5359FE9E}" srcOrd="9" destOrd="0" presId="urn:microsoft.com/office/officeart/2005/8/layout/gear1"/>
    <dgm:cxn modelId="{D0379820-451C-4D23-94B2-AA0B0C4D0A87}" type="presParOf" srcId="{340A2477-9DF5-4936-8A2B-859DC8A85CF2}" destId="{33C2041B-F488-4A3F-B2B1-C20A757EB0EE}" srcOrd="10" destOrd="0" presId="urn:microsoft.com/office/officeart/2005/8/layout/gear1"/>
    <dgm:cxn modelId="{0F0C8298-1DF7-4C2E-97C2-620731F3140C}" type="presParOf" srcId="{340A2477-9DF5-4936-8A2B-859DC8A85CF2}" destId="{671E5A40-7A17-4C8E-A734-A0BA722D6CB8}" srcOrd="11" destOrd="0" presId="urn:microsoft.com/office/officeart/2005/8/layout/gear1"/>
    <dgm:cxn modelId="{78B61C24-47E1-4C57-A116-88FA5C819B74}" type="presParOf" srcId="{340A2477-9DF5-4936-8A2B-859DC8A85CF2}" destId="{4A0148B6-72A4-4C97-94D6-FB03CD1B054C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5041F33-8EFD-4B65-9E04-F515F6115455}" type="doc">
      <dgm:prSet loTypeId="urn:microsoft.com/office/officeart/2008/layout/VerticalCurvedList" loCatId="list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21D34E97-F351-4688-B335-C9B515B96550}">
      <dgm:prSet phldrT="[Text]" custT="1"/>
      <dgm:spPr/>
      <dgm:t>
        <a:bodyPr/>
        <a:lstStyle/>
        <a:p>
          <a:pPr>
            <a:buClrTx/>
            <a:buSzTx/>
            <a:buFont typeface="Wingdings" panose="05000000000000000000" pitchFamily="2" charset="2"/>
            <a:buChar char="§"/>
          </a:pPr>
          <a:r>
            <a:rPr kumimoji="0" lang="en-US" sz="2000" i="0" u="none" strike="noStrike" cap="none" spc="0" normalizeH="0" baseline="0" noProof="0" dirty="0">
              <a:ln/>
              <a:effectLst/>
              <a:uLnTx/>
              <a:uFillTx/>
              <a:latin typeface="Arial"/>
              <a:ea typeface="+mn-ea"/>
              <a:cs typeface="+mn-cs"/>
            </a:rPr>
            <a:t>Traceable line: QTPP → CQAs → CPPs → Design Space</a:t>
          </a:r>
          <a:endParaRPr lang="en-GB" sz="2000" dirty="0"/>
        </a:p>
      </dgm:t>
    </dgm:pt>
    <dgm:pt modelId="{408A45C5-0B21-484A-B4D7-09F3DAAC2F37}" type="parTrans" cxnId="{847F0536-E0EB-4B6D-BA33-B59AB3643C82}">
      <dgm:prSet/>
      <dgm:spPr/>
      <dgm:t>
        <a:bodyPr/>
        <a:lstStyle/>
        <a:p>
          <a:endParaRPr lang="en-GB" sz="2000"/>
        </a:p>
      </dgm:t>
    </dgm:pt>
    <dgm:pt modelId="{E5047652-8883-4DF9-886D-905A83DDD3FC}" type="sibTrans" cxnId="{847F0536-E0EB-4B6D-BA33-B59AB3643C82}">
      <dgm:prSet/>
      <dgm:spPr/>
      <dgm:t>
        <a:bodyPr/>
        <a:lstStyle/>
        <a:p>
          <a:endParaRPr lang="en-GB" sz="2000"/>
        </a:p>
      </dgm:t>
    </dgm:pt>
    <dgm:pt modelId="{BE4F93D4-73CC-4F16-85C8-83903836A942}">
      <dgm:prSet phldrT="[Text]" custT="1"/>
      <dgm:spPr/>
      <dgm:t>
        <a:bodyPr/>
        <a:lstStyle/>
        <a:p>
          <a:pPr>
            <a:buClrTx/>
            <a:buSzTx/>
            <a:buFont typeface="Wingdings" panose="05000000000000000000" pitchFamily="2" charset="2"/>
            <a:buChar char="§"/>
          </a:pPr>
          <a:r>
            <a:rPr kumimoji="0" lang="en-US" sz="2000" i="0" u="none" strike="noStrike" cap="none" spc="0" normalizeH="0" baseline="0" noProof="0">
              <a:ln/>
              <a:effectLst/>
              <a:uLnTx/>
              <a:uFillTx/>
              <a:latin typeface="Arial"/>
              <a:ea typeface="+mn-ea"/>
              <a:cs typeface="+mn-cs"/>
            </a:rPr>
            <a:t>Living model registry with versions, data, and uncertainty bounds</a:t>
          </a:r>
          <a:endParaRPr lang="en-GB" sz="2000" dirty="0"/>
        </a:p>
      </dgm:t>
    </dgm:pt>
    <dgm:pt modelId="{2EB50A35-9292-4692-94AA-9DF738A19BFF}" type="parTrans" cxnId="{8E4BEBE4-C73C-4A56-8A07-196BDF0DA8DB}">
      <dgm:prSet/>
      <dgm:spPr/>
      <dgm:t>
        <a:bodyPr/>
        <a:lstStyle/>
        <a:p>
          <a:endParaRPr lang="en-GB" sz="2000"/>
        </a:p>
      </dgm:t>
    </dgm:pt>
    <dgm:pt modelId="{8FF9AC81-1583-415E-ADBC-95EDD9128A58}" type="sibTrans" cxnId="{8E4BEBE4-C73C-4A56-8A07-196BDF0DA8DB}">
      <dgm:prSet/>
      <dgm:spPr/>
      <dgm:t>
        <a:bodyPr/>
        <a:lstStyle/>
        <a:p>
          <a:endParaRPr lang="en-GB" sz="2000"/>
        </a:p>
      </dgm:t>
    </dgm:pt>
    <dgm:pt modelId="{F9979240-5D81-40D1-9783-B91552D2DBCD}">
      <dgm:prSet phldrT="[Text]" custT="1"/>
      <dgm:spPr/>
      <dgm:t>
        <a:bodyPr/>
        <a:lstStyle/>
        <a:p>
          <a:pPr>
            <a:buClrTx/>
            <a:buSzTx/>
            <a:buFont typeface="Wingdings" panose="05000000000000000000" pitchFamily="2" charset="2"/>
            <a:buChar char="§"/>
          </a:pPr>
          <a:r>
            <a:rPr kumimoji="0" lang="en-US" sz="2000" i="0" u="none" strike="noStrike" cap="none" spc="0" normalizeH="0" baseline="0" noProof="0">
              <a:ln/>
              <a:effectLst/>
              <a:uLnTx/>
              <a:uFillTx/>
              <a:latin typeface="Arial"/>
              <a:ea typeface="+mn-ea"/>
              <a:cs typeface="+mn-cs"/>
            </a:rPr>
            <a:t>Operational twins where it counts; shadow-assisted decisions elsewhere</a:t>
          </a:r>
          <a:endParaRPr lang="en-GB" sz="2000" dirty="0"/>
        </a:p>
      </dgm:t>
    </dgm:pt>
    <dgm:pt modelId="{43425B12-C57F-493E-9382-76679239F3E2}" type="parTrans" cxnId="{60E4E14B-4508-44E4-B010-89B3B3E6D4E2}">
      <dgm:prSet/>
      <dgm:spPr/>
      <dgm:t>
        <a:bodyPr/>
        <a:lstStyle/>
        <a:p>
          <a:endParaRPr lang="en-GB" sz="2000"/>
        </a:p>
      </dgm:t>
    </dgm:pt>
    <dgm:pt modelId="{8E6D163A-F25E-4F34-9B79-96810ECFCF15}" type="sibTrans" cxnId="{60E4E14B-4508-44E4-B010-89B3B3E6D4E2}">
      <dgm:prSet/>
      <dgm:spPr/>
      <dgm:t>
        <a:bodyPr/>
        <a:lstStyle/>
        <a:p>
          <a:endParaRPr lang="en-GB" sz="2000"/>
        </a:p>
      </dgm:t>
    </dgm:pt>
    <dgm:pt modelId="{963838EB-76E7-4231-9C08-EF0C6237358C}">
      <dgm:prSet phldrT="[Text]" custT="1"/>
      <dgm:spPr/>
      <dgm:t>
        <a:bodyPr/>
        <a:lstStyle/>
        <a:p>
          <a:pPr>
            <a:buClrTx/>
            <a:buSzTx/>
            <a:buFont typeface="Wingdings" panose="05000000000000000000" pitchFamily="2" charset="2"/>
            <a:buChar char="§"/>
          </a:pPr>
          <a:r>
            <a:rPr kumimoji="0" lang="en-US" sz="2000" i="0" u="none" strike="noStrike" cap="none" spc="0" normalizeH="0" baseline="0" noProof="0" dirty="0">
              <a:ln/>
              <a:effectLst/>
              <a:uLnTx/>
              <a:uFillTx/>
              <a:latin typeface="Arial"/>
              <a:ea typeface="+mn-ea"/>
              <a:cs typeface="+mn-cs"/>
            </a:rPr>
            <a:t>First-class data engineering: alignment, drift, simple visuals</a:t>
          </a:r>
          <a:endParaRPr lang="en-GB" sz="2000" dirty="0"/>
        </a:p>
      </dgm:t>
    </dgm:pt>
    <dgm:pt modelId="{2C48E425-B540-49BD-9648-E75451BE65E2}" type="parTrans" cxnId="{28B685A3-E4EA-4070-9389-390623A29C68}">
      <dgm:prSet/>
      <dgm:spPr/>
      <dgm:t>
        <a:bodyPr/>
        <a:lstStyle/>
        <a:p>
          <a:endParaRPr lang="en-GB" sz="2000"/>
        </a:p>
      </dgm:t>
    </dgm:pt>
    <dgm:pt modelId="{F73419FA-108F-4807-9CB9-403C6A895324}" type="sibTrans" cxnId="{28B685A3-E4EA-4070-9389-390623A29C68}">
      <dgm:prSet/>
      <dgm:spPr/>
      <dgm:t>
        <a:bodyPr/>
        <a:lstStyle/>
        <a:p>
          <a:endParaRPr lang="en-GB" sz="2000"/>
        </a:p>
      </dgm:t>
    </dgm:pt>
    <dgm:pt modelId="{A773D88F-167F-49C3-8707-49CD13FFC0F9}">
      <dgm:prSet phldrT="[Text]" custT="1"/>
      <dgm:spPr/>
      <dgm:t>
        <a:bodyPr/>
        <a:lstStyle/>
        <a:p>
          <a:pPr>
            <a:buClrTx/>
            <a:buSzTx/>
            <a:buFont typeface="Wingdings" panose="05000000000000000000" pitchFamily="2" charset="2"/>
            <a:buChar char="§"/>
          </a:pPr>
          <a:r>
            <a:rPr kumimoji="0" lang="en-US" sz="2000" i="0" u="none" strike="noStrike" cap="none" spc="0" normalizeH="0" baseline="0" noProof="0">
              <a:ln/>
              <a:effectLst/>
              <a:uLnTx/>
              <a:uFillTx/>
              <a:latin typeface="Arial"/>
              <a:ea typeface="+mn-ea"/>
              <a:cs typeface="+mn-cs"/>
            </a:rPr>
            <a:t>Human-in-the-loop excellence (Industry 5.0 mindset)</a:t>
          </a:r>
          <a:endParaRPr lang="en-GB" sz="2000" dirty="0"/>
        </a:p>
      </dgm:t>
    </dgm:pt>
    <dgm:pt modelId="{FCFB2EA6-402E-440B-87AA-E31756970C91}" type="parTrans" cxnId="{C1268AD5-88B4-4465-B776-9E80BC77670D}">
      <dgm:prSet/>
      <dgm:spPr/>
      <dgm:t>
        <a:bodyPr/>
        <a:lstStyle/>
        <a:p>
          <a:endParaRPr lang="en-GB" sz="2000"/>
        </a:p>
      </dgm:t>
    </dgm:pt>
    <dgm:pt modelId="{82ADDA63-FBBA-4EE7-8E69-46FE20D035CC}" type="sibTrans" cxnId="{C1268AD5-88B4-4465-B776-9E80BC77670D}">
      <dgm:prSet/>
      <dgm:spPr/>
      <dgm:t>
        <a:bodyPr/>
        <a:lstStyle/>
        <a:p>
          <a:endParaRPr lang="en-GB" sz="2000"/>
        </a:p>
      </dgm:t>
    </dgm:pt>
    <dgm:pt modelId="{ECD2A9A2-DDD1-4DB0-9A8F-43FE9ED6D4E6}" type="pres">
      <dgm:prSet presAssocID="{E5041F33-8EFD-4B65-9E04-F515F6115455}" presName="Name0" presStyleCnt="0">
        <dgm:presLayoutVars>
          <dgm:chMax val="7"/>
          <dgm:chPref val="7"/>
          <dgm:dir/>
        </dgm:presLayoutVars>
      </dgm:prSet>
      <dgm:spPr/>
    </dgm:pt>
    <dgm:pt modelId="{698C1FBC-1680-4EF5-B378-E6195502593E}" type="pres">
      <dgm:prSet presAssocID="{E5041F33-8EFD-4B65-9E04-F515F6115455}" presName="Name1" presStyleCnt="0"/>
      <dgm:spPr/>
    </dgm:pt>
    <dgm:pt modelId="{2F34ABB3-7130-45BC-B78F-7002958C9C26}" type="pres">
      <dgm:prSet presAssocID="{E5041F33-8EFD-4B65-9E04-F515F6115455}" presName="cycle" presStyleCnt="0"/>
      <dgm:spPr/>
    </dgm:pt>
    <dgm:pt modelId="{D55BEDF8-483B-4FFF-A1F8-CF53E0CE9B1A}" type="pres">
      <dgm:prSet presAssocID="{E5041F33-8EFD-4B65-9E04-F515F6115455}" presName="srcNode" presStyleLbl="node1" presStyleIdx="0" presStyleCnt="5"/>
      <dgm:spPr/>
    </dgm:pt>
    <dgm:pt modelId="{91AE2D78-E5D1-4928-A51D-81CCCB87704A}" type="pres">
      <dgm:prSet presAssocID="{E5041F33-8EFD-4B65-9E04-F515F6115455}" presName="conn" presStyleLbl="parChTrans1D2" presStyleIdx="0" presStyleCnt="1"/>
      <dgm:spPr/>
    </dgm:pt>
    <dgm:pt modelId="{B566AED9-44AE-4AF1-8116-3BD09C2DFD31}" type="pres">
      <dgm:prSet presAssocID="{E5041F33-8EFD-4B65-9E04-F515F6115455}" presName="extraNode" presStyleLbl="node1" presStyleIdx="0" presStyleCnt="5"/>
      <dgm:spPr/>
    </dgm:pt>
    <dgm:pt modelId="{772A790A-E73C-4E2D-8586-F5B119BA8B14}" type="pres">
      <dgm:prSet presAssocID="{E5041F33-8EFD-4B65-9E04-F515F6115455}" presName="dstNode" presStyleLbl="node1" presStyleIdx="0" presStyleCnt="5"/>
      <dgm:spPr/>
    </dgm:pt>
    <dgm:pt modelId="{CE2351AC-C1BA-44D2-860F-9DC1FED499A1}" type="pres">
      <dgm:prSet presAssocID="{21D34E97-F351-4688-B335-C9B515B96550}" presName="text_1" presStyleLbl="node1" presStyleIdx="0" presStyleCnt="5">
        <dgm:presLayoutVars>
          <dgm:bulletEnabled val="1"/>
        </dgm:presLayoutVars>
      </dgm:prSet>
      <dgm:spPr/>
    </dgm:pt>
    <dgm:pt modelId="{790B222E-9440-4A28-A80E-174A38F8AD99}" type="pres">
      <dgm:prSet presAssocID="{21D34E97-F351-4688-B335-C9B515B96550}" presName="accent_1" presStyleCnt="0"/>
      <dgm:spPr/>
    </dgm:pt>
    <dgm:pt modelId="{1BDA0BAD-DD07-4061-8E5D-009B77DC1BF8}" type="pres">
      <dgm:prSet presAssocID="{21D34E97-F351-4688-B335-C9B515B96550}" presName="accentRepeatNode" presStyleLbl="solidFgAcc1" presStyleIdx="0" presStyleCnt="5"/>
      <dgm:spPr/>
    </dgm:pt>
    <dgm:pt modelId="{F674087C-1A6F-46C3-8580-CC0F7FF83142}" type="pres">
      <dgm:prSet presAssocID="{BE4F93D4-73CC-4F16-85C8-83903836A942}" presName="text_2" presStyleLbl="node1" presStyleIdx="1" presStyleCnt="5">
        <dgm:presLayoutVars>
          <dgm:bulletEnabled val="1"/>
        </dgm:presLayoutVars>
      </dgm:prSet>
      <dgm:spPr/>
    </dgm:pt>
    <dgm:pt modelId="{763FD91A-2BF6-4BD8-BA26-4A89AB8C5BE3}" type="pres">
      <dgm:prSet presAssocID="{BE4F93D4-73CC-4F16-85C8-83903836A942}" presName="accent_2" presStyleCnt="0"/>
      <dgm:spPr/>
    </dgm:pt>
    <dgm:pt modelId="{9E9D7AD6-0091-49C8-9D9B-1FDFD5D2DCC5}" type="pres">
      <dgm:prSet presAssocID="{BE4F93D4-73CC-4F16-85C8-83903836A942}" presName="accentRepeatNode" presStyleLbl="solidFgAcc1" presStyleIdx="1" presStyleCnt="5"/>
      <dgm:spPr/>
    </dgm:pt>
    <dgm:pt modelId="{47D50BA4-363C-485B-AF20-523BB25A54FA}" type="pres">
      <dgm:prSet presAssocID="{F9979240-5D81-40D1-9783-B91552D2DBCD}" presName="text_3" presStyleLbl="node1" presStyleIdx="2" presStyleCnt="5">
        <dgm:presLayoutVars>
          <dgm:bulletEnabled val="1"/>
        </dgm:presLayoutVars>
      </dgm:prSet>
      <dgm:spPr/>
    </dgm:pt>
    <dgm:pt modelId="{6604063C-EF9E-4740-AE9D-22ED4D4D40D3}" type="pres">
      <dgm:prSet presAssocID="{F9979240-5D81-40D1-9783-B91552D2DBCD}" presName="accent_3" presStyleCnt="0"/>
      <dgm:spPr/>
    </dgm:pt>
    <dgm:pt modelId="{DFD087B1-64D7-40CB-B43D-1D0E8F434EE9}" type="pres">
      <dgm:prSet presAssocID="{F9979240-5D81-40D1-9783-B91552D2DBCD}" presName="accentRepeatNode" presStyleLbl="solidFgAcc1" presStyleIdx="2" presStyleCnt="5"/>
      <dgm:spPr/>
    </dgm:pt>
    <dgm:pt modelId="{781B6ADA-BEAD-4F21-B785-4A47AA2BB509}" type="pres">
      <dgm:prSet presAssocID="{963838EB-76E7-4231-9C08-EF0C6237358C}" presName="text_4" presStyleLbl="node1" presStyleIdx="3" presStyleCnt="5">
        <dgm:presLayoutVars>
          <dgm:bulletEnabled val="1"/>
        </dgm:presLayoutVars>
      </dgm:prSet>
      <dgm:spPr/>
    </dgm:pt>
    <dgm:pt modelId="{449FBA59-1A05-4180-9AB2-3A1D6CC700B8}" type="pres">
      <dgm:prSet presAssocID="{963838EB-76E7-4231-9C08-EF0C6237358C}" presName="accent_4" presStyleCnt="0"/>
      <dgm:spPr/>
    </dgm:pt>
    <dgm:pt modelId="{6792BCC3-C939-4C3D-A700-3A36C5692CF0}" type="pres">
      <dgm:prSet presAssocID="{963838EB-76E7-4231-9C08-EF0C6237358C}" presName="accentRepeatNode" presStyleLbl="solidFgAcc1" presStyleIdx="3" presStyleCnt="5"/>
      <dgm:spPr/>
    </dgm:pt>
    <dgm:pt modelId="{1575DC87-BBB8-4F2D-8D24-513DA086561D}" type="pres">
      <dgm:prSet presAssocID="{A773D88F-167F-49C3-8707-49CD13FFC0F9}" presName="text_5" presStyleLbl="node1" presStyleIdx="4" presStyleCnt="5">
        <dgm:presLayoutVars>
          <dgm:bulletEnabled val="1"/>
        </dgm:presLayoutVars>
      </dgm:prSet>
      <dgm:spPr/>
    </dgm:pt>
    <dgm:pt modelId="{860936AD-CD21-42AB-B2AE-1336957D6CA6}" type="pres">
      <dgm:prSet presAssocID="{A773D88F-167F-49C3-8707-49CD13FFC0F9}" presName="accent_5" presStyleCnt="0"/>
      <dgm:spPr/>
    </dgm:pt>
    <dgm:pt modelId="{E2EB899E-606B-411A-95CF-BC4B0C38FB21}" type="pres">
      <dgm:prSet presAssocID="{A773D88F-167F-49C3-8707-49CD13FFC0F9}" presName="accentRepeatNode" presStyleLbl="solidFgAcc1" presStyleIdx="4" presStyleCnt="5"/>
      <dgm:spPr/>
    </dgm:pt>
  </dgm:ptLst>
  <dgm:cxnLst>
    <dgm:cxn modelId="{937AFC0A-A0D3-4501-BFEE-A6AD589916C3}" type="presOf" srcId="{963838EB-76E7-4231-9C08-EF0C6237358C}" destId="{781B6ADA-BEAD-4F21-B785-4A47AA2BB509}" srcOrd="0" destOrd="0" presId="urn:microsoft.com/office/officeart/2008/layout/VerticalCurvedList"/>
    <dgm:cxn modelId="{1797D210-FB7D-40C2-80FB-8F8B9A5C5568}" type="presOf" srcId="{BE4F93D4-73CC-4F16-85C8-83903836A942}" destId="{F674087C-1A6F-46C3-8580-CC0F7FF83142}" srcOrd="0" destOrd="0" presId="urn:microsoft.com/office/officeart/2008/layout/VerticalCurvedList"/>
    <dgm:cxn modelId="{847F0536-E0EB-4B6D-BA33-B59AB3643C82}" srcId="{E5041F33-8EFD-4B65-9E04-F515F6115455}" destId="{21D34E97-F351-4688-B335-C9B515B96550}" srcOrd="0" destOrd="0" parTransId="{408A45C5-0B21-484A-B4D7-09F3DAAC2F37}" sibTransId="{E5047652-8883-4DF9-886D-905A83DDD3FC}"/>
    <dgm:cxn modelId="{60E4E14B-4508-44E4-B010-89B3B3E6D4E2}" srcId="{E5041F33-8EFD-4B65-9E04-F515F6115455}" destId="{F9979240-5D81-40D1-9783-B91552D2DBCD}" srcOrd="2" destOrd="0" parTransId="{43425B12-C57F-493E-9382-76679239F3E2}" sibTransId="{8E6D163A-F25E-4F34-9B79-96810ECFCF15}"/>
    <dgm:cxn modelId="{10A0777A-2CD5-443E-86C5-E11EFF75D437}" type="presOf" srcId="{F9979240-5D81-40D1-9783-B91552D2DBCD}" destId="{47D50BA4-363C-485B-AF20-523BB25A54FA}" srcOrd="0" destOrd="0" presId="urn:microsoft.com/office/officeart/2008/layout/VerticalCurvedList"/>
    <dgm:cxn modelId="{4FA6D991-CE7C-42C1-98CD-0880EF573F39}" type="presOf" srcId="{E5041F33-8EFD-4B65-9E04-F515F6115455}" destId="{ECD2A9A2-DDD1-4DB0-9A8F-43FE9ED6D4E6}" srcOrd="0" destOrd="0" presId="urn:microsoft.com/office/officeart/2008/layout/VerticalCurvedList"/>
    <dgm:cxn modelId="{28B685A3-E4EA-4070-9389-390623A29C68}" srcId="{E5041F33-8EFD-4B65-9E04-F515F6115455}" destId="{963838EB-76E7-4231-9C08-EF0C6237358C}" srcOrd="3" destOrd="0" parTransId="{2C48E425-B540-49BD-9648-E75451BE65E2}" sibTransId="{F73419FA-108F-4807-9CB9-403C6A895324}"/>
    <dgm:cxn modelId="{2CF92DB3-BEF3-40B0-AD7A-31B334344CEE}" type="presOf" srcId="{E5047652-8883-4DF9-886D-905A83DDD3FC}" destId="{91AE2D78-E5D1-4928-A51D-81CCCB87704A}" srcOrd="0" destOrd="0" presId="urn:microsoft.com/office/officeart/2008/layout/VerticalCurvedList"/>
    <dgm:cxn modelId="{C1268AD5-88B4-4465-B776-9E80BC77670D}" srcId="{E5041F33-8EFD-4B65-9E04-F515F6115455}" destId="{A773D88F-167F-49C3-8707-49CD13FFC0F9}" srcOrd="4" destOrd="0" parTransId="{FCFB2EA6-402E-440B-87AA-E31756970C91}" sibTransId="{82ADDA63-FBBA-4EE7-8E69-46FE20D035CC}"/>
    <dgm:cxn modelId="{6EFB07DE-8981-41C8-90E7-A40CC8E46461}" type="presOf" srcId="{A773D88F-167F-49C3-8707-49CD13FFC0F9}" destId="{1575DC87-BBB8-4F2D-8D24-513DA086561D}" srcOrd="0" destOrd="0" presId="urn:microsoft.com/office/officeart/2008/layout/VerticalCurvedList"/>
    <dgm:cxn modelId="{FEE71FE4-829F-4D6E-98CD-5D776193EAAA}" type="presOf" srcId="{21D34E97-F351-4688-B335-C9B515B96550}" destId="{CE2351AC-C1BA-44D2-860F-9DC1FED499A1}" srcOrd="0" destOrd="0" presId="urn:microsoft.com/office/officeart/2008/layout/VerticalCurvedList"/>
    <dgm:cxn modelId="{8E4BEBE4-C73C-4A56-8A07-196BDF0DA8DB}" srcId="{E5041F33-8EFD-4B65-9E04-F515F6115455}" destId="{BE4F93D4-73CC-4F16-85C8-83903836A942}" srcOrd="1" destOrd="0" parTransId="{2EB50A35-9292-4692-94AA-9DF738A19BFF}" sibTransId="{8FF9AC81-1583-415E-ADBC-95EDD9128A58}"/>
    <dgm:cxn modelId="{B6111F5B-7A17-4000-B140-7CAE0890ED13}" type="presParOf" srcId="{ECD2A9A2-DDD1-4DB0-9A8F-43FE9ED6D4E6}" destId="{698C1FBC-1680-4EF5-B378-E6195502593E}" srcOrd="0" destOrd="0" presId="urn:microsoft.com/office/officeart/2008/layout/VerticalCurvedList"/>
    <dgm:cxn modelId="{D326A03E-A13C-45EF-A97B-A3C4A18B10DD}" type="presParOf" srcId="{698C1FBC-1680-4EF5-B378-E6195502593E}" destId="{2F34ABB3-7130-45BC-B78F-7002958C9C26}" srcOrd="0" destOrd="0" presId="urn:microsoft.com/office/officeart/2008/layout/VerticalCurvedList"/>
    <dgm:cxn modelId="{F3ADD80B-539C-43ED-BABB-5D6B4ED09235}" type="presParOf" srcId="{2F34ABB3-7130-45BC-B78F-7002958C9C26}" destId="{D55BEDF8-483B-4FFF-A1F8-CF53E0CE9B1A}" srcOrd="0" destOrd="0" presId="urn:microsoft.com/office/officeart/2008/layout/VerticalCurvedList"/>
    <dgm:cxn modelId="{41F48CE9-39D0-47FA-91FD-01DD472A1011}" type="presParOf" srcId="{2F34ABB3-7130-45BC-B78F-7002958C9C26}" destId="{91AE2D78-E5D1-4928-A51D-81CCCB87704A}" srcOrd="1" destOrd="0" presId="urn:microsoft.com/office/officeart/2008/layout/VerticalCurvedList"/>
    <dgm:cxn modelId="{24D0534B-00E6-459F-9900-827976C763D7}" type="presParOf" srcId="{2F34ABB3-7130-45BC-B78F-7002958C9C26}" destId="{B566AED9-44AE-4AF1-8116-3BD09C2DFD31}" srcOrd="2" destOrd="0" presId="urn:microsoft.com/office/officeart/2008/layout/VerticalCurvedList"/>
    <dgm:cxn modelId="{18CDA6C7-F96F-43FE-B491-2403EF984903}" type="presParOf" srcId="{2F34ABB3-7130-45BC-B78F-7002958C9C26}" destId="{772A790A-E73C-4E2D-8586-F5B119BA8B14}" srcOrd="3" destOrd="0" presId="urn:microsoft.com/office/officeart/2008/layout/VerticalCurvedList"/>
    <dgm:cxn modelId="{9A2E2E80-2E47-403A-A590-4759A22DE868}" type="presParOf" srcId="{698C1FBC-1680-4EF5-B378-E6195502593E}" destId="{CE2351AC-C1BA-44D2-860F-9DC1FED499A1}" srcOrd="1" destOrd="0" presId="urn:microsoft.com/office/officeart/2008/layout/VerticalCurvedList"/>
    <dgm:cxn modelId="{1BFD4BF2-F024-474D-A69A-89365F292829}" type="presParOf" srcId="{698C1FBC-1680-4EF5-B378-E6195502593E}" destId="{790B222E-9440-4A28-A80E-174A38F8AD99}" srcOrd="2" destOrd="0" presId="urn:microsoft.com/office/officeart/2008/layout/VerticalCurvedList"/>
    <dgm:cxn modelId="{E891B60B-BBD6-4D7E-BE74-7E1505DDC0EB}" type="presParOf" srcId="{790B222E-9440-4A28-A80E-174A38F8AD99}" destId="{1BDA0BAD-DD07-4061-8E5D-009B77DC1BF8}" srcOrd="0" destOrd="0" presId="urn:microsoft.com/office/officeart/2008/layout/VerticalCurvedList"/>
    <dgm:cxn modelId="{BA5F1C81-20E4-4A9B-AE7E-E1BACC3F67D3}" type="presParOf" srcId="{698C1FBC-1680-4EF5-B378-E6195502593E}" destId="{F674087C-1A6F-46C3-8580-CC0F7FF83142}" srcOrd="3" destOrd="0" presId="urn:microsoft.com/office/officeart/2008/layout/VerticalCurvedList"/>
    <dgm:cxn modelId="{3D1EDBFD-D40B-45EC-9562-F6C33108603D}" type="presParOf" srcId="{698C1FBC-1680-4EF5-B378-E6195502593E}" destId="{763FD91A-2BF6-4BD8-BA26-4A89AB8C5BE3}" srcOrd="4" destOrd="0" presId="urn:microsoft.com/office/officeart/2008/layout/VerticalCurvedList"/>
    <dgm:cxn modelId="{DEBF3960-7ADC-4326-85A0-484B55C58926}" type="presParOf" srcId="{763FD91A-2BF6-4BD8-BA26-4A89AB8C5BE3}" destId="{9E9D7AD6-0091-49C8-9D9B-1FDFD5D2DCC5}" srcOrd="0" destOrd="0" presId="urn:microsoft.com/office/officeart/2008/layout/VerticalCurvedList"/>
    <dgm:cxn modelId="{BA9A056D-8280-4FF4-AED6-40D55F3ED8C1}" type="presParOf" srcId="{698C1FBC-1680-4EF5-B378-E6195502593E}" destId="{47D50BA4-363C-485B-AF20-523BB25A54FA}" srcOrd="5" destOrd="0" presId="urn:microsoft.com/office/officeart/2008/layout/VerticalCurvedList"/>
    <dgm:cxn modelId="{17ED47C4-75B4-4CB3-98ED-86C879035D67}" type="presParOf" srcId="{698C1FBC-1680-4EF5-B378-E6195502593E}" destId="{6604063C-EF9E-4740-AE9D-22ED4D4D40D3}" srcOrd="6" destOrd="0" presId="urn:microsoft.com/office/officeart/2008/layout/VerticalCurvedList"/>
    <dgm:cxn modelId="{2B1E06A2-1B51-4394-9FC7-E6BF70AF79DD}" type="presParOf" srcId="{6604063C-EF9E-4740-AE9D-22ED4D4D40D3}" destId="{DFD087B1-64D7-40CB-B43D-1D0E8F434EE9}" srcOrd="0" destOrd="0" presId="urn:microsoft.com/office/officeart/2008/layout/VerticalCurvedList"/>
    <dgm:cxn modelId="{794E52AC-8C19-4C34-B034-9F79765BC6EF}" type="presParOf" srcId="{698C1FBC-1680-4EF5-B378-E6195502593E}" destId="{781B6ADA-BEAD-4F21-B785-4A47AA2BB509}" srcOrd="7" destOrd="0" presId="urn:microsoft.com/office/officeart/2008/layout/VerticalCurvedList"/>
    <dgm:cxn modelId="{6B98AE28-B959-4C76-BDA5-7237E6A1617D}" type="presParOf" srcId="{698C1FBC-1680-4EF5-B378-E6195502593E}" destId="{449FBA59-1A05-4180-9AB2-3A1D6CC700B8}" srcOrd="8" destOrd="0" presId="urn:microsoft.com/office/officeart/2008/layout/VerticalCurvedList"/>
    <dgm:cxn modelId="{90E2F372-8F86-4307-90DF-E34BAFEC629F}" type="presParOf" srcId="{449FBA59-1A05-4180-9AB2-3A1D6CC700B8}" destId="{6792BCC3-C939-4C3D-A700-3A36C5692CF0}" srcOrd="0" destOrd="0" presId="urn:microsoft.com/office/officeart/2008/layout/VerticalCurvedList"/>
    <dgm:cxn modelId="{24BFCC03-4209-40E8-BDE7-A187C4ED6947}" type="presParOf" srcId="{698C1FBC-1680-4EF5-B378-E6195502593E}" destId="{1575DC87-BBB8-4F2D-8D24-513DA086561D}" srcOrd="9" destOrd="0" presId="urn:microsoft.com/office/officeart/2008/layout/VerticalCurvedList"/>
    <dgm:cxn modelId="{A8A7929B-FEF1-4670-B1E4-32CE890DFE5B}" type="presParOf" srcId="{698C1FBC-1680-4EF5-B378-E6195502593E}" destId="{860936AD-CD21-42AB-B2AE-1336957D6CA6}" srcOrd="10" destOrd="0" presId="urn:microsoft.com/office/officeart/2008/layout/VerticalCurvedList"/>
    <dgm:cxn modelId="{0381FD02-3A9A-4DE2-BBB2-BBC6A2659D2F}" type="presParOf" srcId="{860936AD-CD21-42AB-B2AE-1336957D6CA6}" destId="{E2EB899E-606B-411A-95CF-BC4B0C38FB21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CCEA2E3F-C02A-4536-9832-87AFFE76F533}" type="doc">
      <dgm:prSet loTypeId="urn:microsoft.com/office/officeart/2005/8/layout/default" loCatId="list" qsTypeId="urn:microsoft.com/office/officeart/2005/8/quickstyle/3d2" qsCatId="3D" csTypeId="urn:microsoft.com/office/officeart/2005/8/colors/accent1_4" csCatId="accent1" phldr="1"/>
      <dgm:spPr/>
      <dgm:t>
        <a:bodyPr/>
        <a:lstStyle/>
        <a:p>
          <a:endParaRPr lang="en-GB"/>
        </a:p>
      </dgm:t>
    </dgm:pt>
    <dgm:pt modelId="{E542D6FE-9352-4CDE-9843-09C1388D0B62}">
      <dgm:prSet phldrT="[Text]" custT="1"/>
      <dgm:spPr/>
      <dgm:t>
        <a:bodyPr/>
        <a:lstStyle/>
        <a:p>
          <a:pPr>
            <a:buNone/>
          </a:pPr>
          <a:r>
            <a:rPr lang="en-GB" sz="2000" b="1" dirty="0">
              <a:latin typeface="+mn-lt"/>
            </a:rPr>
            <a:t>Model error → bad decisions</a:t>
          </a:r>
          <a:endParaRPr lang="en-GB" sz="2000" dirty="0">
            <a:latin typeface="+mn-lt"/>
          </a:endParaRPr>
        </a:p>
      </dgm:t>
    </dgm:pt>
    <dgm:pt modelId="{E094DC94-2FCF-44E8-9E7D-415A847049BE}" type="parTrans" cxnId="{8C49ABDA-0203-4BE0-A12B-EC65BDF82A04}">
      <dgm:prSet/>
      <dgm:spPr/>
      <dgm:t>
        <a:bodyPr/>
        <a:lstStyle/>
        <a:p>
          <a:endParaRPr lang="en-GB" sz="2000">
            <a:latin typeface="+mn-lt"/>
          </a:endParaRPr>
        </a:p>
      </dgm:t>
    </dgm:pt>
    <dgm:pt modelId="{741C583D-2AAF-43C0-8508-726389D228AA}" type="sibTrans" cxnId="{8C49ABDA-0203-4BE0-A12B-EC65BDF82A04}">
      <dgm:prSet/>
      <dgm:spPr/>
      <dgm:t>
        <a:bodyPr/>
        <a:lstStyle/>
        <a:p>
          <a:endParaRPr lang="en-GB" sz="2000">
            <a:latin typeface="+mn-lt"/>
          </a:endParaRPr>
        </a:p>
      </dgm:t>
    </dgm:pt>
    <dgm:pt modelId="{DE22993A-C79D-4B1C-A846-14F224D8EF9A}">
      <dgm:prSet phldrT="[Text]" custT="1"/>
      <dgm:spPr>
        <a:gradFill rotWithShape="0">
          <a:gsLst>
            <a:gs pos="0">
              <a:srgbClr val="E4610F">
                <a:shade val="5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rgbClr>
            </a:gs>
            <a:gs pos="50000">
              <a:srgbClr val="E4610F">
                <a:shade val="5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rgbClr>
            </a:gs>
            <a:gs pos="100000">
              <a:srgbClr val="E4610F">
                <a:shade val="5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rgb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gm:spPr>
      <dgm:t>
        <a:bodyPr spcFirstLastPara="0" vert="horz" wrap="square" lIns="72390" tIns="72390" rIns="72390" bIns="72390" numCol="1" spcCol="1270" anchor="ctr" anchorCtr="0"/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kern="1200" dirty="0">
              <a:solidFill>
                <a:srgbClr val="FFFFFF"/>
              </a:solidFill>
              <a:latin typeface="+mn-lt"/>
              <a:ea typeface="+mn-ea"/>
              <a:cs typeface="+mn-cs"/>
            </a:rPr>
            <a:t>Security / IP exposure</a:t>
          </a:r>
        </a:p>
      </dgm:t>
    </dgm:pt>
    <dgm:pt modelId="{AB932686-B977-4D1D-BB3C-9A6CBA062194}" type="parTrans" cxnId="{6A9035C8-85B2-46F5-AF4C-B56B9B0444BE}">
      <dgm:prSet/>
      <dgm:spPr/>
      <dgm:t>
        <a:bodyPr/>
        <a:lstStyle/>
        <a:p>
          <a:endParaRPr lang="en-GB" sz="2000">
            <a:latin typeface="+mn-lt"/>
          </a:endParaRPr>
        </a:p>
      </dgm:t>
    </dgm:pt>
    <dgm:pt modelId="{79C218C7-81AB-42C9-919A-6B7CB80062D3}" type="sibTrans" cxnId="{6A9035C8-85B2-46F5-AF4C-B56B9B0444BE}">
      <dgm:prSet/>
      <dgm:spPr/>
      <dgm:t>
        <a:bodyPr/>
        <a:lstStyle/>
        <a:p>
          <a:endParaRPr lang="en-GB" sz="2000">
            <a:latin typeface="+mn-lt"/>
          </a:endParaRPr>
        </a:p>
      </dgm:t>
    </dgm:pt>
    <dgm:pt modelId="{AC8DD0A6-26D2-4FAC-8B27-EAE4B70503CE}">
      <dgm:prSet phldrT="[Text]" custT="1"/>
      <dgm:spPr>
        <a:gradFill rotWithShape="0">
          <a:gsLst>
            <a:gs pos="0">
              <a:srgbClr val="E4610F">
                <a:shade val="5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rgbClr>
            </a:gs>
            <a:gs pos="50000">
              <a:srgbClr val="E4610F">
                <a:shade val="5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rgbClr>
            </a:gs>
            <a:gs pos="100000">
              <a:srgbClr val="E4610F">
                <a:shade val="5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rgb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gm:spPr>
      <dgm:t>
        <a:bodyPr spcFirstLastPara="0" vert="horz" wrap="square" lIns="72390" tIns="72390" rIns="72390" bIns="72390" numCol="1" spcCol="1270" anchor="ctr" anchorCtr="0"/>
        <a:lstStyle/>
        <a:p>
          <a:pPr>
            <a:buNone/>
          </a:pPr>
          <a:r>
            <a:rPr lang="en-GB" sz="2000" b="1" kern="1200" dirty="0">
              <a:latin typeface="+mn-lt"/>
            </a:rPr>
            <a:t>Integration fatigue (heterogeneous / legacy </a:t>
          </a:r>
          <a:r>
            <a:rPr lang="en-GB" sz="2000" b="1" kern="1200" dirty="0">
              <a:solidFill>
                <a:srgbClr val="FFFFFF"/>
              </a:solidFill>
              <a:latin typeface="+mn-lt"/>
              <a:ea typeface="+mn-ea"/>
              <a:cs typeface="+mn-cs"/>
            </a:rPr>
            <a:t>systems</a:t>
          </a:r>
          <a:r>
            <a:rPr lang="en-GB" sz="2000" b="1" kern="1200" dirty="0">
              <a:latin typeface="+mn-lt"/>
            </a:rPr>
            <a:t>)</a:t>
          </a:r>
          <a:endParaRPr lang="en-GB" sz="2000" kern="1200" dirty="0">
            <a:latin typeface="+mn-lt"/>
          </a:endParaRPr>
        </a:p>
      </dgm:t>
    </dgm:pt>
    <dgm:pt modelId="{854917F7-6AEA-4FB9-A376-2075DE66B89C}" type="parTrans" cxnId="{3033E5CA-7A83-43D3-8CB7-9D74143A3C4E}">
      <dgm:prSet/>
      <dgm:spPr/>
      <dgm:t>
        <a:bodyPr/>
        <a:lstStyle/>
        <a:p>
          <a:endParaRPr lang="en-GB" sz="2000">
            <a:latin typeface="+mn-lt"/>
          </a:endParaRPr>
        </a:p>
      </dgm:t>
    </dgm:pt>
    <dgm:pt modelId="{36FA9231-B9CE-4154-A346-1D19B6C91322}" type="sibTrans" cxnId="{3033E5CA-7A83-43D3-8CB7-9D74143A3C4E}">
      <dgm:prSet/>
      <dgm:spPr/>
      <dgm:t>
        <a:bodyPr/>
        <a:lstStyle/>
        <a:p>
          <a:endParaRPr lang="en-GB" sz="2000">
            <a:latin typeface="+mn-lt"/>
          </a:endParaRPr>
        </a:p>
      </dgm:t>
    </dgm:pt>
    <dgm:pt modelId="{7BD62024-06F1-414B-8BDA-EAB82EF7AEED}">
      <dgm:prSet phldrT="[Text]" custT="1"/>
      <dgm:spPr>
        <a:gradFill rotWithShape="0">
          <a:gsLst>
            <a:gs pos="0">
              <a:srgbClr val="E4610F">
                <a:shade val="5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rgbClr>
            </a:gs>
            <a:gs pos="50000">
              <a:srgbClr val="E4610F">
                <a:shade val="5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rgbClr>
            </a:gs>
            <a:gs pos="100000">
              <a:srgbClr val="E4610F">
                <a:shade val="5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rgb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gm:spPr>
      <dgm:t>
        <a:bodyPr spcFirstLastPara="0" vert="horz" wrap="square" lIns="72390" tIns="72390" rIns="72390" bIns="72390" numCol="1" spcCol="1270" anchor="ctr" anchorCtr="0"/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kern="1200" dirty="0">
              <a:solidFill>
                <a:srgbClr val="FFFFFF"/>
              </a:solidFill>
              <a:latin typeface="+mn-lt"/>
              <a:ea typeface="+mn-ea"/>
              <a:cs typeface="+mn-cs"/>
            </a:rPr>
            <a:t>Validation burden</a:t>
          </a:r>
        </a:p>
      </dgm:t>
    </dgm:pt>
    <dgm:pt modelId="{1B7D4D9F-4B8C-4AE8-929E-37649D1DD976}" type="parTrans" cxnId="{472BE8E0-D2B7-4011-9C02-CFA5A7991567}">
      <dgm:prSet/>
      <dgm:spPr/>
      <dgm:t>
        <a:bodyPr/>
        <a:lstStyle/>
        <a:p>
          <a:endParaRPr lang="en-GB" sz="2000">
            <a:latin typeface="+mn-lt"/>
          </a:endParaRPr>
        </a:p>
      </dgm:t>
    </dgm:pt>
    <dgm:pt modelId="{CB6D1DE7-3128-4874-8769-EA05C696536D}" type="sibTrans" cxnId="{472BE8E0-D2B7-4011-9C02-CFA5A7991567}">
      <dgm:prSet/>
      <dgm:spPr/>
      <dgm:t>
        <a:bodyPr/>
        <a:lstStyle/>
        <a:p>
          <a:endParaRPr lang="en-GB" sz="2000">
            <a:latin typeface="+mn-lt"/>
          </a:endParaRPr>
        </a:p>
      </dgm:t>
    </dgm:pt>
    <dgm:pt modelId="{12B3DB15-EF63-45AE-9510-EFA73E57560C}" type="pres">
      <dgm:prSet presAssocID="{CCEA2E3F-C02A-4536-9832-87AFFE76F533}" presName="diagram" presStyleCnt="0">
        <dgm:presLayoutVars>
          <dgm:dir/>
          <dgm:resizeHandles val="exact"/>
        </dgm:presLayoutVars>
      </dgm:prSet>
      <dgm:spPr/>
    </dgm:pt>
    <dgm:pt modelId="{E825F829-73EC-4F4C-A9E7-A201158B29D2}" type="pres">
      <dgm:prSet presAssocID="{E542D6FE-9352-4CDE-9843-09C1388D0B62}" presName="node" presStyleLbl="node1" presStyleIdx="0" presStyleCnt="4">
        <dgm:presLayoutVars>
          <dgm:bulletEnabled val="1"/>
        </dgm:presLayoutVars>
      </dgm:prSet>
      <dgm:spPr/>
    </dgm:pt>
    <dgm:pt modelId="{7BB35FD4-668C-4E95-B43F-0225B88E7660}" type="pres">
      <dgm:prSet presAssocID="{741C583D-2AAF-43C0-8508-726389D228AA}" presName="sibTrans" presStyleCnt="0"/>
      <dgm:spPr/>
    </dgm:pt>
    <dgm:pt modelId="{002CD626-CCFB-4E45-BF5A-D3DA5721A5B6}" type="pres">
      <dgm:prSet presAssocID="{DE22993A-C79D-4B1C-A846-14F224D8EF9A}" presName="node" presStyleLbl="node1" presStyleIdx="1" presStyleCnt="4">
        <dgm:presLayoutVars>
          <dgm:bulletEnabled val="1"/>
        </dgm:presLayoutVars>
      </dgm:prSet>
      <dgm:spPr>
        <a:xfrm>
          <a:off x="3079068" y="890308"/>
          <a:ext cx="2798500" cy="1679100"/>
        </a:xfrm>
        <a:prstGeom prst="rect">
          <a:avLst/>
        </a:prstGeom>
      </dgm:spPr>
    </dgm:pt>
    <dgm:pt modelId="{178773EA-FCBD-456F-911C-B5482A0C9183}" type="pres">
      <dgm:prSet presAssocID="{79C218C7-81AB-42C9-919A-6B7CB80062D3}" presName="sibTrans" presStyleCnt="0"/>
      <dgm:spPr/>
    </dgm:pt>
    <dgm:pt modelId="{A04DF33E-61AE-4241-9F11-8C80322296A7}" type="pres">
      <dgm:prSet presAssocID="{AC8DD0A6-26D2-4FAC-8B27-EAE4B70503CE}" presName="node" presStyleLbl="node1" presStyleIdx="2" presStyleCnt="4" custLinFactNeighborX="2901" custLinFactNeighborY="-729">
        <dgm:presLayoutVars>
          <dgm:bulletEnabled val="1"/>
        </dgm:presLayoutVars>
      </dgm:prSet>
      <dgm:spPr>
        <a:xfrm>
          <a:off x="717" y="2849258"/>
          <a:ext cx="2798500" cy="1679100"/>
        </a:xfrm>
        <a:prstGeom prst="rect">
          <a:avLst/>
        </a:prstGeom>
      </dgm:spPr>
    </dgm:pt>
    <dgm:pt modelId="{5EADA856-8444-4407-B891-147A84899CF9}" type="pres">
      <dgm:prSet presAssocID="{36FA9231-B9CE-4154-A346-1D19B6C91322}" presName="sibTrans" presStyleCnt="0"/>
      <dgm:spPr/>
    </dgm:pt>
    <dgm:pt modelId="{EF23A1CC-DCB8-482E-B2DB-23ABA79F991C}" type="pres">
      <dgm:prSet presAssocID="{7BD62024-06F1-414B-8BDA-EAB82EF7AEED}" presName="node" presStyleLbl="node1" presStyleIdx="3" presStyleCnt="4">
        <dgm:presLayoutVars>
          <dgm:bulletEnabled val="1"/>
        </dgm:presLayoutVars>
      </dgm:prSet>
      <dgm:spPr>
        <a:xfrm>
          <a:off x="3079068" y="2849258"/>
          <a:ext cx="2798500" cy="1679100"/>
        </a:xfrm>
        <a:prstGeom prst="rect">
          <a:avLst/>
        </a:prstGeom>
      </dgm:spPr>
    </dgm:pt>
  </dgm:ptLst>
  <dgm:cxnLst>
    <dgm:cxn modelId="{797A1E39-446F-4CB6-A903-8D179ACB9159}" type="presOf" srcId="{CCEA2E3F-C02A-4536-9832-87AFFE76F533}" destId="{12B3DB15-EF63-45AE-9510-EFA73E57560C}" srcOrd="0" destOrd="0" presId="urn:microsoft.com/office/officeart/2005/8/layout/default"/>
    <dgm:cxn modelId="{3213854E-824B-48A0-8A8E-54C379D6A353}" type="presOf" srcId="{AC8DD0A6-26D2-4FAC-8B27-EAE4B70503CE}" destId="{A04DF33E-61AE-4241-9F11-8C80322296A7}" srcOrd="0" destOrd="0" presId="urn:microsoft.com/office/officeart/2005/8/layout/default"/>
    <dgm:cxn modelId="{A8AFBC59-555B-4B03-B849-FCE925C97D73}" type="presOf" srcId="{E542D6FE-9352-4CDE-9843-09C1388D0B62}" destId="{E825F829-73EC-4F4C-A9E7-A201158B29D2}" srcOrd="0" destOrd="0" presId="urn:microsoft.com/office/officeart/2005/8/layout/default"/>
    <dgm:cxn modelId="{BBB1D3A3-CC16-4E42-956E-32894AE135CF}" type="presOf" srcId="{7BD62024-06F1-414B-8BDA-EAB82EF7AEED}" destId="{EF23A1CC-DCB8-482E-B2DB-23ABA79F991C}" srcOrd="0" destOrd="0" presId="urn:microsoft.com/office/officeart/2005/8/layout/default"/>
    <dgm:cxn modelId="{5EAED3B4-75E7-4CF9-8A9E-103C1EBADDAC}" type="presOf" srcId="{DE22993A-C79D-4B1C-A846-14F224D8EF9A}" destId="{002CD626-CCFB-4E45-BF5A-D3DA5721A5B6}" srcOrd="0" destOrd="0" presId="urn:microsoft.com/office/officeart/2005/8/layout/default"/>
    <dgm:cxn modelId="{6A9035C8-85B2-46F5-AF4C-B56B9B0444BE}" srcId="{CCEA2E3F-C02A-4536-9832-87AFFE76F533}" destId="{DE22993A-C79D-4B1C-A846-14F224D8EF9A}" srcOrd="1" destOrd="0" parTransId="{AB932686-B977-4D1D-BB3C-9A6CBA062194}" sibTransId="{79C218C7-81AB-42C9-919A-6B7CB80062D3}"/>
    <dgm:cxn modelId="{3033E5CA-7A83-43D3-8CB7-9D74143A3C4E}" srcId="{CCEA2E3F-C02A-4536-9832-87AFFE76F533}" destId="{AC8DD0A6-26D2-4FAC-8B27-EAE4B70503CE}" srcOrd="2" destOrd="0" parTransId="{854917F7-6AEA-4FB9-A376-2075DE66B89C}" sibTransId="{36FA9231-B9CE-4154-A346-1D19B6C91322}"/>
    <dgm:cxn modelId="{8C49ABDA-0203-4BE0-A12B-EC65BDF82A04}" srcId="{CCEA2E3F-C02A-4536-9832-87AFFE76F533}" destId="{E542D6FE-9352-4CDE-9843-09C1388D0B62}" srcOrd="0" destOrd="0" parTransId="{E094DC94-2FCF-44E8-9E7D-415A847049BE}" sibTransId="{741C583D-2AAF-43C0-8508-726389D228AA}"/>
    <dgm:cxn modelId="{472BE8E0-D2B7-4011-9C02-CFA5A7991567}" srcId="{CCEA2E3F-C02A-4536-9832-87AFFE76F533}" destId="{7BD62024-06F1-414B-8BDA-EAB82EF7AEED}" srcOrd="3" destOrd="0" parTransId="{1B7D4D9F-4B8C-4AE8-929E-37649D1DD976}" sibTransId="{CB6D1DE7-3128-4874-8769-EA05C696536D}"/>
    <dgm:cxn modelId="{DB228815-DF42-4336-BE20-6955A151A19C}" type="presParOf" srcId="{12B3DB15-EF63-45AE-9510-EFA73E57560C}" destId="{E825F829-73EC-4F4C-A9E7-A201158B29D2}" srcOrd="0" destOrd="0" presId="urn:microsoft.com/office/officeart/2005/8/layout/default"/>
    <dgm:cxn modelId="{CBBE22D3-D0B2-4AC5-817F-62B3E2820983}" type="presParOf" srcId="{12B3DB15-EF63-45AE-9510-EFA73E57560C}" destId="{7BB35FD4-668C-4E95-B43F-0225B88E7660}" srcOrd="1" destOrd="0" presId="urn:microsoft.com/office/officeart/2005/8/layout/default"/>
    <dgm:cxn modelId="{7357039A-C158-470D-A636-0BF0A1355E52}" type="presParOf" srcId="{12B3DB15-EF63-45AE-9510-EFA73E57560C}" destId="{002CD626-CCFB-4E45-BF5A-D3DA5721A5B6}" srcOrd="2" destOrd="0" presId="urn:microsoft.com/office/officeart/2005/8/layout/default"/>
    <dgm:cxn modelId="{ECF7EB47-EFCA-4D7F-BC6F-E1DCE496D1F8}" type="presParOf" srcId="{12B3DB15-EF63-45AE-9510-EFA73E57560C}" destId="{178773EA-FCBD-456F-911C-B5482A0C9183}" srcOrd="3" destOrd="0" presId="urn:microsoft.com/office/officeart/2005/8/layout/default"/>
    <dgm:cxn modelId="{4FA08AD5-422F-41A0-9778-53DB5A64BECE}" type="presParOf" srcId="{12B3DB15-EF63-45AE-9510-EFA73E57560C}" destId="{A04DF33E-61AE-4241-9F11-8C80322296A7}" srcOrd="4" destOrd="0" presId="urn:microsoft.com/office/officeart/2005/8/layout/default"/>
    <dgm:cxn modelId="{DBFCACA9-20F5-42CC-82C3-5492CAC7045C}" type="presParOf" srcId="{12B3DB15-EF63-45AE-9510-EFA73E57560C}" destId="{5EADA856-8444-4407-B891-147A84899CF9}" srcOrd="5" destOrd="0" presId="urn:microsoft.com/office/officeart/2005/8/layout/default"/>
    <dgm:cxn modelId="{B3C80FDA-B8A2-4D17-80A0-E7153DBA373A}" type="presParOf" srcId="{12B3DB15-EF63-45AE-9510-EFA73E57560C}" destId="{EF23A1CC-DCB8-482E-B2DB-23ABA79F991C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DCC79D7-CA5C-4220-B424-CFF7AF04A22B}" type="doc">
      <dgm:prSet loTypeId="urn:microsoft.com/office/officeart/2018/2/layout/IconLabel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A51B22A-CBE5-44D7-AD67-42AA3114ABBD}">
      <dgm:prSet/>
      <dgm:spPr/>
      <dgm:t>
        <a:bodyPr/>
        <a:lstStyle/>
        <a:p>
          <a:pPr>
            <a:lnSpc>
              <a:spcPct val="100000"/>
            </a:lnSpc>
          </a:pPr>
          <a:r>
            <a:rPr lang="en-GB"/>
            <a:t>Speed</a:t>
          </a:r>
          <a:endParaRPr lang="en-US"/>
        </a:p>
      </dgm:t>
    </dgm:pt>
    <dgm:pt modelId="{C8F0D0D6-8CB5-4142-9C9F-58BA6093995E}" type="parTrans" cxnId="{07703826-B954-455E-9883-975F2843DD8A}">
      <dgm:prSet/>
      <dgm:spPr/>
      <dgm:t>
        <a:bodyPr/>
        <a:lstStyle/>
        <a:p>
          <a:endParaRPr lang="en-US"/>
        </a:p>
      </dgm:t>
    </dgm:pt>
    <dgm:pt modelId="{55493FC2-CBCB-4608-8CE2-48E674F5BD4A}" type="sibTrans" cxnId="{07703826-B954-455E-9883-975F2843DD8A}">
      <dgm:prSet/>
      <dgm:spPr/>
      <dgm:t>
        <a:bodyPr/>
        <a:lstStyle/>
        <a:p>
          <a:endParaRPr lang="en-US"/>
        </a:p>
      </dgm:t>
    </dgm:pt>
    <dgm:pt modelId="{1EA9AD15-C4AB-4B9E-B5D9-44D957FE9E17}">
      <dgm:prSet/>
      <dgm:spPr/>
      <dgm:t>
        <a:bodyPr/>
        <a:lstStyle/>
        <a:p>
          <a:pPr>
            <a:lnSpc>
              <a:spcPct val="100000"/>
            </a:lnSpc>
          </a:pPr>
          <a:r>
            <a:rPr lang="en-GB"/>
            <a:t>Robustness</a:t>
          </a:r>
          <a:endParaRPr lang="en-US"/>
        </a:p>
      </dgm:t>
    </dgm:pt>
    <dgm:pt modelId="{E72307DF-276C-4E83-9CD5-F91320B9CD04}" type="parTrans" cxnId="{93B3A234-D326-4A6E-8E61-131C6C7D5273}">
      <dgm:prSet/>
      <dgm:spPr/>
      <dgm:t>
        <a:bodyPr/>
        <a:lstStyle/>
        <a:p>
          <a:endParaRPr lang="en-US"/>
        </a:p>
      </dgm:t>
    </dgm:pt>
    <dgm:pt modelId="{FA58615C-B598-4D6C-A803-99548871800B}" type="sibTrans" cxnId="{93B3A234-D326-4A6E-8E61-131C6C7D5273}">
      <dgm:prSet/>
      <dgm:spPr/>
      <dgm:t>
        <a:bodyPr/>
        <a:lstStyle/>
        <a:p>
          <a:endParaRPr lang="en-US"/>
        </a:p>
      </dgm:t>
    </dgm:pt>
    <dgm:pt modelId="{6DDD56B7-6A60-4749-8E57-F8B9A9AD5A45}">
      <dgm:prSet/>
      <dgm:spPr/>
      <dgm:t>
        <a:bodyPr/>
        <a:lstStyle/>
        <a:p>
          <a:pPr>
            <a:lnSpc>
              <a:spcPct val="100000"/>
            </a:lnSpc>
          </a:pPr>
          <a:r>
            <a:rPr lang="en-GB"/>
            <a:t>Trust</a:t>
          </a:r>
          <a:endParaRPr lang="en-US"/>
        </a:p>
      </dgm:t>
    </dgm:pt>
    <dgm:pt modelId="{5A40CC6C-D2DF-4598-A576-F902AB4E24E6}" type="parTrans" cxnId="{030E93AB-B8B8-48E7-8442-71D88C7D3F1F}">
      <dgm:prSet/>
      <dgm:spPr/>
      <dgm:t>
        <a:bodyPr/>
        <a:lstStyle/>
        <a:p>
          <a:endParaRPr lang="en-US"/>
        </a:p>
      </dgm:t>
    </dgm:pt>
    <dgm:pt modelId="{24147F65-6B5C-4216-9736-ECD72E71B799}" type="sibTrans" cxnId="{030E93AB-B8B8-48E7-8442-71D88C7D3F1F}">
      <dgm:prSet/>
      <dgm:spPr/>
      <dgm:t>
        <a:bodyPr/>
        <a:lstStyle/>
        <a:p>
          <a:endParaRPr lang="en-US"/>
        </a:p>
      </dgm:t>
    </dgm:pt>
    <dgm:pt modelId="{954EA65E-3272-4D7B-B28E-11EC5328F086}" type="pres">
      <dgm:prSet presAssocID="{3DCC79D7-CA5C-4220-B424-CFF7AF04A22B}" presName="root" presStyleCnt="0">
        <dgm:presLayoutVars>
          <dgm:dir/>
          <dgm:resizeHandles val="exact"/>
        </dgm:presLayoutVars>
      </dgm:prSet>
      <dgm:spPr/>
    </dgm:pt>
    <dgm:pt modelId="{F7131821-E8EB-4205-A119-2BDD108816B7}" type="pres">
      <dgm:prSet presAssocID="{7A51B22A-CBE5-44D7-AD67-42AA3114ABBD}" presName="compNode" presStyleCnt="0"/>
      <dgm:spPr/>
    </dgm:pt>
    <dgm:pt modelId="{A5C4C095-AFA4-4FDC-A99C-E897101E1DD2}" type="pres">
      <dgm:prSet presAssocID="{7A51B22A-CBE5-44D7-AD67-42AA3114ABBD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Stopwatch"/>
        </a:ext>
      </dgm:extLst>
    </dgm:pt>
    <dgm:pt modelId="{1BA7E8A4-1F1E-49D3-91BA-F93939335F89}" type="pres">
      <dgm:prSet presAssocID="{7A51B22A-CBE5-44D7-AD67-42AA3114ABBD}" presName="spaceRect" presStyleCnt="0"/>
      <dgm:spPr/>
    </dgm:pt>
    <dgm:pt modelId="{11005012-FFB4-44EA-89E2-A36C4B209FFB}" type="pres">
      <dgm:prSet presAssocID="{7A51B22A-CBE5-44D7-AD67-42AA3114ABBD}" presName="textRect" presStyleLbl="revTx" presStyleIdx="0" presStyleCnt="3">
        <dgm:presLayoutVars>
          <dgm:chMax val="1"/>
          <dgm:chPref val="1"/>
        </dgm:presLayoutVars>
      </dgm:prSet>
      <dgm:spPr/>
    </dgm:pt>
    <dgm:pt modelId="{4EB12E13-9C74-4F2D-A7EF-252935D8C23F}" type="pres">
      <dgm:prSet presAssocID="{55493FC2-CBCB-4608-8CE2-48E674F5BD4A}" presName="sibTrans" presStyleCnt="0"/>
      <dgm:spPr/>
    </dgm:pt>
    <dgm:pt modelId="{5E00038C-CA7A-4E2D-89A2-11FD8BF5027E}" type="pres">
      <dgm:prSet presAssocID="{1EA9AD15-C4AB-4B9E-B5D9-44D957FE9E17}" presName="compNode" presStyleCnt="0"/>
      <dgm:spPr/>
    </dgm:pt>
    <dgm:pt modelId="{6E4601C4-A0FD-4527-9ECB-2C599A81EB34}" type="pres">
      <dgm:prSet presAssocID="{1EA9AD15-C4AB-4B9E-B5D9-44D957FE9E17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heckmark"/>
        </a:ext>
      </dgm:extLst>
    </dgm:pt>
    <dgm:pt modelId="{8D1A5B85-A1B3-4666-9A8B-91CAB732C29A}" type="pres">
      <dgm:prSet presAssocID="{1EA9AD15-C4AB-4B9E-B5D9-44D957FE9E17}" presName="spaceRect" presStyleCnt="0"/>
      <dgm:spPr/>
    </dgm:pt>
    <dgm:pt modelId="{5A503DD4-5321-4DCB-AA55-2692FAFF3FE4}" type="pres">
      <dgm:prSet presAssocID="{1EA9AD15-C4AB-4B9E-B5D9-44D957FE9E17}" presName="textRect" presStyleLbl="revTx" presStyleIdx="1" presStyleCnt="3">
        <dgm:presLayoutVars>
          <dgm:chMax val="1"/>
          <dgm:chPref val="1"/>
        </dgm:presLayoutVars>
      </dgm:prSet>
      <dgm:spPr/>
    </dgm:pt>
    <dgm:pt modelId="{2AD5F16C-FDE7-4331-8878-2B85767CF4E7}" type="pres">
      <dgm:prSet presAssocID="{FA58615C-B598-4D6C-A803-99548871800B}" presName="sibTrans" presStyleCnt="0"/>
      <dgm:spPr/>
    </dgm:pt>
    <dgm:pt modelId="{5CAF439C-94CE-4D63-972B-891A5FD481F8}" type="pres">
      <dgm:prSet presAssocID="{6DDD56B7-6A60-4749-8E57-F8B9A9AD5A45}" presName="compNode" presStyleCnt="0"/>
      <dgm:spPr/>
    </dgm:pt>
    <dgm:pt modelId="{439D7426-BCD1-4BE4-9EC5-7173B1988499}" type="pres">
      <dgm:prSet presAssocID="{6DDD56B7-6A60-4749-8E57-F8B9A9AD5A45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Handshake"/>
        </a:ext>
      </dgm:extLst>
    </dgm:pt>
    <dgm:pt modelId="{2D29C67A-BC2F-4953-BD49-86B6C2DE3939}" type="pres">
      <dgm:prSet presAssocID="{6DDD56B7-6A60-4749-8E57-F8B9A9AD5A45}" presName="spaceRect" presStyleCnt="0"/>
      <dgm:spPr/>
    </dgm:pt>
    <dgm:pt modelId="{A5378F76-B338-4AF1-B3D4-01184DD3439D}" type="pres">
      <dgm:prSet presAssocID="{6DDD56B7-6A60-4749-8E57-F8B9A9AD5A45}" presName="textRect" presStyleLbl="revTx" presStyleIdx="2" presStyleCnt="3">
        <dgm:presLayoutVars>
          <dgm:chMax val="1"/>
          <dgm:chPref val="1"/>
        </dgm:presLayoutVars>
      </dgm:prSet>
      <dgm:spPr/>
    </dgm:pt>
  </dgm:ptLst>
  <dgm:cxnLst>
    <dgm:cxn modelId="{6BAEE21A-F8AE-40DC-BECA-EA2AE7205849}" type="presOf" srcId="{1EA9AD15-C4AB-4B9E-B5D9-44D957FE9E17}" destId="{5A503DD4-5321-4DCB-AA55-2692FAFF3FE4}" srcOrd="0" destOrd="0" presId="urn:microsoft.com/office/officeart/2018/2/layout/IconLabelList"/>
    <dgm:cxn modelId="{A3105D1D-0D70-4260-A529-D0CD6D0CFAB1}" type="presOf" srcId="{7A51B22A-CBE5-44D7-AD67-42AA3114ABBD}" destId="{11005012-FFB4-44EA-89E2-A36C4B209FFB}" srcOrd="0" destOrd="0" presId="urn:microsoft.com/office/officeart/2018/2/layout/IconLabelList"/>
    <dgm:cxn modelId="{07703826-B954-455E-9883-975F2843DD8A}" srcId="{3DCC79D7-CA5C-4220-B424-CFF7AF04A22B}" destId="{7A51B22A-CBE5-44D7-AD67-42AA3114ABBD}" srcOrd="0" destOrd="0" parTransId="{C8F0D0D6-8CB5-4142-9C9F-58BA6093995E}" sibTransId="{55493FC2-CBCB-4608-8CE2-48E674F5BD4A}"/>
    <dgm:cxn modelId="{93B3A234-D326-4A6E-8E61-131C6C7D5273}" srcId="{3DCC79D7-CA5C-4220-B424-CFF7AF04A22B}" destId="{1EA9AD15-C4AB-4B9E-B5D9-44D957FE9E17}" srcOrd="1" destOrd="0" parTransId="{E72307DF-276C-4E83-9CD5-F91320B9CD04}" sibTransId="{FA58615C-B598-4D6C-A803-99548871800B}"/>
    <dgm:cxn modelId="{DF1C4378-0B62-4404-829B-E58AABA15F08}" type="presOf" srcId="{6DDD56B7-6A60-4749-8E57-F8B9A9AD5A45}" destId="{A5378F76-B338-4AF1-B3D4-01184DD3439D}" srcOrd="0" destOrd="0" presId="urn:microsoft.com/office/officeart/2018/2/layout/IconLabelList"/>
    <dgm:cxn modelId="{276DEB79-6EFA-4E63-AFFB-3D85461F8565}" type="presOf" srcId="{3DCC79D7-CA5C-4220-B424-CFF7AF04A22B}" destId="{954EA65E-3272-4D7B-B28E-11EC5328F086}" srcOrd="0" destOrd="0" presId="urn:microsoft.com/office/officeart/2018/2/layout/IconLabelList"/>
    <dgm:cxn modelId="{030E93AB-B8B8-48E7-8442-71D88C7D3F1F}" srcId="{3DCC79D7-CA5C-4220-B424-CFF7AF04A22B}" destId="{6DDD56B7-6A60-4749-8E57-F8B9A9AD5A45}" srcOrd="2" destOrd="0" parTransId="{5A40CC6C-D2DF-4598-A576-F902AB4E24E6}" sibTransId="{24147F65-6B5C-4216-9736-ECD72E71B799}"/>
    <dgm:cxn modelId="{BF95BF65-B4C0-4E5C-8C2F-B0CD1864BBE8}" type="presParOf" srcId="{954EA65E-3272-4D7B-B28E-11EC5328F086}" destId="{F7131821-E8EB-4205-A119-2BDD108816B7}" srcOrd="0" destOrd="0" presId="urn:microsoft.com/office/officeart/2018/2/layout/IconLabelList"/>
    <dgm:cxn modelId="{705C2E4C-715E-4B8C-9116-6FF6B62042A8}" type="presParOf" srcId="{F7131821-E8EB-4205-A119-2BDD108816B7}" destId="{A5C4C095-AFA4-4FDC-A99C-E897101E1DD2}" srcOrd="0" destOrd="0" presId="urn:microsoft.com/office/officeart/2018/2/layout/IconLabelList"/>
    <dgm:cxn modelId="{8B9C7B8E-CB45-4DD9-8F35-E6E83751887D}" type="presParOf" srcId="{F7131821-E8EB-4205-A119-2BDD108816B7}" destId="{1BA7E8A4-1F1E-49D3-91BA-F93939335F89}" srcOrd="1" destOrd="0" presId="urn:microsoft.com/office/officeart/2018/2/layout/IconLabelList"/>
    <dgm:cxn modelId="{D0B1B88B-F72A-44D5-BAAC-C377BACE8BED}" type="presParOf" srcId="{F7131821-E8EB-4205-A119-2BDD108816B7}" destId="{11005012-FFB4-44EA-89E2-A36C4B209FFB}" srcOrd="2" destOrd="0" presId="urn:microsoft.com/office/officeart/2018/2/layout/IconLabelList"/>
    <dgm:cxn modelId="{B4EBD24C-AAC0-4C03-942C-4BF6C384EBFE}" type="presParOf" srcId="{954EA65E-3272-4D7B-B28E-11EC5328F086}" destId="{4EB12E13-9C74-4F2D-A7EF-252935D8C23F}" srcOrd="1" destOrd="0" presId="urn:microsoft.com/office/officeart/2018/2/layout/IconLabelList"/>
    <dgm:cxn modelId="{3E4BB43F-5535-42B6-86F3-21079E4547B3}" type="presParOf" srcId="{954EA65E-3272-4D7B-B28E-11EC5328F086}" destId="{5E00038C-CA7A-4E2D-89A2-11FD8BF5027E}" srcOrd="2" destOrd="0" presId="urn:microsoft.com/office/officeart/2018/2/layout/IconLabelList"/>
    <dgm:cxn modelId="{5675B422-D5FB-4C16-ADB4-98CEFA353599}" type="presParOf" srcId="{5E00038C-CA7A-4E2D-89A2-11FD8BF5027E}" destId="{6E4601C4-A0FD-4527-9ECB-2C599A81EB34}" srcOrd="0" destOrd="0" presId="urn:microsoft.com/office/officeart/2018/2/layout/IconLabelList"/>
    <dgm:cxn modelId="{EE7596E0-6B01-46E6-8250-D20A231C041B}" type="presParOf" srcId="{5E00038C-CA7A-4E2D-89A2-11FD8BF5027E}" destId="{8D1A5B85-A1B3-4666-9A8B-91CAB732C29A}" srcOrd="1" destOrd="0" presId="urn:microsoft.com/office/officeart/2018/2/layout/IconLabelList"/>
    <dgm:cxn modelId="{B524A447-8E37-4F70-BE42-7620447A6113}" type="presParOf" srcId="{5E00038C-CA7A-4E2D-89A2-11FD8BF5027E}" destId="{5A503DD4-5321-4DCB-AA55-2692FAFF3FE4}" srcOrd="2" destOrd="0" presId="urn:microsoft.com/office/officeart/2018/2/layout/IconLabelList"/>
    <dgm:cxn modelId="{4285331B-422F-4AFB-BA8D-3A50349646E4}" type="presParOf" srcId="{954EA65E-3272-4D7B-B28E-11EC5328F086}" destId="{2AD5F16C-FDE7-4331-8878-2B85767CF4E7}" srcOrd="3" destOrd="0" presId="urn:microsoft.com/office/officeart/2018/2/layout/IconLabelList"/>
    <dgm:cxn modelId="{4632127C-479B-407F-9E12-D149C2701737}" type="presParOf" srcId="{954EA65E-3272-4D7B-B28E-11EC5328F086}" destId="{5CAF439C-94CE-4D63-972B-891A5FD481F8}" srcOrd="4" destOrd="0" presId="urn:microsoft.com/office/officeart/2018/2/layout/IconLabelList"/>
    <dgm:cxn modelId="{DF0DDEBB-12FC-444D-98DA-4AEC790E2745}" type="presParOf" srcId="{5CAF439C-94CE-4D63-972B-891A5FD481F8}" destId="{439D7426-BCD1-4BE4-9EC5-7173B1988499}" srcOrd="0" destOrd="0" presId="urn:microsoft.com/office/officeart/2018/2/layout/IconLabelList"/>
    <dgm:cxn modelId="{BB68D429-5791-4215-BFCD-53F18A9A9A65}" type="presParOf" srcId="{5CAF439C-94CE-4D63-972B-891A5FD481F8}" destId="{2D29C67A-BC2F-4953-BD49-86B6C2DE3939}" srcOrd="1" destOrd="0" presId="urn:microsoft.com/office/officeart/2018/2/layout/IconLabelList"/>
    <dgm:cxn modelId="{D65B7ED6-1689-4AA9-AF6F-5D5D7ECA1F30}" type="presParOf" srcId="{5CAF439C-94CE-4D63-972B-891A5FD481F8}" destId="{A5378F76-B338-4AF1-B3D4-01184DD3439D}" srcOrd="2" destOrd="0" presId="urn:microsoft.com/office/officeart/2018/2/layout/IconLabel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0C95E1C7-3057-4E63-80D8-744081FE7D55}" type="doc">
      <dgm:prSet loTypeId="urn:microsoft.com/office/officeart/2005/8/layout/default" loCatId="list" qsTypeId="urn:microsoft.com/office/officeart/2005/8/quickstyle/3d3" qsCatId="3D" csTypeId="urn:microsoft.com/office/officeart/2005/8/colors/accent1_4" csCatId="accent1" phldr="1"/>
      <dgm:spPr/>
      <dgm:t>
        <a:bodyPr/>
        <a:lstStyle/>
        <a:p>
          <a:endParaRPr lang="en-GB"/>
        </a:p>
      </dgm:t>
    </dgm:pt>
    <dgm:pt modelId="{A6010C98-EF86-4B85-892E-F2B47092EE97}">
      <dgm:prSet phldrT="[Text]" custT="1"/>
      <dgm:spPr/>
      <dgm:t>
        <a:bodyPr/>
        <a:lstStyle/>
        <a:p>
          <a:r>
            <a:rPr lang="en-GB" sz="2000" dirty="0">
              <a:latin typeface="+mn-lt"/>
            </a:rPr>
            <a:t>QbD provides the roadmap</a:t>
          </a:r>
        </a:p>
      </dgm:t>
    </dgm:pt>
    <dgm:pt modelId="{AFD4CDF9-50AF-4A1A-9407-E46C7DEE3667}" type="parTrans" cxnId="{958554C6-F992-4774-8FDA-962C3A536B39}">
      <dgm:prSet/>
      <dgm:spPr/>
      <dgm:t>
        <a:bodyPr/>
        <a:lstStyle/>
        <a:p>
          <a:endParaRPr lang="en-GB" sz="2000">
            <a:latin typeface="+mn-lt"/>
          </a:endParaRPr>
        </a:p>
      </dgm:t>
    </dgm:pt>
    <dgm:pt modelId="{D086A964-B07F-4258-8818-25D4D864BF22}" type="sibTrans" cxnId="{958554C6-F992-4774-8FDA-962C3A536B39}">
      <dgm:prSet/>
      <dgm:spPr/>
      <dgm:t>
        <a:bodyPr/>
        <a:lstStyle/>
        <a:p>
          <a:endParaRPr lang="en-GB" sz="2000">
            <a:latin typeface="+mn-lt"/>
          </a:endParaRPr>
        </a:p>
      </dgm:t>
    </dgm:pt>
    <dgm:pt modelId="{F6BB57D7-ACCA-40AB-A96C-C8D02F67CF02}">
      <dgm:prSet phldrT="[Text]" custT="1"/>
      <dgm:spPr>
        <a:solidFill>
          <a:srgbClr val="E4610F">
            <a:shade val="50000"/>
            <a:hueOff val="0"/>
            <a:satOff val="0"/>
            <a:lumOff val="0"/>
            <a:alphaOff val="0"/>
          </a:srgb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gm:spPr>
      <dgm:t>
        <a:bodyPr spcFirstLastPara="0" vert="horz" wrap="square" lIns="114300" tIns="114300" rIns="114300" bIns="114300" numCol="1" spcCol="1270" anchor="ctr" anchorCtr="0"/>
        <a:lstStyle/>
        <a:p>
          <a:r>
            <a:rPr lang="en-GB" sz="2000" kern="1200" dirty="0">
              <a:latin typeface="+mn-lt"/>
            </a:rPr>
            <a:t>Data reality </a:t>
          </a:r>
          <a:r>
            <a:rPr lang="en-GB" sz="2000" kern="1200" dirty="0">
              <a:solidFill>
                <a:srgbClr val="FFFFFF"/>
              </a:solidFill>
              <a:latin typeface="+mn-lt"/>
              <a:ea typeface="+mn-ea"/>
              <a:cs typeface="+mn-cs"/>
            </a:rPr>
            <a:t>demands</a:t>
          </a:r>
          <a:r>
            <a:rPr lang="en-GB" sz="2000" kern="1200" dirty="0">
              <a:latin typeface="+mn-lt"/>
            </a:rPr>
            <a:t> discipline</a:t>
          </a:r>
        </a:p>
      </dgm:t>
    </dgm:pt>
    <dgm:pt modelId="{38801BFF-0FFF-40BD-8220-3EFD9AED234F}" type="parTrans" cxnId="{0D6E4944-9430-473B-9C3C-15F5559258EA}">
      <dgm:prSet/>
      <dgm:spPr/>
      <dgm:t>
        <a:bodyPr/>
        <a:lstStyle/>
        <a:p>
          <a:endParaRPr lang="en-GB" sz="2000">
            <a:latin typeface="+mn-lt"/>
          </a:endParaRPr>
        </a:p>
      </dgm:t>
    </dgm:pt>
    <dgm:pt modelId="{5AE8A0F9-935B-45B5-9579-A11EB2BC14FB}" type="sibTrans" cxnId="{0D6E4944-9430-473B-9C3C-15F5559258EA}">
      <dgm:prSet/>
      <dgm:spPr/>
      <dgm:t>
        <a:bodyPr/>
        <a:lstStyle/>
        <a:p>
          <a:endParaRPr lang="en-GB" sz="2000">
            <a:latin typeface="+mn-lt"/>
          </a:endParaRPr>
        </a:p>
      </dgm:t>
    </dgm:pt>
    <dgm:pt modelId="{8CE51769-90AF-438C-8AE9-B84044CDC95E}">
      <dgm:prSet phldrT="[Text]" custT="1"/>
      <dgm:spPr>
        <a:solidFill>
          <a:srgbClr val="E4610F">
            <a:shade val="50000"/>
            <a:hueOff val="0"/>
            <a:satOff val="0"/>
            <a:lumOff val="0"/>
            <a:alphaOff val="0"/>
          </a:srgb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gm:spPr>
      <dgm:t>
        <a:bodyPr spcFirstLastPara="0" vert="horz" wrap="square" lIns="114300" tIns="114300" rIns="114300" bIns="114300" numCol="1" spcCol="1270" anchor="ctr" anchorCtr="0"/>
        <a:lstStyle/>
        <a:p>
          <a:r>
            <a:rPr lang="en-GB" sz="2000" kern="1200" dirty="0">
              <a:latin typeface="+mn-lt"/>
            </a:rPr>
            <a:t>Soft sensing &amp; </a:t>
          </a:r>
          <a:r>
            <a:rPr lang="en-GB" sz="2000" kern="1200" dirty="0">
              <a:solidFill>
                <a:srgbClr val="FFFFFF"/>
              </a:solidFill>
              <a:latin typeface="+mn-lt"/>
              <a:ea typeface="+mn-ea"/>
              <a:cs typeface="+mn-cs"/>
            </a:rPr>
            <a:t>fusion</a:t>
          </a:r>
          <a:r>
            <a:rPr lang="en-GB" sz="2000" kern="1200" dirty="0">
              <a:latin typeface="+mn-lt"/>
            </a:rPr>
            <a:t> are </a:t>
          </a:r>
          <a:r>
            <a:rPr lang="en-GB" sz="2000" kern="1200" dirty="0">
              <a:solidFill>
                <a:srgbClr val="FFFFFF"/>
              </a:solidFill>
              <a:latin typeface="+mn-lt"/>
              <a:ea typeface="+mn-ea"/>
              <a:cs typeface="+mn-cs"/>
            </a:rPr>
            <a:t>central</a:t>
          </a:r>
        </a:p>
      </dgm:t>
    </dgm:pt>
    <dgm:pt modelId="{EDB20855-AE6F-4FD7-A29E-F7796382ED4A}" type="parTrans" cxnId="{2B3523A6-C547-4F3F-BFBE-D5CD258BE7BD}">
      <dgm:prSet/>
      <dgm:spPr/>
      <dgm:t>
        <a:bodyPr/>
        <a:lstStyle/>
        <a:p>
          <a:endParaRPr lang="en-GB" sz="2000">
            <a:latin typeface="+mn-lt"/>
          </a:endParaRPr>
        </a:p>
      </dgm:t>
    </dgm:pt>
    <dgm:pt modelId="{55FDCDD2-F1DB-4F8B-96D9-B2C70CE36E61}" type="sibTrans" cxnId="{2B3523A6-C547-4F3F-BFBE-D5CD258BE7BD}">
      <dgm:prSet/>
      <dgm:spPr/>
      <dgm:t>
        <a:bodyPr/>
        <a:lstStyle/>
        <a:p>
          <a:endParaRPr lang="en-GB" sz="2000">
            <a:latin typeface="+mn-lt"/>
          </a:endParaRPr>
        </a:p>
      </dgm:t>
    </dgm:pt>
    <dgm:pt modelId="{65A3B4D9-550C-41C4-95A9-630A94B04387}">
      <dgm:prSet phldrT="[Text]" custT="1"/>
      <dgm:spPr>
        <a:solidFill>
          <a:srgbClr val="E4610F">
            <a:shade val="50000"/>
            <a:hueOff val="0"/>
            <a:satOff val="0"/>
            <a:lumOff val="0"/>
            <a:alphaOff val="0"/>
          </a:srgb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gm:spPr>
      <dgm:t>
        <a:bodyPr spcFirstLastPara="0" vert="horz" wrap="square" lIns="114300" tIns="114300" rIns="114300" bIns="114300" numCol="1" spcCol="1270" anchor="ctr" anchorCtr="0"/>
        <a:lstStyle/>
        <a:p>
          <a:r>
            <a:rPr lang="en-GB" sz="2000" kern="1200" dirty="0">
              <a:latin typeface="+mn-lt"/>
            </a:rPr>
            <a:t>Uncertainty &amp; drift must be </a:t>
          </a:r>
          <a:r>
            <a:rPr lang="en-GB" sz="2000" kern="1200" dirty="0">
              <a:solidFill>
                <a:srgbClr val="FFFFFF"/>
              </a:solidFill>
              <a:latin typeface="+mn-lt"/>
              <a:ea typeface="+mn-ea"/>
              <a:cs typeface="+mn-cs"/>
            </a:rPr>
            <a:t>explicit</a:t>
          </a:r>
        </a:p>
      </dgm:t>
    </dgm:pt>
    <dgm:pt modelId="{D4B22380-3EC2-472D-81CE-78B68F26D3FF}" type="parTrans" cxnId="{35159F38-45E2-4237-AF4C-F2AE401BB4A6}">
      <dgm:prSet/>
      <dgm:spPr/>
      <dgm:t>
        <a:bodyPr/>
        <a:lstStyle/>
        <a:p>
          <a:endParaRPr lang="en-GB" sz="2000">
            <a:latin typeface="+mn-lt"/>
          </a:endParaRPr>
        </a:p>
      </dgm:t>
    </dgm:pt>
    <dgm:pt modelId="{4C7B4CCA-15E1-4696-B783-4CC3455E6A78}" type="sibTrans" cxnId="{35159F38-45E2-4237-AF4C-F2AE401BB4A6}">
      <dgm:prSet/>
      <dgm:spPr/>
      <dgm:t>
        <a:bodyPr/>
        <a:lstStyle/>
        <a:p>
          <a:endParaRPr lang="en-GB" sz="2000">
            <a:latin typeface="+mn-lt"/>
          </a:endParaRPr>
        </a:p>
      </dgm:t>
    </dgm:pt>
    <dgm:pt modelId="{ECE8FE38-C22E-4CEF-BF2D-C94FD4C01EB8}">
      <dgm:prSet phldrT="[Text]" custT="1"/>
      <dgm:spPr>
        <a:solidFill>
          <a:srgbClr val="E4610F">
            <a:shade val="50000"/>
            <a:hueOff val="0"/>
            <a:satOff val="0"/>
            <a:lumOff val="0"/>
            <a:alphaOff val="0"/>
          </a:srgb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gm:spPr>
      <dgm:t>
        <a:bodyPr spcFirstLastPara="0" vert="horz" wrap="square" lIns="114300" tIns="114300" rIns="114300" bIns="114300" numCol="1" spcCol="1270" anchor="ctr" anchorCtr="0"/>
        <a:lstStyle/>
        <a:p>
          <a:r>
            <a:rPr lang="en-GB" sz="2000" kern="1200" dirty="0">
              <a:latin typeface="+mn-lt"/>
            </a:rPr>
            <a:t>DT maturity </a:t>
          </a:r>
          <a:r>
            <a:rPr lang="en-GB" sz="2000" kern="1200" dirty="0">
              <a:solidFill>
                <a:srgbClr val="FFFFFF"/>
              </a:solidFill>
              <a:latin typeface="+mn-lt"/>
              <a:ea typeface="+mn-ea"/>
              <a:cs typeface="+mn-cs"/>
            </a:rPr>
            <a:t>levels</a:t>
          </a:r>
          <a:r>
            <a:rPr lang="en-GB" sz="2000" kern="1200" dirty="0">
              <a:latin typeface="+mn-lt"/>
            </a:rPr>
            <a:t> matter</a:t>
          </a:r>
        </a:p>
      </dgm:t>
    </dgm:pt>
    <dgm:pt modelId="{448BAABF-8F51-40B0-8608-37890364BE60}" type="parTrans" cxnId="{84FCE3EB-DDE0-4067-8033-90C5BE9C4C91}">
      <dgm:prSet/>
      <dgm:spPr/>
      <dgm:t>
        <a:bodyPr/>
        <a:lstStyle/>
        <a:p>
          <a:endParaRPr lang="en-GB" sz="2000">
            <a:latin typeface="+mn-lt"/>
          </a:endParaRPr>
        </a:p>
      </dgm:t>
    </dgm:pt>
    <dgm:pt modelId="{899D597F-1929-4CA7-BE9B-C5E5754DE8B9}" type="sibTrans" cxnId="{84FCE3EB-DDE0-4067-8033-90C5BE9C4C91}">
      <dgm:prSet/>
      <dgm:spPr/>
      <dgm:t>
        <a:bodyPr/>
        <a:lstStyle/>
        <a:p>
          <a:endParaRPr lang="en-GB" sz="2000">
            <a:latin typeface="+mn-lt"/>
          </a:endParaRPr>
        </a:p>
      </dgm:t>
    </dgm:pt>
    <dgm:pt modelId="{B41B8E1C-2C48-4C6C-8059-091C82B4AF97}" type="pres">
      <dgm:prSet presAssocID="{0C95E1C7-3057-4E63-80D8-744081FE7D55}" presName="diagram" presStyleCnt="0">
        <dgm:presLayoutVars>
          <dgm:dir/>
          <dgm:resizeHandles val="exact"/>
        </dgm:presLayoutVars>
      </dgm:prSet>
      <dgm:spPr/>
    </dgm:pt>
    <dgm:pt modelId="{2DA8C9D8-91DE-4B25-9364-79FCD13D5B9E}" type="pres">
      <dgm:prSet presAssocID="{A6010C98-EF86-4B85-892E-F2B47092EE97}" presName="node" presStyleLbl="node1" presStyleIdx="0" presStyleCnt="5">
        <dgm:presLayoutVars>
          <dgm:bulletEnabled val="1"/>
        </dgm:presLayoutVars>
      </dgm:prSet>
      <dgm:spPr/>
    </dgm:pt>
    <dgm:pt modelId="{F32A6559-DFB2-4021-8D40-E37EE55C28DF}" type="pres">
      <dgm:prSet presAssocID="{D086A964-B07F-4258-8818-25D4D864BF22}" presName="sibTrans" presStyleCnt="0"/>
      <dgm:spPr/>
    </dgm:pt>
    <dgm:pt modelId="{73F053A5-7CDB-457F-9A7C-C0886DE80D71}" type="pres">
      <dgm:prSet presAssocID="{F6BB57D7-ACCA-40AB-A96C-C8D02F67CF02}" presName="node" presStyleLbl="node1" presStyleIdx="1" presStyleCnt="5">
        <dgm:presLayoutVars>
          <dgm:bulletEnabled val="1"/>
        </dgm:presLayoutVars>
      </dgm:prSet>
      <dgm:spPr>
        <a:xfrm>
          <a:off x="2599730" y="815207"/>
          <a:ext cx="2363391" cy="1418034"/>
        </a:xfrm>
        <a:prstGeom prst="rect">
          <a:avLst/>
        </a:prstGeom>
      </dgm:spPr>
    </dgm:pt>
    <dgm:pt modelId="{3D9D4361-8509-4963-8268-AF7C469C751E}" type="pres">
      <dgm:prSet presAssocID="{5AE8A0F9-935B-45B5-9579-A11EB2BC14FB}" presName="sibTrans" presStyleCnt="0"/>
      <dgm:spPr/>
    </dgm:pt>
    <dgm:pt modelId="{E9260BAF-BCD3-48CF-9927-837529E9A237}" type="pres">
      <dgm:prSet presAssocID="{8CE51769-90AF-438C-8AE9-B84044CDC95E}" presName="node" presStyleLbl="node1" presStyleIdx="2" presStyleCnt="5">
        <dgm:presLayoutVars>
          <dgm:bulletEnabled val="1"/>
        </dgm:presLayoutVars>
      </dgm:prSet>
      <dgm:spPr>
        <a:xfrm>
          <a:off x="5199460" y="815207"/>
          <a:ext cx="2363391" cy="1418034"/>
        </a:xfrm>
        <a:prstGeom prst="rect">
          <a:avLst/>
        </a:prstGeom>
      </dgm:spPr>
    </dgm:pt>
    <dgm:pt modelId="{6962290D-2E51-4206-B692-D1E384BB5E53}" type="pres">
      <dgm:prSet presAssocID="{55FDCDD2-F1DB-4F8B-96D9-B2C70CE36E61}" presName="sibTrans" presStyleCnt="0"/>
      <dgm:spPr/>
    </dgm:pt>
    <dgm:pt modelId="{B08471CC-BF19-4DB8-9605-2A42027472EB}" type="pres">
      <dgm:prSet presAssocID="{65A3B4D9-550C-41C4-95A9-630A94B04387}" presName="node" presStyleLbl="node1" presStyleIdx="3" presStyleCnt="5">
        <dgm:presLayoutVars>
          <dgm:bulletEnabled val="1"/>
        </dgm:presLayoutVars>
      </dgm:prSet>
      <dgm:spPr>
        <a:xfrm>
          <a:off x="1299865" y="2469581"/>
          <a:ext cx="2363391" cy="1418034"/>
        </a:xfrm>
        <a:prstGeom prst="rect">
          <a:avLst/>
        </a:prstGeom>
      </dgm:spPr>
    </dgm:pt>
    <dgm:pt modelId="{38E45A2A-0977-4868-9817-8D373FDFE1EA}" type="pres">
      <dgm:prSet presAssocID="{4C7B4CCA-15E1-4696-B783-4CC3455E6A78}" presName="sibTrans" presStyleCnt="0"/>
      <dgm:spPr/>
    </dgm:pt>
    <dgm:pt modelId="{AF5B16E4-F285-4ADF-88A3-BB58C60796DC}" type="pres">
      <dgm:prSet presAssocID="{ECE8FE38-C22E-4CEF-BF2D-C94FD4C01EB8}" presName="node" presStyleLbl="node1" presStyleIdx="4" presStyleCnt="5">
        <dgm:presLayoutVars>
          <dgm:bulletEnabled val="1"/>
        </dgm:presLayoutVars>
      </dgm:prSet>
      <dgm:spPr>
        <a:xfrm>
          <a:off x="3899595" y="2469581"/>
          <a:ext cx="2363391" cy="1418034"/>
        </a:xfrm>
        <a:prstGeom prst="rect">
          <a:avLst/>
        </a:prstGeom>
      </dgm:spPr>
    </dgm:pt>
  </dgm:ptLst>
  <dgm:cxnLst>
    <dgm:cxn modelId="{EFA8C407-4CFF-45C8-B798-E0A6A2061B8E}" type="presOf" srcId="{8CE51769-90AF-438C-8AE9-B84044CDC95E}" destId="{E9260BAF-BCD3-48CF-9927-837529E9A237}" srcOrd="0" destOrd="0" presId="urn:microsoft.com/office/officeart/2005/8/layout/default"/>
    <dgm:cxn modelId="{5F88E328-E9A4-4C27-8A83-A09B496042DB}" type="presOf" srcId="{ECE8FE38-C22E-4CEF-BF2D-C94FD4C01EB8}" destId="{AF5B16E4-F285-4ADF-88A3-BB58C60796DC}" srcOrd="0" destOrd="0" presId="urn:microsoft.com/office/officeart/2005/8/layout/default"/>
    <dgm:cxn modelId="{35159F38-45E2-4237-AF4C-F2AE401BB4A6}" srcId="{0C95E1C7-3057-4E63-80D8-744081FE7D55}" destId="{65A3B4D9-550C-41C4-95A9-630A94B04387}" srcOrd="3" destOrd="0" parTransId="{D4B22380-3EC2-472D-81CE-78B68F26D3FF}" sibTransId="{4C7B4CCA-15E1-4696-B783-4CC3455E6A78}"/>
    <dgm:cxn modelId="{0D6E4944-9430-473B-9C3C-15F5559258EA}" srcId="{0C95E1C7-3057-4E63-80D8-744081FE7D55}" destId="{F6BB57D7-ACCA-40AB-A96C-C8D02F67CF02}" srcOrd="1" destOrd="0" parTransId="{38801BFF-0FFF-40BD-8220-3EFD9AED234F}" sibTransId="{5AE8A0F9-935B-45B5-9579-A11EB2BC14FB}"/>
    <dgm:cxn modelId="{06420358-A7E9-4253-9ED0-04DDCA095A51}" type="presOf" srcId="{F6BB57D7-ACCA-40AB-A96C-C8D02F67CF02}" destId="{73F053A5-7CDB-457F-9A7C-C0886DE80D71}" srcOrd="0" destOrd="0" presId="urn:microsoft.com/office/officeart/2005/8/layout/default"/>
    <dgm:cxn modelId="{D14C9395-B8A5-454C-A9C9-5BC2E5A459B2}" type="presOf" srcId="{A6010C98-EF86-4B85-892E-F2B47092EE97}" destId="{2DA8C9D8-91DE-4B25-9364-79FCD13D5B9E}" srcOrd="0" destOrd="0" presId="urn:microsoft.com/office/officeart/2005/8/layout/default"/>
    <dgm:cxn modelId="{2B3523A6-C547-4F3F-BFBE-D5CD258BE7BD}" srcId="{0C95E1C7-3057-4E63-80D8-744081FE7D55}" destId="{8CE51769-90AF-438C-8AE9-B84044CDC95E}" srcOrd="2" destOrd="0" parTransId="{EDB20855-AE6F-4FD7-A29E-F7796382ED4A}" sibTransId="{55FDCDD2-F1DB-4F8B-96D9-B2C70CE36E61}"/>
    <dgm:cxn modelId="{E20628B3-C839-420E-9AEB-FCFAE6A71F15}" type="presOf" srcId="{0C95E1C7-3057-4E63-80D8-744081FE7D55}" destId="{B41B8E1C-2C48-4C6C-8059-091C82B4AF97}" srcOrd="0" destOrd="0" presId="urn:microsoft.com/office/officeart/2005/8/layout/default"/>
    <dgm:cxn modelId="{958554C6-F992-4774-8FDA-962C3A536B39}" srcId="{0C95E1C7-3057-4E63-80D8-744081FE7D55}" destId="{A6010C98-EF86-4B85-892E-F2B47092EE97}" srcOrd="0" destOrd="0" parTransId="{AFD4CDF9-50AF-4A1A-9407-E46C7DEE3667}" sibTransId="{D086A964-B07F-4258-8818-25D4D864BF22}"/>
    <dgm:cxn modelId="{5935BEDA-7E19-4EBD-9718-9A8959143C13}" type="presOf" srcId="{65A3B4D9-550C-41C4-95A9-630A94B04387}" destId="{B08471CC-BF19-4DB8-9605-2A42027472EB}" srcOrd="0" destOrd="0" presId="urn:microsoft.com/office/officeart/2005/8/layout/default"/>
    <dgm:cxn modelId="{84FCE3EB-DDE0-4067-8033-90C5BE9C4C91}" srcId="{0C95E1C7-3057-4E63-80D8-744081FE7D55}" destId="{ECE8FE38-C22E-4CEF-BF2D-C94FD4C01EB8}" srcOrd="4" destOrd="0" parTransId="{448BAABF-8F51-40B0-8608-37890364BE60}" sibTransId="{899D597F-1929-4CA7-BE9B-C5E5754DE8B9}"/>
    <dgm:cxn modelId="{0C0CBF42-A7AF-4717-B705-8CC57905A571}" type="presParOf" srcId="{B41B8E1C-2C48-4C6C-8059-091C82B4AF97}" destId="{2DA8C9D8-91DE-4B25-9364-79FCD13D5B9E}" srcOrd="0" destOrd="0" presId="urn:microsoft.com/office/officeart/2005/8/layout/default"/>
    <dgm:cxn modelId="{FF503F63-4323-4DF4-BA61-17E8C4AB2909}" type="presParOf" srcId="{B41B8E1C-2C48-4C6C-8059-091C82B4AF97}" destId="{F32A6559-DFB2-4021-8D40-E37EE55C28DF}" srcOrd="1" destOrd="0" presId="urn:microsoft.com/office/officeart/2005/8/layout/default"/>
    <dgm:cxn modelId="{57CEBC83-2864-4484-B9C6-8A5DC7577838}" type="presParOf" srcId="{B41B8E1C-2C48-4C6C-8059-091C82B4AF97}" destId="{73F053A5-7CDB-457F-9A7C-C0886DE80D71}" srcOrd="2" destOrd="0" presId="urn:microsoft.com/office/officeart/2005/8/layout/default"/>
    <dgm:cxn modelId="{9BF5A1D2-5AE3-4F0B-BA15-51AE57E5A280}" type="presParOf" srcId="{B41B8E1C-2C48-4C6C-8059-091C82B4AF97}" destId="{3D9D4361-8509-4963-8268-AF7C469C751E}" srcOrd="3" destOrd="0" presId="urn:microsoft.com/office/officeart/2005/8/layout/default"/>
    <dgm:cxn modelId="{E5EC0F35-10CB-46DB-B626-590847CCC16B}" type="presParOf" srcId="{B41B8E1C-2C48-4C6C-8059-091C82B4AF97}" destId="{E9260BAF-BCD3-48CF-9927-837529E9A237}" srcOrd="4" destOrd="0" presId="urn:microsoft.com/office/officeart/2005/8/layout/default"/>
    <dgm:cxn modelId="{77483D69-ECEE-4A26-AB56-F2655601F3EA}" type="presParOf" srcId="{B41B8E1C-2C48-4C6C-8059-091C82B4AF97}" destId="{6962290D-2E51-4206-B692-D1E384BB5E53}" srcOrd="5" destOrd="0" presId="urn:microsoft.com/office/officeart/2005/8/layout/default"/>
    <dgm:cxn modelId="{E1910394-F116-4ECA-8BB5-A0CCF91C7339}" type="presParOf" srcId="{B41B8E1C-2C48-4C6C-8059-091C82B4AF97}" destId="{B08471CC-BF19-4DB8-9605-2A42027472EB}" srcOrd="6" destOrd="0" presId="urn:microsoft.com/office/officeart/2005/8/layout/default"/>
    <dgm:cxn modelId="{5C36E1C3-8C0D-4F9A-A120-B5063A44F0EC}" type="presParOf" srcId="{B41B8E1C-2C48-4C6C-8059-091C82B4AF97}" destId="{38E45A2A-0977-4868-9817-8D373FDFE1EA}" srcOrd="7" destOrd="0" presId="urn:microsoft.com/office/officeart/2005/8/layout/default"/>
    <dgm:cxn modelId="{D95DD679-9C38-4D47-8771-A69EDB11366B}" type="presParOf" srcId="{B41B8E1C-2C48-4C6C-8059-091C82B4AF97}" destId="{AF5B16E4-F285-4ADF-88A3-BB58C60796DC}" srcOrd="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3B78DC1-F88E-4683-9E86-1E73DCC05AE1}">
      <dsp:nvSpPr>
        <dsp:cNvPr id="0" name=""/>
        <dsp:cNvSpPr/>
      </dsp:nvSpPr>
      <dsp:spPr>
        <a:xfrm>
          <a:off x="3843298" y="2528"/>
          <a:ext cx="3493006" cy="1216303"/>
        </a:xfrm>
        <a:prstGeom prst="rect">
          <a:avLst/>
        </a:prstGeom>
        <a:solidFill>
          <a:schemeClr val="bg2">
            <a:lumMod val="25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5880" tIns="55880" rIns="55880" bIns="5588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200" kern="1200" dirty="0">
              <a:latin typeface="Arial" panose="020B0604020202020204" pitchFamily="34" charset="0"/>
              <a:cs typeface="Arial" panose="020B0604020202020204" pitchFamily="34" charset="0"/>
            </a:rPr>
            <a:t>DoE &amp; empirical, mechanistic, or hybrid models</a:t>
          </a:r>
        </a:p>
      </dsp:txBody>
      <dsp:txXfrm>
        <a:off x="3843298" y="2528"/>
        <a:ext cx="3493006" cy="1216303"/>
      </dsp:txXfrm>
    </dsp:sp>
    <dsp:sp modelId="{16BDF016-E7F1-438D-B43F-6817E9756DFC}">
      <dsp:nvSpPr>
        <dsp:cNvPr id="0" name=""/>
        <dsp:cNvSpPr/>
      </dsp:nvSpPr>
      <dsp:spPr>
        <a:xfrm>
          <a:off x="1662532" y="1279647"/>
          <a:ext cx="7854537" cy="1216303"/>
        </a:xfrm>
        <a:prstGeom prst="rect">
          <a:avLst/>
        </a:prstGeom>
        <a:gradFill rotWithShape="0">
          <a:gsLst>
            <a:gs pos="0">
              <a:schemeClr val="accent3">
                <a:hueOff val="903533"/>
                <a:satOff val="33333"/>
                <a:lumOff val="-4902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903533"/>
                <a:satOff val="33333"/>
                <a:lumOff val="-4902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903533"/>
                <a:satOff val="33333"/>
                <a:lumOff val="-4902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5880" tIns="55880" rIns="55880" bIns="5588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200" kern="1200" dirty="0">
              <a:latin typeface="Arial" panose="020B0604020202020204" pitchFamily="34" charset="0"/>
              <a:cs typeface="Arial" panose="020B0604020202020204" pitchFamily="34" charset="0"/>
            </a:rPr>
            <a:t>Account for nonlinear regions via shape reconstruction and feasibility analysis.</a:t>
          </a:r>
        </a:p>
      </dsp:txBody>
      <dsp:txXfrm>
        <a:off x="1662532" y="1279647"/>
        <a:ext cx="7854537" cy="1216303"/>
      </dsp:txXfrm>
    </dsp:sp>
    <dsp:sp modelId="{77131427-63EA-4E34-BBD4-BAC6BDE1B12B}">
      <dsp:nvSpPr>
        <dsp:cNvPr id="0" name=""/>
        <dsp:cNvSpPr/>
      </dsp:nvSpPr>
      <dsp:spPr>
        <a:xfrm>
          <a:off x="1373436" y="2556766"/>
          <a:ext cx="8432730" cy="1216303"/>
        </a:xfrm>
        <a:prstGeom prst="rect">
          <a:avLst/>
        </a:prstGeom>
        <a:gradFill rotWithShape="0">
          <a:gsLst>
            <a:gs pos="0">
              <a:schemeClr val="accent3">
                <a:hueOff val="1807066"/>
                <a:satOff val="66667"/>
                <a:lumOff val="-9804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1807066"/>
                <a:satOff val="66667"/>
                <a:lumOff val="-9804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1807066"/>
                <a:satOff val="66667"/>
                <a:lumOff val="-9804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5880" tIns="55880" rIns="55880" bIns="5588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200" kern="1200" dirty="0">
              <a:latin typeface="Arial" panose="020B0604020202020204" pitchFamily="34" charset="0"/>
              <a:cs typeface="Arial" panose="020B0604020202020204" pitchFamily="34" charset="0"/>
            </a:rPr>
            <a:t>Use black-box approximations to keep computation practical for expensive simulations.</a:t>
          </a:r>
        </a:p>
      </dsp:txBody>
      <dsp:txXfrm>
        <a:off x="1373436" y="2556766"/>
        <a:ext cx="8432730" cy="1216303"/>
      </dsp:txXfrm>
    </dsp:sp>
    <dsp:sp modelId="{E674E665-393A-4983-8D49-8FA041165F7D}">
      <dsp:nvSpPr>
        <dsp:cNvPr id="0" name=""/>
        <dsp:cNvSpPr/>
      </dsp:nvSpPr>
      <dsp:spPr>
        <a:xfrm>
          <a:off x="0" y="3833885"/>
          <a:ext cx="11179603" cy="1216303"/>
        </a:xfrm>
        <a:prstGeom prst="rect">
          <a:avLst/>
        </a:prstGeom>
        <a:gradFill rotWithShape="0">
          <a:gsLst>
            <a:gs pos="0">
              <a:schemeClr val="accent3">
                <a:hueOff val="2710599"/>
                <a:satOff val="100000"/>
                <a:lumOff val="-14706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2710599"/>
                <a:satOff val="100000"/>
                <a:lumOff val="-14706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2710599"/>
                <a:satOff val="100000"/>
                <a:lumOff val="-14706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5880" tIns="55880" rIns="55880" bIns="5588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200" kern="1200" dirty="0">
              <a:latin typeface="Arial" panose="020B0604020202020204" pitchFamily="34" charset="0"/>
              <a:cs typeface="Arial" panose="020B0604020202020204" pitchFamily="34" charset="0"/>
            </a:rPr>
            <a:t>Combine frequentist &amp; Bayesian approaches to estimate prediction intervals and the probability of meeting constraints.</a:t>
          </a:r>
        </a:p>
      </dsp:txBody>
      <dsp:txXfrm>
        <a:off x="0" y="3833885"/>
        <a:ext cx="11179603" cy="121630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B9AFB02-CE59-4649-BE71-554D4609CBCC}">
      <dsp:nvSpPr>
        <dsp:cNvPr id="0" name=""/>
        <dsp:cNvSpPr/>
      </dsp:nvSpPr>
      <dsp:spPr>
        <a:xfrm>
          <a:off x="3683573" y="1921916"/>
          <a:ext cx="2349008" cy="2349008"/>
        </a:xfrm>
        <a:prstGeom prst="gear9">
          <a:avLst/>
        </a:prstGeom>
        <a:solidFill>
          <a:schemeClr val="accent2">
            <a:shade val="5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/>
            <a:t>Physical</a:t>
          </a:r>
        </a:p>
      </dsp:txBody>
      <dsp:txXfrm>
        <a:off x="4155828" y="2472160"/>
        <a:ext cx="1404498" cy="1207439"/>
      </dsp:txXfrm>
    </dsp:sp>
    <dsp:sp modelId="{5F7AC8F1-6AB7-4A93-A406-0C23B9F32237}">
      <dsp:nvSpPr>
        <dsp:cNvPr id="0" name=""/>
        <dsp:cNvSpPr/>
      </dsp:nvSpPr>
      <dsp:spPr>
        <a:xfrm>
          <a:off x="2316877" y="1366696"/>
          <a:ext cx="1708370" cy="1708370"/>
        </a:xfrm>
        <a:prstGeom prst="gear6">
          <a:avLst/>
        </a:prstGeom>
        <a:solidFill>
          <a:schemeClr val="accent2">
            <a:shade val="50000"/>
            <a:hueOff val="-394115"/>
            <a:satOff val="5189"/>
            <a:lumOff val="31078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/>
            <a:t>Digital</a:t>
          </a:r>
        </a:p>
      </dsp:txBody>
      <dsp:txXfrm>
        <a:off x="2746964" y="1799383"/>
        <a:ext cx="848196" cy="842996"/>
      </dsp:txXfrm>
    </dsp:sp>
    <dsp:sp modelId="{7B531463-4866-4364-B62D-BD70A513598F}">
      <dsp:nvSpPr>
        <dsp:cNvPr id="0" name=""/>
        <dsp:cNvSpPr/>
      </dsp:nvSpPr>
      <dsp:spPr>
        <a:xfrm rot="20700000">
          <a:off x="3273739" y="188095"/>
          <a:ext cx="1673853" cy="1673853"/>
        </a:xfrm>
        <a:prstGeom prst="gear6">
          <a:avLst/>
        </a:prstGeom>
        <a:solidFill>
          <a:schemeClr val="accent2">
            <a:shade val="50000"/>
            <a:hueOff val="-394115"/>
            <a:satOff val="5189"/>
            <a:lumOff val="31078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/>
            <a:t>Virtual</a:t>
          </a:r>
        </a:p>
      </dsp:txBody>
      <dsp:txXfrm rot="-20700000">
        <a:off x="3640864" y="555220"/>
        <a:ext cx="939603" cy="939603"/>
      </dsp:txXfrm>
    </dsp:sp>
    <dsp:sp modelId="{33C2041B-F488-4A3F-B2B1-C20A757EB0EE}">
      <dsp:nvSpPr>
        <dsp:cNvPr id="0" name=""/>
        <dsp:cNvSpPr/>
      </dsp:nvSpPr>
      <dsp:spPr>
        <a:xfrm>
          <a:off x="3503791" y="1566977"/>
          <a:ext cx="3006731" cy="3006731"/>
        </a:xfrm>
        <a:prstGeom prst="circularArrow">
          <a:avLst>
            <a:gd name="adj1" fmla="val 4687"/>
            <a:gd name="adj2" fmla="val 299029"/>
            <a:gd name="adj3" fmla="val 2518027"/>
            <a:gd name="adj4" fmla="val 15857274"/>
            <a:gd name="adj5" fmla="val 5469"/>
          </a:avLst>
        </a:prstGeom>
        <a:solidFill>
          <a:schemeClr val="accent2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82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71E5A40-7A17-4C8E-A734-A0BA722D6CB8}">
      <dsp:nvSpPr>
        <dsp:cNvPr id="0" name=""/>
        <dsp:cNvSpPr/>
      </dsp:nvSpPr>
      <dsp:spPr>
        <a:xfrm>
          <a:off x="2014328" y="988369"/>
          <a:ext cx="2184578" cy="2184578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2">
            <a:shade val="90000"/>
            <a:hueOff val="-383121"/>
            <a:satOff val="273"/>
            <a:lumOff val="21409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82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A0148B6-72A4-4C97-94D6-FB03CD1B054C}">
      <dsp:nvSpPr>
        <dsp:cNvPr id="0" name=""/>
        <dsp:cNvSpPr/>
      </dsp:nvSpPr>
      <dsp:spPr>
        <a:xfrm>
          <a:off x="2886559" y="-178870"/>
          <a:ext cx="2355415" cy="2355415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2">
            <a:shade val="90000"/>
            <a:hueOff val="-383121"/>
            <a:satOff val="273"/>
            <a:lumOff val="21409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82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1AE2D78-E5D1-4928-A51D-81CCCB87704A}">
      <dsp:nvSpPr>
        <dsp:cNvPr id="0" name=""/>
        <dsp:cNvSpPr/>
      </dsp:nvSpPr>
      <dsp:spPr>
        <a:xfrm>
          <a:off x="-5789674" y="-886131"/>
          <a:ext cx="6892792" cy="6892792"/>
        </a:xfrm>
        <a:prstGeom prst="blockArc">
          <a:avLst>
            <a:gd name="adj1" fmla="val 18900000"/>
            <a:gd name="adj2" fmla="val 2700000"/>
            <a:gd name="adj3" fmla="val 313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E2351AC-C1BA-44D2-860F-9DC1FED499A1}">
      <dsp:nvSpPr>
        <dsp:cNvPr id="0" name=""/>
        <dsp:cNvSpPr/>
      </dsp:nvSpPr>
      <dsp:spPr>
        <a:xfrm>
          <a:off x="482168" y="319930"/>
          <a:ext cx="6398539" cy="64027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08215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 typeface="Wingdings" panose="05000000000000000000" pitchFamily="2" charset="2"/>
            <a:buNone/>
          </a:pPr>
          <a:r>
            <a:rPr kumimoji="0" lang="en-US" sz="2000" i="0" u="none" strike="noStrike" kern="1200" cap="none" spc="0" normalizeH="0" baseline="0" noProof="0" dirty="0">
              <a:ln/>
              <a:effectLst/>
              <a:uLnTx/>
              <a:uFillTx/>
              <a:latin typeface="Arial"/>
              <a:ea typeface="+mn-ea"/>
              <a:cs typeface="+mn-cs"/>
            </a:rPr>
            <a:t>Traceable line: QTPP → CQAs → CPPs → Design Space</a:t>
          </a:r>
          <a:endParaRPr lang="en-GB" sz="2000" kern="1200" dirty="0"/>
        </a:p>
      </dsp:txBody>
      <dsp:txXfrm>
        <a:off x="482168" y="319930"/>
        <a:ext cx="6398539" cy="640271"/>
      </dsp:txXfrm>
    </dsp:sp>
    <dsp:sp modelId="{1BDA0BAD-DD07-4061-8E5D-009B77DC1BF8}">
      <dsp:nvSpPr>
        <dsp:cNvPr id="0" name=""/>
        <dsp:cNvSpPr/>
      </dsp:nvSpPr>
      <dsp:spPr>
        <a:xfrm>
          <a:off x="81998" y="239896"/>
          <a:ext cx="800338" cy="80033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674087C-1A6F-46C3-8580-CC0F7FF83142}">
      <dsp:nvSpPr>
        <dsp:cNvPr id="0" name=""/>
        <dsp:cNvSpPr/>
      </dsp:nvSpPr>
      <dsp:spPr>
        <a:xfrm>
          <a:off x="940967" y="1280030"/>
          <a:ext cx="5939740" cy="64027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08215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 typeface="Wingdings" panose="05000000000000000000" pitchFamily="2" charset="2"/>
            <a:buNone/>
          </a:pPr>
          <a:r>
            <a:rPr kumimoji="0" lang="en-US" sz="2000" i="0" u="none" strike="noStrike" kern="1200" cap="none" spc="0" normalizeH="0" baseline="0" noProof="0">
              <a:ln/>
              <a:effectLst/>
              <a:uLnTx/>
              <a:uFillTx/>
              <a:latin typeface="Arial"/>
              <a:ea typeface="+mn-ea"/>
              <a:cs typeface="+mn-cs"/>
            </a:rPr>
            <a:t>Living model registry with versions, data, and uncertainty bounds</a:t>
          </a:r>
          <a:endParaRPr lang="en-GB" sz="2000" kern="1200" dirty="0"/>
        </a:p>
      </dsp:txBody>
      <dsp:txXfrm>
        <a:off x="940967" y="1280030"/>
        <a:ext cx="5939740" cy="640271"/>
      </dsp:txXfrm>
    </dsp:sp>
    <dsp:sp modelId="{9E9D7AD6-0091-49C8-9D9B-1FDFD5D2DCC5}">
      <dsp:nvSpPr>
        <dsp:cNvPr id="0" name=""/>
        <dsp:cNvSpPr/>
      </dsp:nvSpPr>
      <dsp:spPr>
        <a:xfrm>
          <a:off x="540798" y="1199996"/>
          <a:ext cx="800338" cy="80033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7D50BA4-363C-485B-AF20-523BB25A54FA}">
      <dsp:nvSpPr>
        <dsp:cNvPr id="0" name=""/>
        <dsp:cNvSpPr/>
      </dsp:nvSpPr>
      <dsp:spPr>
        <a:xfrm>
          <a:off x="1081782" y="2240129"/>
          <a:ext cx="5798925" cy="64027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08215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 typeface="Wingdings" panose="05000000000000000000" pitchFamily="2" charset="2"/>
            <a:buNone/>
          </a:pPr>
          <a:r>
            <a:rPr kumimoji="0" lang="en-US" sz="2000" i="0" u="none" strike="noStrike" kern="1200" cap="none" spc="0" normalizeH="0" baseline="0" noProof="0">
              <a:ln/>
              <a:effectLst/>
              <a:uLnTx/>
              <a:uFillTx/>
              <a:latin typeface="Arial"/>
              <a:ea typeface="+mn-ea"/>
              <a:cs typeface="+mn-cs"/>
            </a:rPr>
            <a:t>Operational twins where it counts; shadow-assisted decisions elsewhere</a:t>
          </a:r>
          <a:endParaRPr lang="en-GB" sz="2000" kern="1200" dirty="0"/>
        </a:p>
      </dsp:txBody>
      <dsp:txXfrm>
        <a:off x="1081782" y="2240129"/>
        <a:ext cx="5798925" cy="640271"/>
      </dsp:txXfrm>
    </dsp:sp>
    <dsp:sp modelId="{DFD087B1-64D7-40CB-B43D-1D0E8F434EE9}">
      <dsp:nvSpPr>
        <dsp:cNvPr id="0" name=""/>
        <dsp:cNvSpPr/>
      </dsp:nvSpPr>
      <dsp:spPr>
        <a:xfrm>
          <a:off x="681612" y="2160095"/>
          <a:ext cx="800338" cy="80033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81B6ADA-BEAD-4F21-B785-4A47AA2BB509}">
      <dsp:nvSpPr>
        <dsp:cNvPr id="0" name=""/>
        <dsp:cNvSpPr/>
      </dsp:nvSpPr>
      <dsp:spPr>
        <a:xfrm>
          <a:off x="940967" y="3200228"/>
          <a:ext cx="5939740" cy="64027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08215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 typeface="Wingdings" panose="05000000000000000000" pitchFamily="2" charset="2"/>
            <a:buNone/>
          </a:pPr>
          <a:r>
            <a:rPr kumimoji="0" lang="en-US" sz="2000" i="0" u="none" strike="noStrike" kern="1200" cap="none" spc="0" normalizeH="0" baseline="0" noProof="0" dirty="0">
              <a:ln/>
              <a:effectLst/>
              <a:uLnTx/>
              <a:uFillTx/>
              <a:latin typeface="Arial"/>
              <a:ea typeface="+mn-ea"/>
              <a:cs typeface="+mn-cs"/>
            </a:rPr>
            <a:t>First-class data engineering: alignment, drift, simple visuals</a:t>
          </a:r>
          <a:endParaRPr lang="en-GB" sz="2000" kern="1200" dirty="0"/>
        </a:p>
      </dsp:txBody>
      <dsp:txXfrm>
        <a:off x="940967" y="3200228"/>
        <a:ext cx="5939740" cy="640271"/>
      </dsp:txXfrm>
    </dsp:sp>
    <dsp:sp modelId="{6792BCC3-C939-4C3D-A700-3A36C5692CF0}">
      <dsp:nvSpPr>
        <dsp:cNvPr id="0" name=""/>
        <dsp:cNvSpPr/>
      </dsp:nvSpPr>
      <dsp:spPr>
        <a:xfrm>
          <a:off x="540798" y="3120194"/>
          <a:ext cx="800338" cy="80033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575DC87-BBB8-4F2D-8D24-513DA086561D}">
      <dsp:nvSpPr>
        <dsp:cNvPr id="0" name=""/>
        <dsp:cNvSpPr/>
      </dsp:nvSpPr>
      <dsp:spPr>
        <a:xfrm>
          <a:off x="482168" y="4160328"/>
          <a:ext cx="6398539" cy="64027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08215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 typeface="Wingdings" panose="05000000000000000000" pitchFamily="2" charset="2"/>
            <a:buNone/>
          </a:pPr>
          <a:r>
            <a:rPr kumimoji="0" lang="en-US" sz="2000" i="0" u="none" strike="noStrike" kern="1200" cap="none" spc="0" normalizeH="0" baseline="0" noProof="0">
              <a:ln/>
              <a:effectLst/>
              <a:uLnTx/>
              <a:uFillTx/>
              <a:latin typeface="Arial"/>
              <a:ea typeface="+mn-ea"/>
              <a:cs typeface="+mn-cs"/>
            </a:rPr>
            <a:t>Human-in-the-loop excellence (Industry 5.0 mindset)</a:t>
          </a:r>
          <a:endParaRPr lang="en-GB" sz="2000" kern="1200" dirty="0"/>
        </a:p>
      </dsp:txBody>
      <dsp:txXfrm>
        <a:off x="482168" y="4160328"/>
        <a:ext cx="6398539" cy="640271"/>
      </dsp:txXfrm>
    </dsp:sp>
    <dsp:sp modelId="{E2EB899E-606B-411A-95CF-BC4B0C38FB21}">
      <dsp:nvSpPr>
        <dsp:cNvPr id="0" name=""/>
        <dsp:cNvSpPr/>
      </dsp:nvSpPr>
      <dsp:spPr>
        <a:xfrm>
          <a:off x="81998" y="4080294"/>
          <a:ext cx="800338" cy="80033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825F829-73EC-4F4C-A9E7-A201158B29D2}">
      <dsp:nvSpPr>
        <dsp:cNvPr id="0" name=""/>
        <dsp:cNvSpPr/>
      </dsp:nvSpPr>
      <dsp:spPr>
        <a:xfrm>
          <a:off x="744" y="823045"/>
          <a:ext cx="2901982" cy="1741189"/>
        </a:xfrm>
        <a:prstGeom prst="rect">
          <a:avLst/>
        </a:prstGeom>
        <a:gradFill rotWithShape="0">
          <a:gsLst>
            <a:gs pos="0">
              <a:schemeClr val="accent1">
                <a:shade val="5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shade val="5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shade val="5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kern="1200" dirty="0">
              <a:latin typeface="+mn-lt"/>
            </a:rPr>
            <a:t>Model error → bad decisions</a:t>
          </a:r>
          <a:endParaRPr lang="en-GB" sz="2000" kern="1200" dirty="0">
            <a:latin typeface="+mn-lt"/>
          </a:endParaRPr>
        </a:p>
      </dsp:txBody>
      <dsp:txXfrm>
        <a:off x="744" y="823045"/>
        <a:ext cx="2901982" cy="1741189"/>
      </dsp:txXfrm>
    </dsp:sp>
    <dsp:sp modelId="{002CD626-CCFB-4E45-BF5A-D3DA5721A5B6}">
      <dsp:nvSpPr>
        <dsp:cNvPr id="0" name=""/>
        <dsp:cNvSpPr/>
      </dsp:nvSpPr>
      <dsp:spPr>
        <a:xfrm>
          <a:off x="3192924" y="823045"/>
          <a:ext cx="2901982" cy="1741189"/>
        </a:xfrm>
        <a:prstGeom prst="rect">
          <a:avLst/>
        </a:prstGeom>
        <a:gradFill rotWithShape="0">
          <a:gsLst>
            <a:gs pos="0">
              <a:srgbClr val="E4610F">
                <a:shade val="5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rgbClr>
            </a:gs>
            <a:gs pos="50000">
              <a:srgbClr val="E4610F">
                <a:shade val="5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rgbClr>
            </a:gs>
            <a:gs pos="100000">
              <a:srgbClr val="E4610F">
                <a:shade val="5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rgb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kern="1200" dirty="0">
              <a:solidFill>
                <a:srgbClr val="FFFFFF"/>
              </a:solidFill>
              <a:latin typeface="+mn-lt"/>
              <a:ea typeface="+mn-ea"/>
              <a:cs typeface="+mn-cs"/>
            </a:rPr>
            <a:t>Security / IP exposure</a:t>
          </a:r>
        </a:p>
      </dsp:txBody>
      <dsp:txXfrm>
        <a:off x="3192924" y="823045"/>
        <a:ext cx="2901982" cy="1741189"/>
      </dsp:txXfrm>
    </dsp:sp>
    <dsp:sp modelId="{A04DF33E-61AE-4241-9F11-8C80322296A7}">
      <dsp:nvSpPr>
        <dsp:cNvPr id="0" name=""/>
        <dsp:cNvSpPr/>
      </dsp:nvSpPr>
      <dsp:spPr>
        <a:xfrm>
          <a:off x="84930" y="2841739"/>
          <a:ext cx="2901982" cy="1741189"/>
        </a:xfrm>
        <a:prstGeom prst="rect">
          <a:avLst/>
        </a:prstGeom>
        <a:gradFill rotWithShape="0">
          <a:gsLst>
            <a:gs pos="0">
              <a:srgbClr val="E4610F">
                <a:shade val="5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rgbClr>
            </a:gs>
            <a:gs pos="50000">
              <a:srgbClr val="E4610F">
                <a:shade val="5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rgbClr>
            </a:gs>
            <a:gs pos="100000">
              <a:srgbClr val="E4610F">
                <a:shade val="5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rgb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kern="1200" dirty="0">
              <a:latin typeface="+mn-lt"/>
            </a:rPr>
            <a:t>Integration fatigue (heterogeneous / legacy </a:t>
          </a:r>
          <a:r>
            <a:rPr lang="en-GB" sz="2000" b="1" kern="1200" dirty="0">
              <a:solidFill>
                <a:srgbClr val="FFFFFF"/>
              </a:solidFill>
              <a:latin typeface="+mn-lt"/>
              <a:ea typeface="+mn-ea"/>
              <a:cs typeface="+mn-cs"/>
            </a:rPr>
            <a:t>systems</a:t>
          </a:r>
          <a:r>
            <a:rPr lang="en-GB" sz="2000" b="1" kern="1200" dirty="0">
              <a:latin typeface="+mn-lt"/>
            </a:rPr>
            <a:t>)</a:t>
          </a:r>
          <a:endParaRPr lang="en-GB" sz="2000" kern="1200" dirty="0">
            <a:latin typeface="+mn-lt"/>
          </a:endParaRPr>
        </a:p>
      </dsp:txBody>
      <dsp:txXfrm>
        <a:off x="84930" y="2841739"/>
        <a:ext cx="2901982" cy="1741189"/>
      </dsp:txXfrm>
    </dsp:sp>
    <dsp:sp modelId="{EF23A1CC-DCB8-482E-B2DB-23ABA79F991C}">
      <dsp:nvSpPr>
        <dsp:cNvPr id="0" name=""/>
        <dsp:cNvSpPr/>
      </dsp:nvSpPr>
      <dsp:spPr>
        <a:xfrm>
          <a:off x="3192924" y="2854432"/>
          <a:ext cx="2901982" cy="1741189"/>
        </a:xfrm>
        <a:prstGeom prst="rect">
          <a:avLst/>
        </a:prstGeom>
        <a:gradFill rotWithShape="0">
          <a:gsLst>
            <a:gs pos="0">
              <a:srgbClr val="E4610F">
                <a:shade val="5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rgbClr>
            </a:gs>
            <a:gs pos="50000">
              <a:srgbClr val="E4610F">
                <a:shade val="5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rgbClr>
            </a:gs>
            <a:gs pos="100000">
              <a:srgbClr val="E4610F">
                <a:shade val="5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rgb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kern="1200" dirty="0">
              <a:solidFill>
                <a:srgbClr val="FFFFFF"/>
              </a:solidFill>
              <a:latin typeface="+mn-lt"/>
              <a:ea typeface="+mn-ea"/>
              <a:cs typeface="+mn-cs"/>
            </a:rPr>
            <a:t>Validation burden</a:t>
          </a:r>
        </a:p>
      </dsp:txBody>
      <dsp:txXfrm>
        <a:off x="3192924" y="2854432"/>
        <a:ext cx="2901982" cy="1741189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5C4C095-AFA4-4FDC-A99C-E897101E1DD2}">
      <dsp:nvSpPr>
        <dsp:cNvPr id="0" name=""/>
        <dsp:cNvSpPr/>
      </dsp:nvSpPr>
      <dsp:spPr>
        <a:xfrm>
          <a:off x="750914" y="292948"/>
          <a:ext cx="1081248" cy="1081248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1005012-FFB4-44EA-89E2-A36C4B209FFB}">
      <dsp:nvSpPr>
        <dsp:cNvPr id="0" name=""/>
        <dsp:cNvSpPr/>
      </dsp:nvSpPr>
      <dsp:spPr>
        <a:xfrm>
          <a:off x="90151" y="1692151"/>
          <a:ext cx="2402775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555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500" kern="1200"/>
            <a:t>Speed</a:t>
          </a:r>
          <a:endParaRPr lang="en-US" sz="3500" kern="1200"/>
        </a:p>
      </dsp:txBody>
      <dsp:txXfrm>
        <a:off x="90151" y="1692151"/>
        <a:ext cx="2402775" cy="720000"/>
      </dsp:txXfrm>
    </dsp:sp>
    <dsp:sp modelId="{6E4601C4-A0FD-4527-9ECB-2C599A81EB34}">
      <dsp:nvSpPr>
        <dsp:cNvPr id="0" name=""/>
        <dsp:cNvSpPr/>
      </dsp:nvSpPr>
      <dsp:spPr>
        <a:xfrm>
          <a:off x="3574175" y="292948"/>
          <a:ext cx="1081248" cy="1081248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A503DD4-5321-4DCB-AA55-2692FAFF3FE4}">
      <dsp:nvSpPr>
        <dsp:cNvPr id="0" name=""/>
        <dsp:cNvSpPr/>
      </dsp:nvSpPr>
      <dsp:spPr>
        <a:xfrm>
          <a:off x="2913412" y="1692151"/>
          <a:ext cx="2402775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555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500" kern="1200"/>
            <a:t>Robustness</a:t>
          </a:r>
          <a:endParaRPr lang="en-US" sz="3500" kern="1200"/>
        </a:p>
      </dsp:txBody>
      <dsp:txXfrm>
        <a:off x="2913412" y="1692151"/>
        <a:ext cx="2402775" cy="720000"/>
      </dsp:txXfrm>
    </dsp:sp>
    <dsp:sp modelId="{439D7426-BCD1-4BE4-9EC5-7173B1988499}">
      <dsp:nvSpPr>
        <dsp:cNvPr id="0" name=""/>
        <dsp:cNvSpPr/>
      </dsp:nvSpPr>
      <dsp:spPr>
        <a:xfrm>
          <a:off x="6397436" y="292948"/>
          <a:ext cx="1081248" cy="1081248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5378F76-B338-4AF1-B3D4-01184DD3439D}">
      <dsp:nvSpPr>
        <dsp:cNvPr id="0" name=""/>
        <dsp:cNvSpPr/>
      </dsp:nvSpPr>
      <dsp:spPr>
        <a:xfrm>
          <a:off x="5736673" y="1692151"/>
          <a:ext cx="2402775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555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500" kern="1200"/>
            <a:t>Trust</a:t>
          </a:r>
          <a:endParaRPr lang="en-US" sz="3500" kern="1200"/>
        </a:p>
      </dsp:txBody>
      <dsp:txXfrm>
        <a:off x="5736673" y="1692151"/>
        <a:ext cx="2402775" cy="72000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DA8C9D8-91DE-4B25-9364-79FCD13D5B9E}">
      <dsp:nvSpPr>
        <dsp:cNvPr id="0" name=""/>
        <dsp:cNvSpPr/>
      </dsp:nvSpPr>
      <dsp:spPr>
        <a:xfrm>
          <a:off x="0" y="791881"/>
          <a:ext cx="2399277" cy="1439566"/>
        </a:xfrm>
        <a:prstGeom prst="rect">
          <a:avLst/>
        </a:prstGeom>
        <a:solidFill>
          <a:schemeClr val="accent1">
            <a:shade val="5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>
              <a:latin typeface="+mn-lt"/>
            </a:rPr>
            <a:t>QbD provides the roadmap</a:t>
          </a:r>
        </a:p>
      </dsp:txBody>
      <dsp:txXfrm>
        <a:off x="0" y="791881"/>
        <a:ext cx="2399277" cy="1439566"/>
      </dsp:txXfrm>
    </dsp:sp>
    <dsp:sp modelId="{73F053A5-7CDB-457F-9A7C-C0886DE80D71}">
      <dsp:nvSpPr>
        <dsp:cNvPr id="0" name=""/>
        <dsp:cNvSpPr/>
      </dsp:nvSpPr>
      <dsp:spPr>
        <a:xfrm>
          <a:off x="2639205" y="791881"/>
          <a:ext cx="2399277" cy="1439566"/>
        </a:xfrm>
        <a:prstGeom prst="rect">
          <a:avLst/>
        </a:prstGeom>
        <a:solidFill>
          <a:srgbClr val="E4610F">
            <a:shade val="50000"/>
            <a:hueOff val="0"/>
            <a:satOff val="0"/>
            <a:lumOff val="0"/>
            <a:alphaOff val="0"/>
          </a:srgb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>
              <a:latin typeface="+mn-lt"/>
            </a:rPr>
            <a:t>Data reality </a:t>
          </a:r>
          <a:r>
            <a:rPr lang="en-GB" sz="2000" kern="1200" dirty="0">
              <a:solidFill>
                <a:srgbClr val="FFFFFF"/>
              </a:solidFill>
              <a:latin typeface="+mn-lt"/>
              <a:ea typeface="+mn-ea"/>
              <a:cs typeface="+mn-cs"/>
            </a:rPr>
            <a:t>demands</a:t>
          </a:r>
          <a:r>
            <a:rPr lang="en-GB" sz="2000" kern="1200" dirty="0">
              <a:latin typeface="+mn-lt"/>
            </a:rPr>
            <a:t> discipline</a:t>
          </a:r>
        </a:p>
      </dsp:txBody>
      <dsp:txXfrm>
        <a:off x="2639205" y="791881"/>
        <a:ext cx="2399277" cy="1439566"/>
      </dsp:txXfrm>
    </dsp:sp>
    <dsp:sp modelId="{E9260BAF-BCD3-48CF-9927-837529E9A237}">
      <dsp:nvSpPr>
        <dsp:cNvPr id="0" name=""/>
        <dsp:cNvSpPr/>
      </dsp:nvSpPr>
      <dsp:spPr>
        <a:xfrm>
          <a:off x="5278410" y="791881"/>
          <a:ext cx="2399277" cy="1439566"/>
        </a:xfrm>
        <a:prstGeom prst="rect">
          <a:avLst/>
        </a:prstGeom>
        <a:solidFill>
          <a:srgbClr val="E4610F">
            <a:shade val="50000"/>
            <a:hueOff val="0"/>
            <a:satOff val="0"/>
            <a:lumOff val="0"/>
            <a:alphaOff val="0"/>
          </a:srgb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>
              <a:latin typeface="+mn-lt"/>
            </a:rPr>
            <a:t>Soft sensing &amp; </a:t>
          </a:r>
          <a:r>
            <a:rPr lang="en-GB" sz="2000" kern="1200" dirty="0">
              <a:solidFill>
                <a:srgbClr val="FFFFFF"/>
              </a:solidFill>
              <a:latin typeface="+mn-lt"/>
              <a:ea typeface="+mn-ea"/>
              <a:cs typeface="+mn-cs"/>
            </a:rPr>
            <a:t>fusion</a:t>
          </a:r>
          <a:r>
            <a:rPr lang="en-GB" sz="2000" kern="1200" dirty="0">
              <a:latin typeface="+mn-lt"/>
            </a:rPr>
            <a:t> are </a:t>
          </a:r>
          <a:r>
            <a:rPr lang="en-GB" sz="2000" kern="1200" dirty="0">
              <a:solidFill>
                <a:srgbClr val="FFFFFF"/>
              </a:solidFill>
              <a:latin typeface="+mn-lt"/>
              <a:ea typeface="+mn-ea"/>
              <a:cs typeface="+mn-cs"/>
            </a:rPr>
            <a:t>central</a:t>
          </a:r>
        </a:p>
      </dsp:txBody>
      <dsp:txXfrm>
        <a:off x="5278410" y="791881"/>
        <a:ext cx="2399277" cy="1439566"/>
      </dsp:txXfrm>
    </dsp:sp>
    <dsp:sp modelId="{B08471CC-BF19-4DB8-9605-2A42027472EB}">
      <dsp:nvSpPr>
        <dsp:cNvPr id="0" name=""/>
        <dsp:cNvSpPr/>
      </dsp:nvSpPr>
      <dsp:spPr>
        <a:xfrm>
          <a:off x="1319602" y="2471375"/>
          <a:ext cx="2399277" cy="1439566"/>
        </a:xfrm>
        <a:prstGeom prst="rect">
          <a:avLst/>
        </a:prstGeom>
        <a:solidFill>
          <a:srgbClr val="E4610F">
            <a:shade val="50000"/>
            <a:hueOff val="0"/>
            <a:satOff val="0"/>
            <a:lumOff val="0"/>
            <a:alphaOff val="0"/>
          </a:srgb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>
              <a:latin typeface="+mn-lt"/>
            </a:rPr>
            <a:t>Uncertainty &amp; drift must be </a:t>
          </a:r>
          <a:r>
            <a:rPr lang="en-GB" sz="2000" kern="1200" dirty="0">
              <a:solidFill>
                <a:srgbClr val="FFFFFF"/>
              </a:solidFill>
              <a:latin typeface="+mn-lt"/>
              <a:ea typeface="+mn-ea"/>
              <a:cs typeface="+mn-cs"/>
            </a:rPr>
            <a:t>explicit</a:t>
          </a:r>
        </a:p>
      </dsp:txBody>
      <dsp:txXfrm>
        <a:off x="1319602" y="2471375"/>
        <a:ext cx="2399277" cy="1439566"/>
      </dsp:txXfrm>
    </dsp:sp>
    <dsp:sp modelId="{AF5B16E4-F285-4ADF-88A3-BB58C60796DC}">
      <dsp:nvSpPr>
        <dsp:cNvPr id="0" name=""/>
        <dsp:cNvSpPr/>
      </dsp:nvSpPr>
      <dsp:spPr>
        <a:xfrm>
          <a:off x="3958807" y="2471375"/>
          <a:ext cx="2399277" cy="1439566"/>
        </a:xfrm>
        <a:prstGeom prst="rect">
          <a:avLst/>
        </a:prstGeom>
        <a:solidFill>
          <a:srgbClr val="E4610F">
            <a:shade val="50000"/>
            <a:hueOff val="0"/>
            <a:satOff val="0"/>
            <a:lumOff val="0"/>
            <a:alphaOff val="0"/>
          </a:srgb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>
              <a:latin typeface="+mn-lt"/>
            </a:rPr>
            <a:t>DT maturity </a:t>
          </a:r>
          <a:r>
            <a:rPr lang="en-GB" sz="2000" kern="1200" dirty="0">
              <a:solidFill>
                <a:srgbClr val="FFFFFF"/>
              </a:solidFill>
              <a:latin typeface="+mn-lt"/>
              <a:ea typeface="+mn-ea"/>
              <a:cs typeface="+mn-cs"/>
            </a:rPr>
            <a:t>levels</a:t>
          </a:r>
          <a:r>
            <a:rPr lang="en-GB" sz="2000" kern="1200" dirty="0">
              <a:latin typeface="+mn-lt"/>
            </a:rPr>
            <a:t> matter</a:t>
          </a:r>
        </a:p>
      </dsp:txBody>
      <dsp:txXfrm>
        <a:off x="3958807" y="2471375"/>
        <a:ext cx="2399277" cy="143956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diagrams.loki3.com/VaryingWidthList">
  <dgm:title val="Varying Width List"/>
  <dgm:desc val="Use for emphasizing items of different weights.  Good for large amounts of Level 1 text.  The width of each shape is independently determined based on its text."/>
  <dgm:catLst>
    <dgm:cat type="list" pri="4160"/>
    <dgm:cat type="officeonline" pri="5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text" val="20"/>
      <dgm:constr type="h" for="ch" forName="text" refType="h"/>
      <dgm:constr type="primFontSz" for="ch" forName="text" op="equ" val="65"/>
      <dgm:constr type="h" for="ch" forName="space" refType="h" fact="0.05"/>
    </dgm:constrLst>
    <dgm:forEach name="Name1" axis="ch" ptType="node">
      <dgm:layoutNode name="text" styleLbl="node1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tMarg" refType="primFontSz" fact="0.2"/>
          <dgm:constr type="bMarg" refType="primFontSz" fact="0.2"/>
          <dgm:constr type="lMarg" refType="primFontSz" fact="0.2"/>
          <dgm:constr type="rMarg" refType="primFontSz" fact="0.2"/>
        </dgm:constrLst>
        <dgm:ruleLst>
          <dgm:rule type="w" val="INF" fact="NaN" max="NaN"/>
          <dgm:rule type="primFontSz" val="5" fact="NaN" max="NaN"/>
        </dgm:ruleLst>
      </dgm:layoutNode>
      <dgm:choose name="Name2">
        <dgm:if name="Name3" axis="par ch" ptType="doc node" func="cnt" op="gte" val="2">
          <dgm:forEach name="Name4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if>
        <dgm:else name="Name5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18/2/layout/IconLabelList">
  <dgm:title val="Icon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2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50"/>
          <dgm:constr type="h" for="des" forName="compNode" op="equ"/>
          <dgm:constr type="h" for="des" forName="textRect" op="equ"/>
        </dgm:constrLst>
      </dgm:if>
      <dgm:if name="Name5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6"/>
          <dgm:constr type="h" for="des" forName="compNode" op="equ"/>
          <dgm:constr type="h" for="des" forName="textRect" op="equ"/>
        </dgm:constrLst>
      </dgm:if>
      <dgm:else name="Name6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7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4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h" for="ch" forName="spaceRect" refType="h" fact="0.15"/>
          <dgm:constr type="w" for="ch" forName="spaceRect" refType="w"/>
          <dgm:constr type="l" for="ch" forName="spaceRect"/>
          <dgm:constr type="t" for="ch" forName="spaceRect" refType="b" refFor="ch" refForName="icon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8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E4A7D76B-61B5-5962-7B10-9A485A4652C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900AE216-5164-F4EB-3F4D-1C3F19B1020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26A72EA-43CD-4EB3-8D88-9DC7C59467EA}" type="datetimeFigureOut">
              <a:rPr lang="en-US" smtClean="0"/>
              <a:t>10/5/2025</a:t>
            </a:fld>
            <a:endParaRPr lang="en-U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BE76CFE-021B-B711-87BF-5E18F3D2816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7AF9A980-360B-6F22-F787-0ED0B4859A3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23425A-F1F6-4FD2-8317-59F77D93C0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57154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2E746CB-6D20-4AC3-9B92-6C76BB0AD50F}" type="datetimeFigureOut">
              <a:rPr lang="en-GB" smtClean="0"/>
              <a:t>05/10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B2863A-C9CD-415B-87DC-658E03407F7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31458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B2863A-C9CD-415B-87DC-658E03407F7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51138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lnSpc>
                <a:spcPts val="1823"/>
              </a:lnSpc>
            </a:pPr>
            <a:endParaRPr lang="en-US" b="0" i="0" dirty="0">
              <a:solidFill>
                <a:srgbClr val="404659"/>
              </a:solidFill>
              <a:effectLst/>
              <a:latin typeface="Helvetica Neue"/>
            </a:endParaRPr>
          </a:p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15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8DF254-2EC7-45F9-BD30-BE0E7C158C9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15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28339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55D975-364E-1FD7-B775-10C42D1C06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A51C84E3-FA47-5EE7-A915-E3F861A5D9D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17114B9A-F20F-D13E-8B1B-1371E39902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6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E1786FA-DDC1-38FD-0C49-535D77C01C7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15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8DF254-2EC7-45F9-BD30-BE0E7C158C9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15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61449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ABAF3B-9D71-590A-F981-733A506934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414A39C5-B841-879E-55FE-743797EF3B5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28ADE283-026B-47E9-983A-8131F494D48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6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EBE877F-AEB2-E747-233E-4A974F3684F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15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8DF254-2EC7-45F9-BD30-BE0E7C158C9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15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97865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F3DAE8-C570-C0E3-A427-9A8D1BDAF7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C790228-4AFE-25D1-B35A-7500E579A99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377EB54-1290-706B-0B47-62AD013C4C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95228C-CBDD-2763-4743-A03E5E7E7EA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B2863A-C9CD-415B-87DC-658E03407F7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14125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8DF254-2EC7-45F9-BD30-BE0E7C158C9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78014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945F05-C147-850C-5903-421D57DDBB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2687059-93D9-7D1D-2D04-AA8481CEC3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19E6F6C-109C-908C-8E03-3AB1DA077D0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GB" sz="1050" dirty="0"/>
              <a:t>Gary/Dara</a:t>
            </a:r>
            <a:endParaRPr lang="en-IE" sz="105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3960B2-DDE7-58EE-6329-7300E372435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15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8DF254-2EC7-45F9-BD30-BE0E7C158C9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15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80869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svg"/><Relationship Id="rId7" Type="http://schemas.openxmlformats.org/officeDocument/2006/relationships/image" Target="../media/image19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8.png"/><Relationship Id="rId5" Type="http://schemas.openxmlformats.org/officeDocument/2006/relationships/image" Target="../media/image17.svg"/><Relationship Id="rId4" Type="http://schemas.openxmlformats.org/officeDocument/2006/relationships/image" Target="../media/image16.png"/><Relationship Id="rId9" Type="http://schemas.openxmlformats.org/officeDocument/2006/relationships/image" Target="../media/image21.svg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2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2.xml"/></Relationships>
</file>

<file path=ppt/slideLayouts/_rels/slideLayout3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4.xml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5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5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3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5.xml"/></Relationships>
</file>

<file path=ppt/slideLayouts/_rels/slideLayout3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36FC3B7-CE63-45A8-AF2C-CCB25DA9F1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286000"/>
            <a:ext cx="11277600" cy="1371600"/>
          </a:xfrm>
          <a:prstGeom prst="rect">
            <a:avLst/>
          </a:prstGeom>
        </p:spPr>
        <p:txBody>
          <a:bodyPr lIns="228600" tIns="0" rIns="0" bIns="0"/>
          <a:lstStyle>
            <a:lvl1pPr>
              <a:spcBef>
                <a:spcPts val="0"/>
              </a:spcBef>
              <a:spcAft>
                <a:spcPts val="0"/>
              </a:spcAft>
              <a:defRPr sz="5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Presentation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E5723794-4E50-48A6-BA6C-7CDB91BB63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4103370"/>
            <a:ext cx="11277600" cy="228600"/>
          </a:xfrm>
          <a:prstGeom prst="rect">
            <a:avLst/>
          </a:prstGeom>
        </p:spPr>
        <p:txBody>
          <a:bodyPr lIns="228600" tIns="0" rIns="0" bIns="0"/>
          <a:lstStyle>
            <a:lvl1pPr>
              <a:spcBef>
                <a:spcPts val="600"/>
              </a:spcBef>
              <a:spcAft>
                <a:spcPts val="1200"/>
              </a:spcAft>
              <a:defRPr sz="21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60CA5305-0A60-41DB-809C-6E372BA944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4572000"/>
            <a:ext cx="11277600" cy="228600"/>
          </a:xfrm>
          <a:prstGeom prst="rect">
            <a:avLst/>
          </a:prstGeom>
        </p:spPr>
        <p:txBody>
          <a:bodyPr lIns="228600" tIns="0" rIns="0" bIns="0"/>
          <a:lstStyle>
            <a:lvl1pPr>
              <a:spcBef>
                <a:spcPts val="600"/>
              </a:spcBef>
              <a:spcAft>
                <a:spcPts val="1200"/>
              </a:spcAft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FF36F7F-DFD5-488F-BF1B-D5D46E56948D}"/>
              </a:ext>
            </a:extLst>
          </p:cNvPr>
          <p:cNvSpPr/>
          <p:nvPr userDrawn="1"/>
        </p:nvSpPr>
        <p:spPr>
          <a:xfrm>
            <a:off x="457200" y="914400"/>
            <a:ext cx="11277600" cy="5486400"/>
          </a:xfrm>
          <a:prstGeom prst="rect">
            <a:avLst/>
          </a:prstGeom>
          <a:noFill/>
          <a:ln w="50800" cmpd="sng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57596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tint block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C43E271-585A-4BE6-84C9-3787B822945E}"/>
              </a:ext>
            </a:extLst>
          </p:cNvPr>
          <p:cNvSpPr/>
          <p:nvPr userDrawn="1"/>
        </p:nvSpPr>
        <p:spPr>
          <a:xfrm>
            <a:off x="0" y="0"/>
            <a:ext cx="4038600" cy="6857999"/>
          </a:xfrm>
          <a:prstGeom prst="rect">
            <a:avLst/>
          </a:prstGeom>
          <a:solidFill>
            <a:srgbClr val="E7E6E6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Date Placeholder 2">
            <a:extLst>
              <a:ext uri="{FF2B5EF4-FFF2-40B4-BE49-F238E27FC236}">
                <a16:creationId xmlns:a16="http://schemas.microsoft.com/office/drawing/2014/main" id="{F7EFBD7E-84AE-4193-97A7-6053CA8057A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67800" y="6446837"/>
            <a:ext cx="17145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C2C1C1"/>
                </a:solidFill>
              </a:defRPr>
            </a:lvl1pPr>
          </a:lstStyle>
          <a:p>
            <a:fld id="{728B004E-4B0B-4DF1-AA0F-92C7B3BE2D33}" type="datetime3">
              <a:rPr lang="en-US" smtClean="0"/>
              <a:t>5 October 2025</a:t>
            </a:fld>
            <a:endParaRPr lang="en-US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06ED1264-F351-4CA8-9D38-F5167E4E7F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446837"/>
            <a:ext cx="1676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C2C1C1"/>
                </a:solidFill>
              </a:defRPr>
            </a:lvl1pPr>
          </a:lstStyle>
          <a:p>
            <a:r>
              <a:rPr lang="en-US"/>
              <a:t>© Arcadis 2020</a:t>
            </a:r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574CAA3B-8EAA-4562-9B16-819D52DA0A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0900" y="6446837"/>
            <a:ext cx="7239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FE63AA4-120D-435A-A130-F49443AF7CB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81AFEDCA-5DFA-4012-BB79-36C20DA068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1835726"/>
            <a:ext cx="3366654" cy="1593273"/>
          </a:xfrm>
        </p:spPr>
        <p:txBody>
          <a:bodyPr rIns="90000">
            <a:noAutofit/>
          </a:bodyPr>
          <a:lstStyle>
            <a:lvl1pPr>
              <a:lnSpc>
                <a:spcPct val="90000"/>
              </a:lnSpc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F68EE003-0251-496B-8C8B-76B18E7545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3657600"/>
            <a:ext cx="3366655" cy="1600200"/>
          </a:xfrm>
          <a:prstGeom prst="rect">
            <a:avLst/>
          </a:prstGeom>
        </p:spPr>
        <p:txBody>
          <a:bodyPr lIns="0" tIns="0" rIns="90000" bIns="0"/>
          <a:lstStyle>
            <a:lvl1pPr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4FCD446E-D362-46C5-91D6-8B0C743A3773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267200" y="914400"/>
            <a:ext cx="7467600" cy="45720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11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diagram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428C9DA-F3D9-FB47-BFD9-EAA7267167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6200" y="457200"/>
            <a:ext cx="1498600" cy="228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035022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Agenda AEC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Cover_Picture">
            <a:extLst>
              <a:ext uri="{FF2B5EF4-FFF2-40B4-BE49-F238E27FC236}">
                <a16:creationId xmlns:a16="http://schemas.microsoft.com/office/drawing/2014/main" id="{896CAC2A-7EBB-41F0-AFC8-971B96DDCA3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2" y="0"/>
            <a:ext cx="12189883" cy="68580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grpSp>
        <p:nvGrpSpPr>
          <p:cNvPr id="22" name="Agenda: 6 x Boxes" hidden="1">
            <a:extLst>
              <a:ext uri="{FF2B5EF4-FFF2-40B4-BE49-F238E27FC236}">
                <a16:creationId xmlns:a16="http://schemas.microsoft.com/office/drawing/2014/main" id="{D2153CA5-6E64-4162-9710-F5FE146F8FFF}"/>
              </a:ext>
            </a:extLst>
          </p:cNvPr>
          <p:cNvGrpSpPr/>
          <p:nvPr userDrawn="1"/>
        </p:nvGrpSpPr>
        <p:grpSpPr>
          <a:xfrm>
            <a:off x="454464" y="3763128"/>
            <a:ext cx="11295450" cy="2620796"/>
            <a:chOff x="454464" y="3763128"/>
            <a:chExt cx="11295450" cy="2620796"/>
          </a:xfrm>
        </p:grpSpPr>
        <p:grpSp>
          <p:nvGrpSpPr>
            <p:cNvPr id="23" name="Topic 6">
              <a:extLst>
                <a:ext uri="{FF2B5EF4-FFF2-40B4-BE49-F238E27FC236}">
                  <a16:creationId xmlns:a16="http://schemas.microsoft.com/office/drawing/2014/main" id="{F3B211EB-89BA-4B03-BDC4-DBD1F3C405A7}"/>
                </a:ext>
              </a:extLst>
            </p:cNvPr>
            <p:cNvGrpSpPr/>
            <p:nvPr/>
          </p:nvGrpSpPr>
          <p:grpSpPr>
            <a:xfrm>
              <a:off x="8336991" y="5145332"/>
              <a:ext cx="3412923" cy="1238592"/>
              <a:chOff x="8336991" y="5145332"/>
              <a:chExt cx="3412923" cy="1238592"/>
            </a:xfrm>
          </p:grpSpPr>
          <p:sp>
            <p:nvSpPr>
              <p:cNvPr id="84" name="Box 6">
                <a:hlinkClick r:id="" action="ppaction://noaction"/>
                <a:extLst>
                  <a:ext uri="{FF2B5EF4-FFF2-40B4-BE49-F238E27FC236}">
                    <a16:creationId xmlns:a16="http://schemas.microsoft.com/office/drawing/2014/main" id="{36F039D3-DB56-415B-89AD-D964495FA700}"/>
                  </a:ext>
                </a:extLst>
              </p:cNvPr>
              <p:cNvSpPr/>
              <p:nvPr userDrawn="1"/>
            </p:nvSpPr>
            <p:spPr>
              <a:xfrm>
                <a:off x="8336991" y="5152570"/>
                <a:ext cx="3412923" cy="1231354"/>
              </a:xfrm>
              <a:custGeom>
                <a:avLst/>
                <a:gdLst/>
                <a:ahLst/>
                <a:cxnLst/>
                <a:rect l="l" t="t" r="r" b="b"/>
                <a:pathLst>
                  <a:path w="2268220" h="1080135">
                    <a:moveTo>
                      <a:pt x="0" y="1079995"/>
                    </a:moveTo>
                    <a:lnTo>
                      <a:pt x="2268004" y="1079995"/>
                    </a:lnTo>
                    <a:lnTo>
                      <a:pt x="2268004" y="0"/>
                    </a:lnTo>
                    <a:lnTo>
                      <a:pt x="0" y="0"/>
                    </a:lnTo>
                    <a:lnTo>
                      <a:pt x="0" y="1079995"/>
                    </a:lnTo>
                    <a:close/>
                  </a:path>
                </a:pathLst>
              </a:custGeom>
              <a:solidFill>
                <a:srgbClr val="1D1D1D">
                  <a:alpha val="80000"/>
                </a:srgbClr>
              </a:solidFill>
            </p:spPr>
            <p:txBody>
              <a:bodyPr wrap="square" lIns="0" tIns="0" rIns="0" bIns="0" rtlCol="0"/>
              <a:lstStyle/>
              <a:p>
                <a:pPr marL="0" marR="0" lvl="0" indent="0" algn="l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795" b="0" i="0" u="none" strike="noStrike" kern="0" cap="none" spc="0" normalizeH="0" baseline="0" noProof="0">
                  <a:ln>
                    <a:noFill/>
                  </a:ln>
                  <a:solidFill>
                    <a:srgbClr val="1D1D1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5" name="Line 6">
                <a:extLst>
                  <a:ext uri="{FF2B5EF4-FFF2-40B4-BE49-F238E27FC236}">
                    <a16:creationId xmlns:a16="http://schemas.microsoft.com/office/drawing/2014/main" id="{185E93B5-6834-4DD0-8B99-41FFB927387D}"/>
                  </a:ext>
                </a:extLst>
              </p:cNvPr>
              <p:cNvSpPr/>
              <p:nvPr userDrawn="1"/>
            </p:nvSpPr>
            <p:spPr>
              <a:xfrm>
                <a:off x="8336991" y="5145332"/>
                <a:ext cx="3412923" cy="28956"/>
              </a:xfrm>
              <a:custGeom>
                <a:avLst/>
                <a:gdLst/>
                <a:ahLst/>
                <a:cxnLst/>
                <a:rect l="l" t="t" r="r" b="b"/>
                <a:pathLst>
                  <a:path w="2268220" h="25400">
                    <a:moveTo>
                      <a:pt x="0" y="25400"/>
                    </a:moveTo>
                    <a:lnTo>
                      <a:pt x="2268004" y="25400"/>
                    </a:lnTo>
                    <a:lnTo>
                      <a:pt x="2268004" y="0"/>
                    </a:lnTo>
                    <a:lnTo>
                      <a:pt x="0" y="0"/>
                    </a:lnTo>
                    <a:lnTo>
                      <a:pt x="0" y="2540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wrap="square" lIns="0" tIns="0" rIns="0" bIns="0" rtlCol="0"/>
              <a:lstStyle/>
              <a:p>
                <a:pPr marL="0" marR="0" lvl="0" indent="0" algn="l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795" b="0" i="0" u="none" strike="noStrike" kern="0" cap="none" spc="0" normalizeH="0" baseline="0" noProof="0">
                  <a:ln>
                    <a:noFill/>
                  </a:ln>
                  <a:solidFill>
                    <a:srgbClr val="1D1D1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6" name="Topic 6">
                <a:extLst>
                  <a:ext uri="{FF2B5EF4-FFF2-40B4-BE49-F238E27FC236}">
                    <a16:creationId xmlns:a16="http://schemas.microsoft.com/office/drawing/2014/main" id="{4227CB67-0974-4BDD-ADE6-3108C35D59B3}"/>
                  </a:ext>
                </a:extLst>
              </p:cNvPr>
              <p:cNvSpPr txBox="1"/>
              <p:nvPr userDrawn="1"/>
            </p:nvSpPr>
            <p:spPr>
              <a:xfrm>
                <a:off x="9074606" y="5292309"/>
                <a:ext cx="2675308" cy="861774"/>
              </a:xfrm>
              <a:prstGeom prst="rect">
                <a:avLst/>
              </a:prstGeom>
              <a:noFill/>
            </p:spPr>
            <p:txBody>
              <a:bodyPr wrap="square" lIns="0" tIns="0" rIns="108000" bIns="0" rtlCol="0">
                <a:spAutoFit/>
              </a:bodyPr>
              <a:lstStyle/>
              <a:p>
                <a:pPr marL="0" marR="0" lvl="0" indent="0" algn="r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795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Black" panose="020B0A04020102020204" pitchFamily="34" charset="0"/>
                    <a:ea typeface="+mn-ea"/>
                    <a:cs typeface="+mn-cs"/>
                  </a:rPr>
                  <a:t>Topic 6</a:t>
                </a:r>
              </a:p>
              <a:p>
                <a:pPr marL="0" marR="0" lvl="0" indent="0" algn="r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95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endParaRPr>
              </a:p>
              <a:p>
                <a:pPr marL="0" marR="0" lvl="0" indent="0" algn="r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a-DK" sz="998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Lorem ipsum dolor sit amet consetetur</a:t>
                </a:r>
                <a:endParaRPr kumimoji="0" lang="de-DE" sz="1995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  <a:p>
                <a:pPr marL="0" marR="0" lvl="0" indent="0" algn="r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998" b="0" i="0" u="none" strike="noStrike" kern="0" cap="none" spc="0" normalizeH="0" baseline="0" noProof="0">
                  <a:ln>
                    <a:noFill/>
                  </a:ln>
                  <a:solidFill>
                    <a:srgbClr val="1D1D1D">
                      <a:lumMod val="10000"/>
                      <a:lumOff val="9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87" name="Icon: Topic 6" hidden="1">
                <a:extLst>
                  <a:ext uri="{FF2B5EF4-FFF2-40B4-BE49-F238E27FC236}">
                    <a16:creationId xmlns:a16="http://schemas.microsoft.com/office/drawing/2014/main" id="{9EEDB4A1-97E1-414A-8E86-8AD14CA5002E}"/>
                  </a:ext>
                </a:extLst>
              </p:cNvPr>
              <p:cNvGrpSpPr/>
              <p:nvPr/>
            </p:nvGrpSpPr>
            <p:grpSpPr>
              <a:xfrm>
                <a:off x="8539746" y="5348168"/>
                <a:ext cx="618341" cy="618336"/>
                <a:chOff x="8539746" y="5348168"/>
                <a:chExt cx="618341" cy="618336"/>
              </a:xfrm>
            </p:grpSpPr>
            <p:sp>
              <p:nvSpPr>
                <p:cNvPr id="89" name="Freeform">
                  <a:extLst>
                    <a:ext uri="{FF2B5EF4-FFF2-40B4-BE49-F238E27FC236}">
                      <a16:creationId xmlns:a16="http://schemas.microsoft.com/office/drawing/2014/main" id="{5E085DC0-90E5-4B09-AAF7-7FB705C8396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644747" y="5457835"/>
                  <a:ext cx="267753" cy="56584"/>
                </a:xfrm>
                <a:custGeom>
                  <a:avLst/>
                  <a:gdLst>
                    <a:gd name="T0" fmla="*/ 173 w 193"/>
                    <a:gd name="T1" fmla="*/ 0 h 41"/>
                    <a:gd name="T2" fmla="*/ 20 w 193"/>
                    <a:gd name="T3" fmla="*/ 0 h 41"/>
                    <a:gd name="T4" fmla="*/ 0 w 193"/>
                    <a:gd name="T5" fmla="*/ 21 h 41"/>
                    <a:gd name="T6" fmla="*/ 20 w 193"/>
                    <a:gd name="T7" fmla="*/ 41 h 41"/>
                    <a:gd name="T8" fmla="*/ 173 w 193"/>
                    <a:gd name="T9" fmla="*/ 41 h 41"/>
                    <a:gd name="T10" fmla="*/ 193 w 193"/>
                    <a:gd name="T11" fmla="*/ 21 h 41"/>
                    <a:gd name="T12" fmla="*/ 173 w 193"/>
                    <a:gd name="T13" fmla="*/ 0 h 41"/>
                    <a:gd name="T14" fmla="*/ 173 w 193"/>
                    <a:gd name="T15" fmla="*/ 0 h 41"/>
                    <a:gd name="T16" fmla="*/ 173 w 193"/>
                    <a:gd name="T17" fmla="*/ 0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93" h="41">
                      <a:moveTo>
                        <a:pt x="17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9" y="0"/>
                        <a:pt x="0" y="10"/>
                        <a:pt x="0" y="21"/>
                      </a:cubicBezTo>
                      <a:cubicBezTo>
                        <a:pt x="0" y="32"/>
                        <a:pt x="9" y="41"/>
                        <a:pt x="20" y="41"/>
                      </a:cubicBezTo>
                      <a:cubicBezTo>
                        <a:pt x="173" y="41"/>
                        <a:pt x="173" y="41"/>
                        <a:pt x="173" y="41"/>
                      </a:cubicBezTo>
                      <a:cubicBezTo>
                        <a:pt x="184" y="41"/>
                        <a:pt x="193" y="32"/>
                        <a:pt x="193" y="21"/>
                      </a:cubicBezTo>
                      <a:cubicBezTo>
                        <a:pt x="193" y="10"/>
                        <a:pt x="184" y="0"/>
                        <a:pt x="173" y="0"/>
                      </a:cubicBezTo>
                      <a:close/>
                      <a:moveTo>
                        <a:pt x="173" y="0"/>
                      </a:moveTo>
                      <a:cubicBezTo>
                        <a:pt x="173" y="0"/>
                        <a:pt x="173" y="0"/>
                        <a:pt x="173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2098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58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0" name="Freeform">
                  <a:extLst>
                    <a:ext uri="{FF2B5EF4-FFF2-40B4-BE49-F238E27FC236}">
                      <a16:creationId xmlns:a16="http://schemas.microsoft.com/office/drawing/2014/main" id="{DB77946E-1188-4C9F-AEE1-AD6202D8B7F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644747" y="5564586"/>
                  <a:ext cx="267753" cy="55417"/>
                </a:xfrm>
                <a:custGeom>
                  <a:avLst/>
                  <a:gdLst>
                    <a:gd name="T0" fmla="*/ 193 w 193"/>
                    <a:gd name="T1" fmla="*/ 20 h 40"/>
                    <a:gd name="T2" fmla="*/ 173 w 193"/>
                    <a:gd name="T3" fmla="*/ 0 h 40"/>
                    <a:gd name="T4" fmla="*/ 20 w 193"/>
                    <a:gd name="T5" fmla="*/ 0 h 40"/>
                    <a:gd name="T6" fmla="*/ 0 w 193"/>
                    <a:gd name="T7" fmla="*/ 20 h 40"/>
                    <a:gd name="T8" fmla="*/ 20 w 193"/>
                    <a:gd name="T9" fmla="*/ 40 h 40"/>
                    <a:gd name="T10" fmla="*/ 173 w 193"/>
                    <a:gd name="T11" fmla="*/ 40 h 40"/>
                    <a:gd name="T12" fmla="*/ 193 w 193"/>
                    <a:gd name="T13" fmla="*/ 20 h 40"/>
                    <a:gd name="T14" fmla="*/ 193 w 193"/>
                    <a:gd name="T15" fmla="*/ 20 h 40"/>
                    <a:gd name="T16" fmla="*/ 193 w 193"/>
                    <a:gd name="T17" fmla="*/ 20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93" h="40">
                      <a:moveTo>
                        <a:pt x="193" y="20"/>
                      </a:moveTo>
                      <a:cubicBezTo>
                        <a:pt x="193" y="9"/>
                        <a:pt x="184" y="0"/>
                        <a:pt x="173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9" y="0"/>
                        <a:pt x="0" y="9"/>
                        <a:pt x="0" y="20"/>
                      </a:cubicBezTo>
                      <a:cubicBezTo>
                        <a:pt x="0" y="31"/>
                        <a:pt x="9" y="40"/>
                        <a:pt x="20" y="40"/>
                      </a:cubicBezTo>
                      <a:cubicBezTo>
                        <a:pt x="173" y="40"/>
                        <a:pt x="173" y="40"/>
                        <a:pt x="173" y="40"/>
                      </a:cubicBezTo>
                      <a:cubicBezTo>
                        <a:pt x="184" y="40"/>
                        <a:pt x="193" y="31"/>
                        <a:pt x="193" y="20"/>
                      </a:cubicBezTo>
                      <a:close/>
                      <a:moveTo>
                        <a:pt x="193" y="20"/>
                      </a:moveTo>
                      <a:cubicBezTo>
                        <a:pt x="193" y="20"/>
                        <a:pt x="193" y="20"/>
                        <a:pt x="193" y="2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2098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58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1" name="Freeform">
                  <a:extLst>
                    <a:ext uri="{FF2B5EF4-FFF2-40B4-BE49-F238E27FC236}">
                      <a16:creationId xmlns:a16="http://schemas.microsoft.com/office/drawing/2014/main" id="{FD0CA4F9-CA31-4CD3-9B76-2E8FECD8A66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644747" y="5669586"/>
                  <a:ext cx="162752" cy="56000"/>
                </a:xfrm>
                <a:custGeom>
                  <a:avLst/>
                  <a:gdLst>
                    <a:gd name="T0" fmla="*/ 96 w 117"/>
                    <a:gd name="T1" fmla="*/ 40 h 40"/>
                    <a:gd name="T2" fmla="*/ 117 w 117"/>
                    <a:gd name="T3" fmla="*/ 20 h 40"/>
                    <a:gd name="T4" fmla="*/ 96 w 117"/>
                    <a:gd name="T5" fmla="*/ 0 h 40"/>
                    <a:gd name="T6" fmla="*/ 20 w 117"/>
                    <a:gd name="T7" fmla="*/ 0 h 40"/>
                    <a:gd name="T8" fmla="*/ 0 w 117"/>
                    <a:gd name="T9" fmla="*/ 20 h 40"/>
                    <a:gd name="T10" fmla="*/ 20 w 117"/>
                    <a:gd name="T11" fmla="*/ 40 h 40"/>
                    <a:gd name="T12" fmla="*/ 96 w 117"/>
                    <a:gd name="T13" fmla="*/ 40 h 40"/>
                    <a:gd name="T14" fmla="*/ 96 w 117"/>
                    <a:gd name="T15" fmla="*/ 40 h 40"/>
                    <a:gd name="T16" fmla="*/ 96 w 117"/>
                    <a:gd name="T17" fmla="*/ 40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7" h="40">
                      <a:moveTo>
                        <a:pt x="96" y="40"/>
                      </a:moveTo>
                      <a:cubicBezTo>
                        <a:pt x="108" y="40"/>
                        <a:pt x="117" y="31"/>
                        <a:pt x="117" y="20"/>
                      </a:cubicBezTo>
                      <a:cubicBezTo>
                        <a:pt x="117" y="9"/>
                        <a:pt x="108" y="0"/>
                        <a:pt x="96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9" y="0"/>
                        <a:pt x="0" y="9"/>
                        <a:pt x="0" y="20"/>
                      </a:cubicBezTo>
                      <a:cubicBezTo>
                        <a:pt x="0" y="31"/>
                        <a:pt x="9" y="40"/>
                        <a:pt x="20" y="40"/>
                      </a:cubicBezTo>
                      <a:lnTo>
                        <a:pt x="96" y="40"/>
                      </a:lnTo>
                      <a:close/>
                      <a:moveTo>
                        <a:pt x="96" y="40"/>
                      </a:moveTo>
                      <a:cubicBezTo>
                        <a:pt x="96" y="40"/>
                        <a:pt x="96" y="40"/>
                        <a:pt x="96" y="4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2098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58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2" name="Freeform">
                  <a:extLst>
                    <a:ext uri="{FF2B5EF4-FFF2-40B4-BE49-F238E27FC236}">
                      <a16:creationId xmlns:a16="http://schemas.microsoft.com/office/drawing/2014/main" id="{BEE8A0B3-3D82-4226-A59B-1C9EDE7B673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539746" y="5348168"/>
                  <a:ext cx="478339" cy="618336"/>
                </a:xfrm>
                <a:custGeom>
                  <a:avLst/>
                  <a:gdLst>
                    <a:gd name="T0" fmla="*/ 326 w 345"/>
                    <a:gd name="T1" fmla="*/ 341 h 446"/>
                    <a:gd name="T2" fmla="*/ 304 w 345"/>
                    <a:gd name="T3" fmla="*/ 355 h 446"/>
                    <a:gd name="T4" fmla="*/ 304 w 345"/>
                    <a:gd name="T5" fmla="*/ 406 h 446"/>
                    <a:gd name="T6" fmla="*/ 41 w 345"/>
                    <a:gd name="T7" fmla="*/ 406 h 446"/>
                    <a:gd name="T8" fmla="*/ 41 w 345"/>
                    <a:gd name="T9" fmla="*/ 41 h 446"/>
                    <a:gd name="T10" fmla="*/ 304 w 345"/>
                    <a:gd name="T11" fmla="*/ 41 h 446"/>
                    <a:gd name="T12" fmla="*/ 304 w 345"/>
                    <a:gd name="T13" fmla="*/ 121 h 446"/>
                    <a:gd name="T14" fmla="*/ 345 w 345"/>
                    <a:gd name="T15" fmla="*/ 50 h 446"/>
                    <a:gd name="T16" fmla="*/ 345 w 345"/>
                    <a:gd name="T17" fmla="*/ 20 h 446"/>
                    <a:gd name="T18" fmla="*/ 325 w 345"/>
                    <a:gd name="T19" fmla="*/ 0 h 446"/>
                    <a:gd name="T20" fmla="*/ 20 w 345"/>
                    <a:gd name="T21" fmla="*/ 0 h 446"/>
                    <a:gd name="T22" fmla="*/ 0 w 345"/>
                    <a:gd name="T23" fmla="*/ 20 h 446"/>
                    <a:gd name="T24" fmla="*/ 0 w 345"/>
                    <a:gd name="T25" fmla="*/ 426 h 446"/>
                    <a:gd name="T26" fmla="*/ 20 w 345"/>
                    <a:gd name="T27" fmla="*/ 446 h 446"/>
                    <a:gd name="T28" fmla="*/ 325 w 345"/>
                    <a:gd name="T29" fmla="*/ 446 h 446"/>
                    <a:gd name="T30" fmla="*/ 345 w 345"/>
                    <a:gd name="T31" fmla="*/ 426 h 446"/>
                    <a:gd name="T32" fmla="*/ 345 w 345"/>
                    <a:gd name="T33" fmla="*/ 314 h 446"/>
                    <a:gd name="T34" fmla="*/ 335 w 345"/>
                    <a:gd name="T35" fmla="*/ 331 h 446"/>
                    <a:gd name="T36" fmla="*/ 326 w 345"/>
                    <a:gd name="T37" fmla="*/ 341 h 446"/>
                    <a:gd name="T38" fmla="*/ 326 w 345"/>
                    <a:gd name="T39" fmla="*/ 341 h 446"/>
                    <a:gd name="T40" fmla="*/ 326 w 345"/>
                    <a:gd name="T41" fmla="*/ 341 h 4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45" h="446">
                      <a:moveTo>
                        <a:pt x="326" y="341"/>
                      </a:moveTo>
                      <a:cubicBezTo>
                        <a:pt x="304" y="355"/>
                        <a:pt x="304" y="355"/>
                        <a:pt x="304" y="355"/>
                      </a:cubicBezTo>
                      <a:cubicBezTo>
                        <a:pt x="304" y="406"/>
                        <a:pt x="304" y="406"/>
                        <a:pt x="304" y="406"/>
                      </a:cubicBezTo>
                      <a:cubicBezTo>
                        <a:pt x="41" y="406"/>
                        <a:pt x="41" y="406"/>
                        <a:pt x="41" y="406"/>
                      </a:cubicBezTo>
                      <a:cubicBezTo>
                        <a:pt x="41" y="41"/>
                        <a:pt x="41" y="41"/>
                        <a:pt x="41" y="41"/>
                      </a:cubicBezTo>
                      <a:cubicBezTo>
                        <a:pt x="304" y="41"/>
                        <a:pt x="304" y="41"/>
                        <a:pt x="304" y="41"/>
                      </a:cubicBezTo>
                      <a:cubicBezTo>
                        <a:pt x="304" y="121"/>
                        <a:pt x="304" y="121"/>
                        <a:pt x="304" y="121"/>
                      </a:cubicBezTo>
                      <a:cubicBezTo>
                        <a:pt x="345" y="50"/>
                        <a:pt x="345" y="50"/>
                        <a:pt x="345" y="50"/>
                      </a:cubicBezTo>
                      <a:cubicBezTo>
                        <a:pt x="345" y="20"/>
                        <a:pt x="345" y="20"/>
                        <a:pt x="345" y="20"/>
                      </a:cubicBezTo>
                      <a:cubicBezTo>
                        <a:pt x="345" y="9"/>
                        <a:pt x="336" y="0"/>
                        <a:pt x="325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9" y="0"/>
                        <a:pt x="0" y="9"/>
                        <a:pt x="0" y="20"/>
                      </a:cubicBezTo>
                      <a:cubicBezTo>
                        <a:pt x="0" y="426"/>
                        <a:pt x="0" y="426"/>
                        <a:pt x="0" y="426"/>
                      </a:cubicBezTo>
                      <a:cubicBezTo>
                        <a:pt x="0" y="437"/>
                        <a:pt x="9" y="446"/>
                        <a:pt x="20" y="446"/>
                      </a:cubicBezTo>
                      <a:cubicBezTo>
                        <a:pt x="325" y="446"/>
                        <a:pt x="325" y="446"/>
                        <a:pt x="325" y="446"/>
                      </a:cubicBezTo>
                      <a:cubicBezTo>
                        <a:pt x="336" y="446"/>
                        <a:pt x="345" y="437"/>
                        <a:pt x="345" y="426"/>
                      </a:cubicBezTo>
                      <a:cubicBezTo>
                        <a:pt x="345" y="314"/>
                        <a:pt x="345" y="314"/>
                        <a:pt x="345" y="314"/>
                      </a:cubicBezTo>
                      <a:cubicBezTo>
                        <a:pt x="335" y="331"/>
                        <a:pt x="335" y="331"/>
                        <a:pt x="335" y="331"/>
                      </a:cubicBezTo>
                      <a:cubicBezTo>
                        <a:pt x="333" y="335"/>
                        <a:pt x="330" y="339"/>
                        <a:pt x="326" y="341"/>
                      </a:cubicBezTo>
                      <a:close/>
                      <a:moveTo>
                        <a:pt x="326" y="341"/>
                      </a:moveTo>
                      <a:cubicBezTo>
                        <a:pt x="326" y="341"/>
                        <a:pt x="326" y="341"/>
                        <a:pt x="326" y="341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2098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58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3" name="Freeform">
                  <a:extLst>
                    <a:ext uri="{FF2B5EF4-FFF2-40B4-BE49-F238E27FC236}">
                      <a16:creationId xmlns:a16="http://schemas.microsoft.com/office/drawing/2014/main" id="{D665AE4F-70E8-42E8-A203-334137C128D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861167" y="5411752"/>
                  <a:ext cx="296920" cy="449752"/>
                </a:xfrm>
                <a:custGeom>
                  <a:avLst/>
                  <a:gdLst>
                    <a:gd name="T0" fmla="*/ 214 w 214"/>
                    <a:gd name="T1" fmla="*/ 48 h 324"/>
                    <a:gd name="T2" fmla="*/ 183 w 214"/>
                    <a:gd name="T3" fmla="*/ 15 h 324"/>
                    <a:gd name="T4" fmla="*/ 139 w 214"/>
                    <a:gd name="T5" fmla="*/ 5 h 324"/>
                    <a:gd name="T6" fmla="*/ 133 w 214"/>
                    <a:gd name="T7" fmla="*/ 10 h 324"/>
                    <a:gd name="T8" fmla="*/ 7 w 214"/>
                    <a:gd name="T9" fmla="*/ 229 h 324"/>
                    <a:gd name="T10" fmla="*/ 5 w 214"/>
                    <a:gd name="T11" fmla="*/ 234 h 324"/>
                    <a:gd name="T12" fmla="*/ 1 w 214"/>
                    <a:gd name="T13" fmla="*/ 313 h 324"/>
                    <a:gd name="T14" fmla="*/ 6 w 214"/>
                    <a:gd name="T15" fmla="*/ 322 h 324"/>
                    <a:gd name="T16" fmla="*/ 16 w 214"/>
                    <a:gd name="T17" fmla="*/ 322 h 324"/>
                    <a:gd name="T18" fmla="*/ 82 w 214"/>
                    <a:gd name="T19" fmla="*/ 278 h 324"/>
                    <a:gd name="T20" fmla="*/ 86 w 214"/>
                    <a:gd name="T21" fmla="*/ 275 h 324"/>
                    <a:gd name="T22" fmla="*/ 212 w 214"/>
                    <a:gd name="T23" fmla="*/ 55 h 324"/>
                    <a:gd name="T24" fmla="*/ 214 w 214"/>
                    <a:gd name="T25" fmla="*/ 48 h 324"/>
                    <a:gd name="T26" fmla="*/ 42 w 214"/>
                    <a:gd name="T27" fmla="*/ 287 h 324"/>
                    <a:gd name="T28" fmla="*/ 30 w 214"/>
                    <a:gd name="T29" fmla="*/ 279 h 324"/>
                    <a:gd name="T30" fmla="*/ 18 w 214"/>
                    <a:gd name="T31" fmla="*/ 273 h 324"/>
                    <a:gd name="T32" fmla="*/ 20 w 214"/>
                    <a:gd name="T33" fmla="*/ 250 h 324"/>
                    <a:gd name="T34" fmla="*/ 43 w 214"/>
                    <a:gd name="T35" fmla="*/ 258 h 324"/>
                    <a:gd name="T36" fmla="*/ 62 w 214"/>
                    <a:gd name="T37" fmla="*/ 274 h 324"/>
                    <a:gd name="T38" fmla="*/ 42 w 214"/>
                    <a:gd name="T39" fmla="*/ 287 h 324"/>
                    <a:gd name="T40" fmla="*/ 42 w 214"/>
                    <a:gd name="T41" fmla="*/ 287 h 324"/>
                    <a:gd name="T42" fmla="*/ 42 w 214"/>
                    <a:gd name="T43" fmla="*/ 287 h 3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214" h="324">
                      <a:moveTo>
                        <a:pt x="214" y="48"/>
                      </a:moveTo>
                      <a:cubicBezTo>
                        <a:pt x="213" y="46"/>
                        <a:pt x="209" y="30"/>
                        <a:pt x="183" y="15"/>
                      </a:cubicBezTo>
                      <a:cubicBezTo>
                        <a:pt x="157" y="0"/>
                        <a:pt x="141" y="4"/>
                        <a:pt x="139" y="5"/>
                      </a:cubicBezTo>
                      <a:cubicBezTo>
                        <a:pt x="137" y="6"/>
                        <a:pt x="135" y="7"/>
                        <a:pt x="133" y="10"/>
                      </a:cubicBezTo>
                      <a:cubicBezTo>
                        <a:pt x="7" y="229"/>
                        <a:pt x="7" y="229"/>
                        <a:pt x="7" y="229"/>
                      </a:cubicBezTo>
                      <a:cubicBezTo>
                        <a:pt x="6" y="231"/>
                        <a:pt x="5" y="232"/>
                        <a:pt x="5" y="234"/>
                      </a:cubicBezTo>
                      <a:cubicBezTo>
                        <a:pt x="1" y="313"/>
                        <a:pt x="1" y="313"/>
                        <a:pt x="1" y="313"/>
                      </a:cubicBezTo>
                      <a:cubicBezTo>
                        <a:pt x="0" y="317"/>
                        <a:pt x="2" y="320"/>
                        <a:pt x="6" y="322"/>
                      </a:cubicBezTo>
                      <a:cubicBezTo>
                        <a:pt x="9" y="324"/>
                        <a:pt x="13" y="324"/>
                        <a:pt x="16" y="322"/>
                      </a:cubicBezTo>
                      <a:cubicBezTo>
                        <a:pt x="82" y="278"/>
                        <a:pt x="82" y="278"/>
                        <a:pt x="82" y="278"/>
                      </a:cubicBezTo>
                      <a:cubicBezTo>
                        <a:pt x="84" y="277"/>
                        <a:pt x="85" y="276"/>
                        <a:pt x="86" y="275"/>
                      </a:cubicBezTo>
                      <a:cubicBezTo>
                        <a:pt x="212" y="55"/>
                        <a:pt x="212" y="55"/>
                        <a:pt x="212" y="55"/>
                      </a:cubicBezTo>
                      <a:cubicBezTo>
                        <a:pt x="214" y="53"/>
                        <a:pt x="214" y="50"/>
                        <a:pt x="214" y="48"/>
                      </a:cubicBezTo>
                      <a:close/>
                      <a:moveTo>
                        <a:pt x="42" y="287"/>
                      </a:moveTo>
                      <a:cubicBezTo>
                        <a:pt x="38" y="284"/>
                        <a:pt x="35" y="282"/>
                        <a:pt x="30" y="279"/>
                      </a:cubicBezTo>
                      <a:cubicBezTo>
                        <a:pt x="26" y="277"/>
                        <a:pt x="22" y="275"/>
                        <a:pt x="18" y="273"/>
                      </a:cubicBezTo>
                      <a:cubicBezTo>
                        <a:pt x="20" y="250"/>
                        <a:pt x="20" y="250"/>
                        <a:pt x="20" y="250"/>
                      </a:cubicBezTo>
                      <a:cubicBezTo>
                        <a:pt x="25" y="250"/>
                        <a:pt x="33" y="252"/>
                        <a:pt x="43" y="258"/>
                      </a:cubicBezTo>
                      <a:cubicBezTo>
                        <a:pt x="53" y="264"/>
                        <a:pt x="58" y="270"/>
                        <a:pt x="62" y="274"/>
                      </a:cubicBezTo>
                      <a:lnTo>
                        <a:pt x="42" y="287"/>
                      </a:lnTo>
                      <a:close/>
                      <a:moveTo>
                        <a:pt x="42" y="287"/>
                      </a:moveTo>
                      <a:cubicBezTo>
                        <a:pt x="42" y="287"/>
                        <a:pt x="42" y="287"/>
                        <a:pt x="42" y="287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2098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58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4" name="Freeform">
                  <a:extLst>
                    <a:ext uri="{FF2B5EF4-FFF2-40B4-BE49-F238E27FC236}">
                      <a16:creationId xmlns:a16="http://schemas.microsoft.com/office/drawing/2014/main" id="{253B7DAA-45F4-4E65-9C75-B9464C5E384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622580" y="5772253"/>
                  <a:ext cx="225169" cy="118417"/>
                </a:xfrm>
                <a:custGeom>
                  <a:avLst/>
                  <a:gdLst>
                    <a:gd name="T0" fmla="*/ 81 w 162"/>
                    <a:gd name="T1" fmla="*/ 60 h 85"/>
                    <a:gd name="T2" fmla="*/ 90 w 162"/>
                    <a:gd name="T3" fmla="*/ 67 h 85"/>
                    <a:gd name="T4" fmla="*/ 99 w 162"/>
                    <a:gd name="T5" fmla="*/ 64 h 85"/>
                    <a:gd name="T6" fmla="*/ 152 w 162"/>
                    <a:gd name="T7" fmla="*/ 66 h 85"/>
                    <a:gd name="T8" fmla="*/ 152 w 162"/>
                    <a:gd name="T9" fmla="*/ 50 h 85"/>
                    <a:gd name="T10" fmla="*/ 98 w 162"/>
                    <a:gd name="T11" fmla="*/ 49 h 85"/>
                    <a:gd name="T12" fmla="*/ 96 w 162"/>
                    <a:gd name="T13" fmla="*/ 44 h 85"/>
                    <a:gd name="T14" fmla="*/ 83 w 162"/>
                    <a:gd name="T15" fmla="*/ 37 h 85"/>
                    <a:gd name="T16" fmla="*/ 82 w 162"/>
                    <a:gd name="T17" fmla="*/ 35 h 85"/>
                    <a:gd name="T18" fmla="*/ 78 w 162"/>
                    <a:gd name="T19" fmla="*/ 31 h 85"/>
                    <a:gd name="T20" fmla="*/ 83 w 162"/>
                    <a:gd name="T21" fmla="*/ 4 h 85"/>
                    <a:gd name="T22" fmla="*/ 76 w 162"/>
                    <a:gd name="T23" fmla="*/ 0 h 85"/>
                    <a:gd name="T24" fmla="*/ 51 w 162"/>
                    <a:gd name="T25" fmla="*/ 17 h 85"/>
                    <a:gd name="T26" fmla="*/ 6 w 162"/>
                    <a:gd name="T27" fmla="*/ 69 h 85"/>
                    <a:gd name="T28" fmla="*/ 19 w 162"/>
                    <a:gd name="T29" fmla="*/ 77 h 85"/>
                    <a:gd name="T30" fmla="*/ 59 w 162"/>
                    <a:gd name="T31" fmla="*/ 31 h 85"/>
                    <a:gd name="T32" fmla="*/ 48 w 162"/>
                    <a:gd name="T33" fmla="*/ 47 h 85"/>
                    <a:gd name="T34" fmla="*/ 61 w 162"/>
                    <a:gd name="T35" fmla="*/ 55 h 85"/>
                    <a:gd name="T36" fmla="*/ 66 w 162"/>
                    <a:gd name="T37" fmla="*/ 50 h 85"/>
                    <a:gd name="T38" fmla="*/ 65 w 162"/>
                    <a:gd name="T39" fmla="*/ 53 h 85"/>
                    <a:gd name="T40" fmla="*/ 65 w 162"/>
                    <a:gd name="T41" fmla="*/ 53 h 85"/>
                    <a:gd name="T42" fmla="*/ 64 w 162"/>
                    <a:gd name="T43" fmla="*/ 55 h 85"/>
                    <a:gd name="T44" fmla="*/ 78 w 162"/>
                    <a:gd name="T45" fmla="*/ 61 h 85"/>
                    <a:gd name="T46" fmla="*/ 81 w 162"/>
                    <a:gd name="T47" fmla="*/ 55 h 85"/>
                    <a:gd name="T48" fmla="*/ 81 w 162"/>
                    <a:gd name="T49" fmla="*/ 60 h 85"/>
                    <a:gd name="T50" fmla="*/ 81 w 162"/>
                    <a:gd name="T51" fmla="*/ 60 h 85"/>
                    <a:gd name="T52" fmla="*/ 81 w 162"/>
                    <a:gd name="T53" fmla="*/ 60 h 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62" h="85">
                      <a:moveTo>
                        <a:pt x="81" y="60"/>
                      </a:moveTo>
                      <a:cubicBezTo>
                        <a:pt x="82" y="64"/>
                        <a:pt x="87" y="65"/>
                        <a:pt x="90" y="67"/>
                      </a:cubicBezTo>
                      <a:cubicBezTo>
                        <a:pt x="93" y="68"/>
                        <a:pt x="97" y="65"/>
                        <a:pt x="99" y="64"/>
                      </a:cubicBezTo>
                      <a:cubicBezTo>
                        <a:pt x="115" y="57"/>
                        <a:pt x="136" y="66"/>
                        <a:pt x="152" y="66"/>
                      </a:cubicBezTo>
                      <a:cubicBezTo>
                        <a:pt x="162" y="66"/>
                        <a:pt x="162" y="50"/>
                        <a:pt x="152" y="50"/>
                      </a:cubicBezTo>
                      <a:cubicBezTo>
                        <a:pt x="133" y="50"/>
                        <a:pt x="117" y="45"/>
                        <a:pt x="98" y="49"/>
                      </a:cubicBezTo>
                      <a:cubicBezTo>
                        <a:pt x="98" y="48"/>
                        <a:pt x="97" y="46"/>
                        <a:pt x="96" y="44"/>
                      </a:cubicBezTo>
                      <a:cubicBezTo>
                        <a:pt x="92" y="38"/>
                        <a:pt x="88" y="36"/>
                        <a:pt x="83" y="37"/>
                      </a:cubicBezTo>
                      <a:cubicBezTo>
                        <a:pt x="83" y="36"/>
                        <a:pt x="83" y="35"/>
                        <a:pt x="82" y="35"/>
                      </a:cubicBezTo>
                      <a:cubicBezTo>
                        <a:pt x="81" y="33"/>
                        <a:pt x="79" y="32"/>
                        <a:pt x="78" y="31"/>
                      </a:cubicBezTo>
                      <a:cubicBezTo>
                        <a:pt x="83" y="22"/>
                        <a:pt x="86" y="12"/>
                        <a:pt x="83" y="4"/>
                      </a:cubicBezTo>
                      <a:cubicBezTo>
                        <a:pt x="82" y="2"/>
                        <a:pt x="79" y="0"/>
                        <a:pt x="76" y="0"/>
                      </a:cubicBezTo>
                      <a:cubicBezTo>
                        <a:pt x="66" y="0"/>
                        <a:pt x="57" y="11"/>
                        <a:pt x="51" y="17"/>
                      </a:cubicBezTo>
                      <a:cubicBezTo>
                        <a:pt x="34" y="33"/>
                        <a:pt x="20" y="51"/>
                        <a:pt x="6" y="69"/>
                      </a:cubicBezTo>
                      <a:cubicBezTo>
                        <a:pt x="0" y="77"/>
                        <a:pt x="13" y="85"/>
                        <a:pt x="19" y="77"/>
                      </a:cubicBezTo>
                      <a:cubicBezTo>
                        <a:pt x="32" y="61"/>
                        <a:pt x="45" y="45"/>
                        <a:pt x="59" y="31"/>
                      </a:cubicBezTo>
                      <a:cubicBezTo>
                        <a:pt x="55" y="36"/>
                        <a:pt x="52" y="42"/>
                        <a:pt x="48" y="47"/>
                      </a:cubicBezTo>
                      <a:cubicBezTo>
                        <a:pt x="43" y="56"/>
                        <a:pt x="56" y="63"/>
                        <a:pt x="61" y="55"/>
                      </a:cubicBezTo>
                      <a:cubicBezTo>
                        <a:pt x="62" y="53"/>
                        <a:pt x="64" y="51"/>
                        <a:pt x="66" y="50"/>
                      </a:cubicBezTo>
                      <a:cubicBezTo>
                        <a:pt x="66" y="51"/>
                        <a:pt x="65" y="52"/>
                        <a:pt x="65" y="53"/>
                      </a:cubicBezTo>
                      <a:cubicBezTo>
                        <a:pt x="65" y="53"/>
                        <a:pt x="65" y="53"/>
                        <a:pt x="65" y="53"/>
                      </a:cubicBezTo>
                      <a:cubicBezTo>
                        <a:pt x="65" y="53"/>
                        <a:pt x="64" y="54"/>
                        <a:pt x="64" y="55"/>
                      </a:cubicBezTo>
                      <a:cubicBezTo>
                        <a:pt x="61" y="63"/>
                        <a:pt x="73" y="67"/>
                        <a:pt x="78" y="61"/>
                      </a:cubicBezTo>
                      <a:cubicBezTo>
                        <a:pt x="79" y="59"/>
                        <a:pt x="80" y="57"/>
                        <a:pt x="81" y="55"/>
                      </a:cubicBezTo>
                      <a:cubicBezTo>
                        <a:pt x="81" y="57"/>
                        <a:pt x="81" y="58"/>
                        <a:pt x="81" y="60"/>
                      </a:cubicBezTo>
                      <a:close/>
                      <a:moveTo>
                        <a:pt x="81" y="60"/>
                      </a:moveTo>
                      <a:cubicBezTo>
                        <a:pt x="81" y="60"/>
                        <a:pt x="81" y="60"/>
                        <a:pt x="81" y="6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2098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58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88" name="Textfeld 87">
                <a:extLst>
                  <a:ext uri="{FF2B5EF4-FFF2-40B4-BE49-F238E27FC236}">
                    <a16:creationId xmlns:a16="http://schemas.microsoft.com/office/drawing/2014/main" id="{F4CD4C66-1468-4F57-BE4B-EDCEA0FDEB5C}"/>
                  </a:ext>
                </a:extLst>
              </p:cNvPr>
              <p:cNvSpPr txBox="1"/>
              <p:nvPr/>
            </p:nvSpPr>
            <p:spPr>
              <a:xfrm>
                <a:off x="8351072" y="5268674"/>
                <a:ext cx="317716" cy="37542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200"/>
                  </a:spcBef>
                  <a:spcAft>
                    <a:spcPts val="399"/>
                  </a:spcAft>
                </a:pPr>
                <a:r>
                  <a:rPr lang="en-US" sz="2044" b="1">
                    <a:solidFill>
                      <a:schemeClr val="bg1"/>
                    </a:solidFill>
                  </a:rPr>
                  <a:t>6</a:t>
                </a:r>
              </a:p>
            </p:txBody>
          </p:sp>
        </p:grpSp>
        <p:grpSp>
          <p:nvGrpSpPr>
            <p:cNvPr id="24" name="Topic 4">
              <a:extLst>
                <a:ext uri="{FF2B5EF4-FFF2-40B4-BE49-F238E27FC236}">
                  <a16:creationId xmlns:a16="http://schemas.microsoft.com/office/drawing/2014/main" id="{FECE22B0-3EDF-4639-AC4D-C23FCF00D79B}"/>
                </a:ext>
              </a:extLst>
            </p:cNvPr>
            <p:cNvGrpSpPr/>
            <p:nvPr/>
          </p:nvGrpSpPr>
          <p:grpSpPr>
            <a:xfrm>
              <a:off x="454465" y="5145332"/>
              <a:ext cx="3412924" cy="1238592"/>
              <a:chOff x="454465" y="5145332"/>
              <a:chExt cx="3412924" cy="1238592"/>
            </a:xfrm>
          </p:grpSpPr>
          <p:sp>
            <p:nvSpPr>
              <p:cNvPr id="57" name="Box 4">
                <a:hlinkClick r:id="" action="ppaction://noaction"/>
                <a:extLst>
                  <a:ext uri="{FF2B5EF4-FFF2-40B4-BE49-F238E27FC236}">
                    <a16:creationId xmlns:a16="http://schemas.microsoft.com/office/drawing/2014/main" id="{7432222D-0D85-4E14-93D1-ABD0424422A1}"/>
                  </a:ext>
                </a:extLst>
              </p:cNvPr>
              <p:cNvSpPr/>
              <p:nvPr userDrawn="1"/>
            </p:nvSpPr>
            <p:spPr>
              <a:xfrm>
                <a:off x="454465" y="5152570"/>
                <a:ext cx="3412923" cy="1231354"/>
              </a:xfrm>
              <a:custGeom>
                <a:avLst/>
                <a:gdLst/>
                <a:ahLst/>
                <a:cxnLst/>
                <a:rect l="l" t="t" r="r" b="b"/>
                <a:pathLst>
                  <a:path w="2268220" h="1080135">
                    <a:moveTo>
                      <a:pt x="0" y="1079995"/>
                    </a:moveTo>
                    <a:lnTo>
                      <a:pt x="2268004" y="1079995"/>
                    </a:lnTo>
                    <a:lnTo>
                      <a:pt x="2268004" y="0"/>
                    </a:lnTo>
                    <a:lnTo>
                      <a:pt x="0" y="0"/>
                    </a:lnTo>
                    <a:lnTo>
                      <a:pt x="0" y="1079995"/>
                    </a:lnTo>
                    <a:close/>
                  </a:path>
                </a:pathLst>
              </a:custGeom>
              <a:solidFill>
                <a:srgbClr val="1D1D1D">
                  <a:alpha val="80000"/>
                </a:srgbClr>
              </a:solidFill>
            </p:spPr>
            <p:txBody>
              <a:bodyPr wrap="square" lIns="0" tIns="0" rIns="0" bIns="0" rtlCol="0"/>
              <a:lstStyle/>
              <a:p>
                <a:pPr marL="0" marR="0" lvl="0" indent="0" algn="l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795" b="0" i="0" u="none" strike="noStrike" kern="0" cap="none" spc="0" normalizeH="0" baseline="0" noProof="0">
                  <a:ln>
                    <a:noFill/>
                  </a:ln>
                  <a:solidFill>
                    <a:srgbClr val="1D1D1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8" name="Topic 4">
                <a:extLst>
                  <a:ext uri="{FF2B5EF4-FFF2-40B4-BE49-F238E27FC236}">
                    <a16:creationId xmlns:a16="http://schemas.microsoft.com/office/drawing/2014/main" id="{D7FF6A0F-52EC-4C5D-ACAA-877C5100ADAB}"/>
                  </a:ext>
                </a:extLst>
              </p:cNvPr>
              <p:cNvSpPr txBox="1"/>
              <p:nvPr userDrawn="1"/>
            </p:nvSpPr>
            <p:spPr>
              <a:xfrm>
                <a:off x="1128586" y="5292309"/>
                <a:ext cx="2738803" cy="707886"/>
              </a:xfrm>
              <a:prstGeom prst="rect">
                <a:avLst/>
              </a:prstGeom>
              <a:noFill/>
            </p:spPr>
            <p:txBody>
              <a:bodyPr wrap="square" lIns="0" tIns="0" rIns="108000" bIns="0" rtlCol="0">
                <a:spAutoFit/>
              </a:bodyPr>
              <a:lstStyle/>
              <a:p>
                <a:pPr marL="0" marR="0" lvl="0" indent="0" algn="r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795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Black" panose="020B0A04020102020204" pitchFamily="34" charset="0"/>
                    <a:ea typeface="+mn-ea"/>
                    <a:cs typeface="+mn-cs"/>
                  </a:rPr>
                  <a:t>Topic 4</a:t>
                </a:r>
              </a:p>
              <a:p>
                <a:pPr marL="0" marR="0" lvl="0" indent="0" algn="r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95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endParaRPr>
              </a:p>
              <a:p>
                <a:pPr marL="0" marR="0" lvl="0" indent="0" algn="r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a-DK" sz="998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Lorem ipsum dolor sit amet consetetur</a:t>
                </a:r>
                <a:endParaRPr kumimoji="0" lang="de-DE" sz="1995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59" name="Icon: Topic 4" hidden="1">
                <a:extLst>
                  <a:ext uri="{FF2B5EF4-FFF2-40B4-BE49-F238E27FC236}">
                    <a16:creationId xmlns:a16="http://schemas.microsoft.com/office/drawing/2014/main" id="{CE963AF1-E720-422C-BE25-A53FDA15A681}"/>
                  </a:ext>
                </a:extLst>
              </p:cNvPr>
              <p:cNvGrpSpPr/>
              <p:nvPr/>
            </p:nvGrpSpPr>
            <p:grpSpPr>
              <a:xfrm>
                <a:off x="632629" y="5340118"/>
                <a:ext cx="470426" cy="624404"/>
                <a:chOff x="715735" y="5200884"/>
                <a:chExt cx="500032" cy="663701"/>
              </a:xfrm>
              <a:solidFill>
                <a:srgbClr val="FFFFFF"/>
              </a:solidFill>
            </p:grpSpPr>
            <p:sp>
              <p:nvSpPr>
                <p:cNvPr id="82" name="Freeform">
                  <a:extLst>
                    <a:ext uri="{FF2B5EF4-FFF2-40B4-BE49-F238E27FC236}">
                      <a16:creationId xmlns:a16="http://schemas.microsoft.com/office/drawing/2014/main" id="{D4E77AED-7BEB-4C03-AD20-6C7E925C6FAB}"/>
                    </a:ext>
                  </a:extLst>
                </p:cNvPr>
                <p:cNvSpPr/>
                <p:nvPr userDrawn="1"/>
              </p:nvSpPr>
              <p:spPr>
                <a:xfrm>
                  <a:off x="715735" y="5520932"/>
                  <a:ext cx="500032" cy="3436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36039" h="918210">
                      <a:moveTo>
                        <a:pt x="482949" y="0"/>
                      </a:moveTo>
                      <a:lnTo>
                        <a:pt x="265623" y="0"/>
                      </a:lnTo>
                      <a:lnTo>
                        <a:pt x="217937" y="4478"/>
                      </a:lnTo>
                      <a:lnTo>
                        <a:pt x="173030" y="17386"/>
                      </a:lnTo>
                      <a:lnTo>
                        <a:pt x="131659" y="37934"/>
                      </a:lnTo>
                      <a:lnTo>
                        <a:pt x="94579" y="65332"/>
                      </a:lnTo>
                      <a:lnTo>
                        <a:pt x="62546" y="98791"/>
                      </a:lnTo>
                      <a:lnTo>
                        <a:pt x="36316" y="137521"/>
                      </a:lnTo>
                      <a:lnTo>
                        <a:pt x="16644" y="180733"/>
                      </a:lnTo>
                      <a:lnTo>
                        <a:pt x="4287" y="227637"/>
                      </a:lnTo>
                      <a:lnTo>
                        <a:pt x="0" y="277442"/>
                      </a:lnTo>
                      <a:lnTo>
                        <a:pt x="0" y="683951"/>
                      </a:lnTo>
                      <a:lnTo>
                        <a:pt x="4568" y="731068"/>
                      </a:lnTo>
                      <a:lnTo>
                        <a:pt x="17669" y="774979"/>
                      </a:lnTo>
                      <a:lnTo>
                        <a:pt x="38391" y="814737"/>
                      </a:lnTo>
                      <a:lnTo>
                        <a:pt x="65824" y="849392"/>
                      </a:lnTo>
                      <a:lnTo>
                        <a:pt x="99058" y="877996"/>
                      </a:lnTo>
                      <a:lnTo>
                        <a:pt x="137185" y="899602"/>
                      </a:lnTo>
                      <a:lnTo>
                        <a:pt x="179293" y="913261"/>
                      </a:lnTo>
                      <a:lnTo>
                        <a:pt x="224472" y="918025"/>
                      </a:lnTo>
                      <a:lnTo>
                        <a:pt x="1111144" y="918025"/>
                      </a:lnTo>
                      <a:lnTo>
                        <a:pt x="1156336" y="913261"/>
                      </a:lnTo>
                      <a:lnTo>
                        <a:pt x="1198454" y="899602"/>
                      </a:lnTo>
                      <a:lnTo>
                        <a:pt x="1236587" y="877996"/>
                      </a:lnTo>
                      <a:lnTo>
                        <a:pt x="1269827" y="849392"/>
                      </a:lnTo>
                      <a:lnTo>
                        <a:pt x="1297263" y="814737"/>
                      </a:lnTo>
                      <a:lnTo>
                        <a:pt x="1299325" y="810780"/>
                      </a:lnTo>
                      <a:lnTo>
                        <a:pt x="224472" y="810780"/>
                      </a:lnTo>
                      <a:lnTo>
                        <a:pt x="178875" y="800797"/>
                      </a:lnTo>
                      <a:lnTo>
                        <a:pt x="141594" y="773590"/>
                      </a:lnTo>
                      <a:lnTo>
                        <a:pt x="116436" y="733271"/>
                      </a:lnTo>
                      <a:lnTo>
                        <a:pt x="107205" y="683951"/>
                      </a:lnTo>
                      <a:lnTo>
                        <a:pt x="107205" y="277442"/>
                      </a:lnTo>
                      <a:lnTo>
                        <a:pt x="112873" y="232243"/>
                      </a:lnTo>
                      <a:lnTo>
                        <a:pt x="128864" y="191599"/>
                      </a:lnTo>
                      <a:lnTo>
                        <a:pt x="153655" y="157144"/>
                      </a:lnTo>
                      <a:lnTo>
                        <a:pt x="185726" y="130511"/>
                      </a:lnTo>
                      <a:lnTo>
                        <a:pt x="223556" y="113333"/>
                      </a:lnTo>
                      <a:lnTo>
                        <a:pt x="265623" y="107244"/>
                      </a:lnTo>
                      <a:lnTo>
                        <a:pt x="563139" y="107244"/>
                      </a:lnTo>
                      <a:lnTo>
                        <a:pt x="482949" y="0"/>
                      </a:lnTo>
                      <a:close/>
                    </a:path>
                    <a:path w="1336039" h="918210">
                      <a:moveTo>
                        <a:pt x="1278868" y="107244"/>
                      </a:moveTo>
                      <a:lnTo>
                        <a:pt x="1070199" y="107244"/>
                      </a:lnTo>
                      <a:lnTo>
                        <a:pt x="1112217" y="113333"/>
                      </a:lnTo>
                      <a:lnTo>
                        <a:pt x="1149999" y="130511"/>
                      </a:lnTo>
                      <a:lnTo>
                        <a:pt x="1182027" y="157144"/>
                      </a:lnTo>
                      <a:lnTo>
                        <a:pt x="1206784" y="191599"/>
                      </a:lnTo>
                      <a:lnTo>
                        <a:pt x="1222751" y="232243"/>
                      </a:lnTo>
                      <a:lnTo>
                        <a:pt x="1228411" y="277442"/>
                      </a:lnTo>
                      <a:lnTo>
                        <a:pt x="1228411" y="683951"/>
                      </a:lnTo>
                      <a:lnTo>
                        <a:pt x="1219181" y="733271"/>
                      </a:lnTo>
                      <a:lnTo>
                        <a:pt x="1194025" y="773590"/>
                      </a:lnTo>
                      <a:lnTo>
                        <a:pt x="1156746" y="800797"/>
                      </a:lnTo>
                      <a:lnTo>
                        <a:pt x="1111144" y="810780"/>
                      </a:lnTo>
                      <a:lnTo>
                        <a:pt x="1299325" y="810780"/>
                      </a:lnTo>
                      <a:lnTo>
                        <a:pt x="1317986" y="774979"/>
                      </a:lnTo>
                      <a:lnTo>
                        <a:pt x="1331087" y="731068"/>
                      </a:lnTo>
                      <a:lnTo>
                        <a:pt x="1335656" y="683951"/>
                      </a:lnTo>
                      <a:lnTo>
                        <a:pt x="1335656" y="277442"/>
                      </a:lnTo>
                      <a:lnTo>
                        <a:pt x="1331371" y="227637"/>
                      </a:lnTo>
                      <a:lnTo>
                        <a:pt x="1319021" y="180733"/>
                      </a:lnTo>
                      <a:lnTo>
                        <a:pt x="1299361" y="137521"/>
                      </a:lnTo>
                      <a:lnTo>
                        <a:pt x="1278868" y="107244"/>
                      </a:lnTo>
                      <a:close/>
                    </a:path>
                    <a:path w="1336039" h="918210">
                      <a:moveTo>
                        <a:pt x="563139" y="107244"/>
                      </a:moveTo>
                      <a:lnTo>
                        <a:pt x="429204" y="107244"/>
                      </a:lnTo>
                      <a:lnTo>
                        <a:pt x="667960" y="426475"/>
                      </a:lnTo>
                      <a:lnTo>
                        <a:pt x="801660" y="247247"/>
                      </a:lnTo>
                      <a:lnTo>
                        <a:pt x="667823" y="247247"/>
                      </a:lnTo>
                      <a:lnTo>
                        <a:pt x="563139" y="107244"/>
                      </a:lnTo>
                      <a:close/>
                    </a:path>
                    <a:path w="1336039" h="918210">
                      <a:moveTo>
                        <a:pt x="1070199" y="0"/>
                      </a:moveTo>
                      <a:lnTo>
                        <a:pt x="852362" y="0"/>
                      </a:lnTo>
                      <a:lnTo>
                        <a:pt x="667823" y="247247"/>
                      </a:lnTo>
                      <a:lnTo>
                        <a:pt x="801660" y="247247"/>
                      </a:lnTo>
                      <a:lnTo>
                        <a:pt x="906098" y="107244"/>
                      </a:lnTo>
                      <a:lnTo>
                        <a:pt x="1278868" y="107244"/>
                      </a:lnTo>
                      <a:lnTo>
                        <a:pt x="1241133" y="65332"/>
                      </a:lnTo>
                      <a:lnTo>
                        <a:pt x="1204076" y="37934"/>
                      </a:lnTo>
                      <a:lnTo>
                        <a:pt x="1162731" y="17386"/>
                      </a:lnTo>
                      <a:lnTo>
                        <a:pt x="1117854" y="4478"/>
                      </a:lnTo>
                      <a:lnTo>
                        <a:pt x="1070199" y="0"/>
                      </a:lnTo>
                      <a:close/>
                    </a:path>
                  </a:pathLst>
                </a:custGeom>
                <a:grpFill/>
              </p:spPr>
              <p:txBody>
                <a:bodyPr wrap="square" lIns="0" tIns="0" rIns="0" bIns="0" rtlCol="0"/>
                <a:lstStyle/>
                <a:p>
                  <a:pPr marL="0" marR="0" lvl="0" indent="0" algn="l" defTabSz="9121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816" b="0" i="0" u="none" strike="noStrike" kern="0" cap="none" spc="0" normalizeH="0" baseline="0" noProof="0">
                    <a:ln>
                      <a:noFill/>
                    </a:ln>
                    <a:solidFill>
                      <a:srgbClr val="1D1D1D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3" name="Freeform">
                  <a:extLst>
                    <a:ext uri="{FF2B5EF4-FFF2-40B4-BE49-F238E27FC236}">
                      <a16:creationId xmlns:a16="http://schemas.microsoft.com/office/drawing/2014/main" id="{166ABA31-7D20-43DD-957C-7350C6406E71}"/>
                    </a:ext>
                  </a:extLst>
                </p:cNvPr>
                <p:cNvSpPr/>
                <p:nvPr userDrawn="1"/>
              </p:nvSpPr>
              <p:spPr>
                <a:xfrm>
                  <a:off x="812474" y="5200884"/>
                  <a:ext cx="302063" cy="3146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07085" h="840739">
                      <a:moveTo>
                        <a:pt x="403672" y="0"/>
                      </a:moveTo>
                      <a:lnTo>
                        <a:pt x="356659" y="2832"/>
                      </a:lnTo>
                      <a:lnTo>
                        <a:pt x="311222" y="11119"/>
                      </a:lnTo>
                      <a:lnTo>
                        <a:pt x="267666" y="24542"/>
                      </a:lnTo>
                      <a:lnTo>
                        <a:pt x="226297" y="42784"/>
                      </a:lnTo>
                      <a:lnTo>
                        <a:pt x="187420" y="65525"/>
                      </a:lnTo>
                      <a:lnTo>
                        <a:pt x="151340" y="92450"/>
                      </a:lnTo>
                      <a:lnTo>
                        <a:pt x="118360" y="123241"/>
                      </a:lnTo>
                      <a:lnTo>
                        <a:pt x="88790" y="157575"/>
                      </a:lnTo>
                      <a:lnTo>
                        <a:pt x="62931" y="195141"/>
                      </a:lnTo>
                      <a:lnTo>
                        <a:pt x="41089" y="235617"/>
                      </a:lnTo>
                      <a:lnTo>
                        <a:pt x="23570" y="278688"/>
                      </a:lnTo>
                      <a:lnTo>
                        <a:pt x="10679" y="324034"/>
                      </a:lnTo>
                      <a:lnTo>
                        <a:pt x="2720" y="371337"/>
                      </a:lnTo>
                      <a:lnTo>
                        <a:pt x="0" y="420281"/>
                      </a:lnTo>
                      <a:lnTo>
                        <a:pt x="2720" y="469212"/>
                      </a:lnTo>
                      <a:lnTo>
                        <a:pt x="10679" y="516503"/>
                      </a:lnTo>
                      <a:lnTo>
                        <a:pt x="23570" y="561835"/>
                      </a:lnTo>
                      <a:lnTo>
                        <a:pt x="41122" y="604952"/>
                      </a:lnTo>
                      <a:lnTo>
                        <a:pt x="62931" y="645356"/>
                      </a:lnTo>
                      <a:lnTo>
                        <a:pt x="88790" y="682908"/>
                      </a:lnTo>
                      <a:lnTo>
                        <a:pt x="118361" y="717233"/>
                      </a:lnTo>
                      <a:lnTo>
                        <a:pt x="151340" y="748011"/>
                      </a:lnTo>
                      <a:lnTo>
                        <a:pt x="187420" y="774925"/>
                      </a:lnTo>
                      <a:lnTo>
                        <a:pt x="226297" y="797658"/>
                      </a:lnTo>
                      <a:lnTo>
                        <a:pt x="267666" y="815893"/>
                      </a:lnTo>
                      <a:lnTo>
                        <a:pt x="311222" y="829310"/>
                      </a:lnTo>
                      <a:lnTo>
                        <a:pt x="356659" y="837594"/>
                      </a:lnTo>
                      <a:lnTo>
                        <a:pt x="403672" y="840425"/>
                      </a:lnTo>
                      <a:lnTo>
                        <a:pt x="450650" y="837594"/>
                      </a:lnTo>
                      <a:lnTo>
                        <a:pt x="496054" y="829310"/>
                      </a:lnTo>
                      <a:lnTo>
                        <a:pt x="539579" y="815893"/>
                      </a:lnTo>
                      <a:lnTo>
                        <a:pt x="580919" y="797658"/>
                      </a:lnTo>
                      <a:lnTo>
                        <a:pt x="619769" y="774925"/>
                      </a:lnTo>
                      <a:lnTo>
                        <a:pt x="655825" y="748011"/>
                      </a:lnTo>
                      <a:lnTo>
                        <a:pt x="671705" y="733181"/>
                      </a:lnTo>
                      <a:lnTo>
                        <a:pt x="403672" y="733181"/>
                      </a:lnTo>
                      <a:lnTo>
                        <a:pt x="355655" y="729078"/>
                      </a:lnTo>
                      <a:lnTo>
                        <a:pt x="310080" y="717201"/>
                      </a:lnTo>
                      <a:lnTo>
                        <a:pt x="267563" y="698201"/>
                      </a:lnTo>
                      <a:lnTo>
                        <a:pt x="228718" y="672727"/>
                      </a:lnTo>
                      <a:lnTo>
                        <a:pt x="194162" y="641428"/>
                      </a:lnTo>
                      <a:lnTo>
                        <a:pt x="164473" y="604892"/>
                      </a:lnTo>
                      <a:lnTo>
                        <a:pt x="140374" y="563951"/>
                      </a:lnTo>
                      <a:lnTo>
                        <a:pt x="122373" y="519072"/>
                      </a:lnTo>
                      <a:lnTo>
                        <a:pt x="111122" y="470966"/>
                      </a:lnTo>
                      <a:lnTo>
                        <a:pt x="107234" y="420281"/>
                      </a:lnTo>
                      <a:lnTo>
                        <a:pt x="111122" y="369579"/>
                      </a:lnTo>
                      <a:lnTo>
                        <a:pt x="122373" y="321454"/>
                      </a:lnTo>
                      <a:lnTo>
                        <a:pt x="140374" y="276558"/>
                      </a:lnTo>
                      <a:lnTo>
                        <a:pt x="164509" y="235540"/>
                      </a:lnTo>
                      <a:lnTo>
                        <a:pt x="194162" y="199049"/>
                      </a:lnTo>
                      <a:lnTo>
                        <a:pt x="228718" y="167736"/>
                      </a:lnTo>
                      <a:lnTo>
                        <a:pt x="267563" y="142250"/>
                      </a:lnTo>
                      <a:lnTo>
                        <a:pt x="310087" y="123239"/>
                      </a:lnTo>
                      <a:lnTo>
                        <a:pt x="355655" y="111359"/>
                      </a:lnTo>
                      <a:lnTo>
                        <a:pt x="403672" y="107254"/>
                      </a:lnTo>
                      <a:lnTo>
                        <a:pt x="671672" y="107254"/>
                      </a:lnTo>
                      <a:lnTo>
                        <a:pt x="655825" y="92450"/>
                      </a:lnTo>
                      <a:lnTo>
                        <a:pt x="619769" y="65525"/>
                      </a:lnTo>
                      <a:lnTo>
                        <a:pt x="580919" y="42784"/>
                      </a:lnTo>
                      <a:lnTo>
                        <a:pt x="539579" y="24542"/>
                      </a:lnTo>
                      <a:lnTo>
                        <a:pt x="496054" y="11119"/>
                      </a:lnTo>
                      <a:lnTo>
                        <a:pt x="450650" y="2832"/>
                      </a:lnTo>
                      <a:lnTo>
                        <a:pt x="403672" y="0"/>
                      </a:lnTo>
                      <a:close/>
                    </a:path>
                    <a:path w="807085" h="840739">
                      <a:moveTo>
                        <a:pt x="671672" y="107254"/>
                      </a:moveTo>
                      <a:lnTo>
                        <a:pt x="403672" y="107254"/>
                      </a:lnTo>
                      <a:lnTo>
                        <a:pt x="451657" y="111359"/>
                      </a:lnTo>
                      <a:lnTo>
                        <a:pt x="497197" y="123241"/>
                      </a:lnTo>
                      <a:lnTo>
                        <a:pt x="539678" y="142250"/>
                      </a:lnTo>
                      <a:lnTo>
                        <a:pt x="578486" y="167736"/>
                      </a:lnTo>
                      <a:lnTo>
                        <a:pt x="613008" y="199049"/>
                      </a:lnTo>
                      <a:lnTo>
                        <a:pt x="642629" y="235540"/>
                      </a:lnTo>
                      <a:lnTo>
                        <a:pt x="666735" y="276558"/>
                      </a:lnTo>
                      <a:lnTo>
                        <a:pt x="684714" y="321454"/>
                      </a:lnTo>
                      <a:lnTo>
                        <a:pt x="695952" y="369579"/>
                      </a:lnTo>
                      <a:lnTo>
                        <a:pt x="699834" y="420281"/>
                      </a:lnTo>
                      <a:lnTo>
                        <a:pt x="695952" y="470966"/>
                      </a:lnTo>
                      <a:lnTo>
                        <a:pt x="684714" y="519072"/>
                      </a:lnTo>
                      <a:lnTo>
                        <a:pt x="666735" y="563951"/>
                      </a:lnTo>
                      <a:lnTo>
                        <a:pt x="642629" y="604952"/>
                      </a:lnTo>
                      <a:lnTo>
                        <a:pt x="613008" y="641428"/>
                      </a:lnTo>
                      <a:lnTo>
                        <a:pt x="578486" y="672727"/>
                      </a:lnTo>
                      <a:lnTo>
                        <a:pt x="539678" y="698201"/>
                      </a:lnTo>
                      <a:lnTo>
                        <a:pt x="497197" y="717201"/>
                      </a:lnTo>
                      <a:lnTo>
                        <a:pt x="451657" y="729078"/>
                      </a:lnTo>
                      <a:lnTo>
                        <a:pt x="403672" y="733181"/>
                      </a:lnTo>
                      <a:lnTo>
                        <a:pt x="671705" y="733181"/>
                      </a:lnTo>
                      <a:lnTo>
                        <a:pt x="718334" y="682908"/>
                      </a:lnTo>
                      <a:lnTo>
                        <a:pt x="744177" y="645356"/>
                      </a:lnTo>
                      <a:lnTo>
                        <a:pt x="766005" y="604892"/>
                      </a:lnTo>
                      <a:lnTo>
                        <a:pt x="783513" y="561835"/>
                      </a:lnTo>
                      <a:lnTo>
                        <a:pt x="796396" y="516503"/>
                      </a:lnTo>
                      <a:lnTo>
                        <a:pt x="804350" y="469212"/>
                      </a:lnTo>
                      <a:lnTo>
                        <a:pt x="807069" y="420281"/>
                      </a:lnTo>
                      <a:lnTo>
                        <a:pt x="804350" y="371337"/>
                      </a:lnTo>
                      <a:lnTo>
                        <a:pt x="796396" y="324034"/>
                      </a:lnTo>
                      <a:lnTo>
                        <a:pt x="783513" y="278688"/>
                      </a:lnTo>
                      <a:lnTo>
                        <a:pt x="765963" y="235540"/>
                      </a:lnTo>
                      <a:lnTo>
                        <a:pt x="744177" y="195141"/>
                      </a:lnTo>
                      <a:lnTo>
                        <a:pt x="718334" y="157575"/>
                      </a:lnTo>
                      <a:lnTo>
                        <a:pt x="688782" y="123239"/>
                      </a:lnTo>
                      <a:lnTo>
                        <a:pt x="671672" y="107254"/>
                      </a:lnTo>
                      <a:close/>
                    </a:path>
                  </a:pathLst>
                </a:custGeom>
                <a:grpFill/>
              </p:spPr>
              <p:txBody>
                <a:bodyPr wrap="square" lIns="0" tIns="0" rIns="0" bIns="0" rtlCol="0"/>
                <a:lstStyle/>
                <a:p>
                  <a:pPr marL="0" marR="0" lvl="0" indent="0" algn="l" defTabSz="9121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816" b="0" i="0" u="none" strike="noStrike" kern="0" cap="none" spc="0" normalizeH="0" baseline="0" noProof="0">
                    <a:ln>
                      <a:noFill/>
                    </a:ln>
                    <a:solidFill>
                      <a:srgbClr val="1D1D1D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80" name="Number">
                <a:extLst>
                  <a:ext uri="{FF2B5EF4-FFF2-40B4-BE49-F238E27FC236}">
                    <a16:creationId xmlns:a16="http://schemas.microsoft.com/office/drawing/2014/main" id="{A94CD513-FC7B-4E4F-B659-5F03151B29F9}"/>
                  </a:ext>
                </a:extLst>
              </p:cNvPr>
              <p:cNvSpPr txBox="1"/>
              <p:nvPr/>
            </p:nvSpPr>
            <p:spPr>
              <a:xfrm>
                <a:off x="465239" y="5268674"/>
                <a:ext cx="317716" cy="37542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200"/>
                  </a:spcBef>
                  <a:spcAft>
                    <a:spcPts val="399"/>
                  </a:spcAft>
                </a:pPr>
                <a:r>
                  <a:rPr lang="en-US" sz="2044" b="1">
                    <a:solidFill>
                      <a:schemeClr val="bg1"/>
                    </a:solidFill>
                  </a:rPr>
                  <a:t>4</a:t>
                </a:r>
              </a:p>
            </p:txBody>
          </p:sp>
          <p:sp>
            <p:nvSpPr>
              <p:cNvPr id="81" name="Line 4">
                <a:extLst>
                  <a:ext uri="{FF2B5EF4-FFF2-40B4-BE49-F238E27FC236}">
                    <a16:creationId xmlns:a16="http://schemas.microsoft.com/office/drawing/2014/main" id="{84AB37DB-9685-430B-AD93-F0B265ED86C7}"/>
                  </a:ext>
                </a:extLst>
              </p:cNvPr>
              <p:cNvSpPr/>
              <p:nvPr/>
            </p:nvSpPr>
            <p:spPr>
              <a:xfrm>
                <a:off x="454465" y="5145332"/>
                <a:ext cx="3412923" cy="28956"/>
              </a:xfrm>
              <a:custGeom>
                <a:avLst/>
                <a:gdLst/>
                <a:ahLst/>
                <a:cxnLst/>
                <a:rect l="l" t="t" r="r" b="b"/>
                <a:pathLst>
                  <a:path w="2268220" h="25400">
                    <a:moveTo>
                      <a:pt x="0" y="25400"/>
                    </a:moveTo>
                    <a:lnTo>
                      <a:pt x="2268004" y="25400"/>
                    </a:lnTo>
                    <a:lnTo>
                      <a:pt x="2268004" y="0"/>
                    </a:lnTo>
                    <a:lnTo>
                      <a:pt x="0" y="0"/>
                    </a:lnTo>
                    <a:lnTo>
                      <a:pt x="0" y="2540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wrap="square" lIns="0" tIns="0" rIns="0" bIns="0" rtlCol="0"/>
              <a:lstStyle/>
              <a:p>
                <a:pPr marL="0" marR="0" lvl="0" indent="0" algn="l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795" b="0" i="0" u="none" strike="noStrike" kern="0" cap="none" spc="0" normalizeH="0" baseline="0" noProof="0">
                  <a:ln>
                    <a:noFill/>
                  </a:ln>
                  <a:solidFill>
                    <a:srgbClr val="1D1D1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5" name="Topic 5">
              <a:extLst>
                <a:ext uri="{FF2B5EF4-FFF2-40B4-BE49-F238E27FC236}">
                  <a16:creationId xmlns:a16="http://schemas.microsoft.com/office/drawing/2014/main" id="{8905C3FE-C0B0-45AB-AA51-6C4C7141AE01}"/>
                </a:ext>
              </a:extLst>
            </p:cNvPr>
            <p:cNvGrpSpPr/>
            <p:nvPr/>
          </p:nvGrpSpPr>
          <p:grpSpPr>
            <a:xfrm>
              <a:off x="4392342" y="5145332"/>
              <a:ext cx="3416309" cy="1238592"/>
              <a:chOff x="4392342" y="5145332"/>
              <a:chExt cx="3416309" cy="1238592"/>
            </a:xfrm>
          </p:grpSpPr>
          <p:sp>
            <p:nvSpPr>
              <p:cNvPr id="49" name="Box 5">
                <a:hlinkClick r:id="" action="ppaction://noaction"/>
                <a:extLst>
                  <a:ext uri="{FF2B5EF4-FFF2-40B4-BE49-F238E27FC236}">
                    <a16:creationId xmlns:a16="http://schemas.microsoft.com/office/drawing/2014/main" id="{19365D48-C551-4E8C-B3AC-59AD64E9C6CC}"/>
                  </a:ext>
                </a:extLst>
              </p:cNvPr>
              <p:cNvSpPr/>
              <p:nvPr/>
            </p:nvSpPr>
            <p:spPr>
              <a:xfrm>
                <a:off x="4395728" y="5152570"/>
                <a:ext cx="3412923" cy="1231354"/>
              </a:xfrm>
              <a:custGeom>
                <a:avLst/>
                <a:gdLst/>
                <a:ahLst/>
                <a:cxnLst/>
                <a:rect l="l" t="t" r="r" b="b"/>
                <a:pathLst>
                  <a:path w="2268220" h="1080135">
                    <a:moveTo>
                      <a:pt x="0" y="1079995"/>
                    </a:moveTo>
                    <a:lnTo>
                      <a:pt x="2268004" y="1079995"/>
                    </a:lnTo>
                    <a:lnTo>
                      <a:pt x="2268004" y="0"/>
                    </a:lnTo>
                    <a:lnTo>
                      <a:pt x="0" y="0"/>
                    </a:lnTo>
                    <a:lnTo>
                      <a:pt x="0" y="1079995"/>
                    </a:lnTo>
                    <a:close/>
                  </a:path>
                </a:pathLst>
              </a:custGeom>
              <a:solidFill>
                <a:srgbClr val="1D1D1D">
                  <a:alpha val="80000"/>
                </a:srgbClr>
              </a:solidFill>
            </p:spPr>
            <p:txBody>
              <a:bodyPr wrap="square" lIns="0" tIns="0" rIns="0" bIns="0" rtlCol="0"/>
              <a:lstStyle/>
              <a:p>
                <a:pPr marL="0" marR="0" lvl="0" indent="0" algn="l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795" b="0" i="0" u="none" strike="noStrike" kern="0" cap="none" spc="0" normalizeH="0" baseline="0" noProof="0">
                  <a:ln>
                    <a:noFill/>
                  </a:ln>
                  <a:solidFill>
                    <a:srgbClr val="1D1D1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" name="Line 5">
                <a:extLst>
                  <a:ext uri="{FF2B5EF4-FFF2-40B4-BE49-F238E27FC236}">
                    <a16:creationId xmlns:a16="http://schemas.microsoft.com/office/drawing/2014/main" id="{D10496FC-7829-4A0A-83C9-8A5831DDD0A6}"/>
                  </a:ext>
                </a:extLst>
              </p:cNvPr>
              <p:cNvSpPr/>
              <p:nvPr/>
            </p:nvSpPr>
            <p:spPr>
              <a:xfrm>
                <a:off x="4395728" y="5145332"/>
                <a:ext cx="3412923" cy="28956"/>
              </a:xfrm>
              <a:custGeom>
                <a:avLst/>
                <a:gdLst/>
                <a:ahLst/>
                <a:cxnLst/>
                <a:rect l="l" t="t" r="r" b="b"/>
                <a:pathLst>
                  <a:path w="2268220" h="25400">
                    <a:moveTo>
                      <a:pt x="0" y="25400"/>
                    </a:moveTo>
                    <a:lnTo>
                      <a:pt x="2268004" y="25400"/>
                    </a:lnTo>
                    <a:lnTo>
                      <a:pt x="2268004" y="0"/>
                    </a:lnTo>
                    <a:lnTo>
                      <a:pt x="0" y="0"/>
                    </a:lnTo>
                    <a:lnTo>
                      <a:pt x="0" y="2540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wrap="square" lIns="0" tIns="0" rIns="0" bIns="0" rtlCol="0"/>
              <a:lstStyle/>
              <a:p>
                <a:pPr marL="0" marR="0" lvl="0" indent="0" algn="l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795" b="0" i="0" u="none" strike="noStrike" kern="0" cap="none" spc="0" normalizeH="0" baseline="0" noProof="0">
                  <a:ln>
                    <a:noFill/>
                  </a:ln>
                  <a:solidFill>
                    <a:srgbClr val="1D1D1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" name="Topic 5">
                <a:extLst>
                  <a:ext uri="{FF2B5EF4-FFF2-40B4-BE49-F238E27FC236}">
                    <a16:creationId xmlns:a16="http://schemas.microsoft.com/office/drawing/2014/main" id="{A7E1EDB8-6313-466D-8B5C-AF87E7959700}"/>
                  </a:ext>
                </a:extLst>
              </p:cNvPr>
              <p:cNvSpPr txBox="1"/>
              <p:nvPr/>
            </p:nvSpPr>
            <p:spPr>
              <a:xfrm>
                <a:off x="5133343" y="5292309"/>
                <a:ext cx="2675308" cy="707886"/>
              </a:xfrm>
              <a:prstGeom prst="rect">
                <a:avLst/>
              </a:prstGeom>
              <a:noFill/>
            </p:spPr>
            <p:txBody>
              <a:bodyPr wrap="square" lIns="0" tIns="0" rIns="108000" bIns="0" rtlCol="0">
                <a:spAutoFit/>
              </a:bodyPr>
              <a:lstStyle/>
              <a:p>
                <a:pPr marL="0" marR="0" lvl="0" indent="0" algn="r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795" b="1" kern="0">
                    <a:solidFill>
                      <a:srgbClr val="FFFFFF"/>
                    </a:solidFill>
                    <a:latin typeface="Arial Black" panose="020B0A04020102020204" pitchFamily="34" charset="0"/>
                  </a:rPr>
                  <a:t>Topic 5</a:t>
                </a:r>
              </a:p>
              <a:p>
                <a:pPr marL="0" marR="0" lvl="0" indent="0" algn="r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95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endParaRPr>
              </a:p>
              <a:p>
                <a:pPr marL="0" marR="0" lvl="0" indent="0" algn="r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a-DK" sz="998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Lorem ipsum dolor sit amet consetetur</a:t>
                </a:r>
                <a:endParaRPr kumimoji="0" lang="de-DE" sz="1995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52" name="Icon: Topic 5" hidden="1">
                <a:extLst>
                  <a:ext uri="{FF2B5EF4-FFF2-40B4-BE49-F238E27FC236}">
                    <a16:creationId xmlns:a16="http://schemas.microsoft.com/office/drawing/2014/main" id="{8F7AA5A9-126A-46CF-8061-DBDE63916591}"/>
                  </a:ext>
                </a:extLst>
              </p:cNvPr>
              <p:cNvGrpSpPr/>
              <p:nvPr/>
            </p:nvGrpSpPr>
            <p:grpSpPr>
              <a:xfrm>
                <a:off x="4527786" y="5319931"/>
                <a:ext cx="728039" cy="616412"/>
                <a:chOff x="5096253" y="-959555"/>
                <a:chExt cx="429571" cy="363707"/>
              </a:xfrm>
              <a:solidFill>
                <a:schemeClr val="bg1"/>
              </a:solidFill>
            </p:grpSpPr>
            <p:sp>
              <p:nvSpPr>
                <p:cNvPr id="54" name="Freeform">
                  <a:extLst>
                    <a:ext uri="{FF2B5EF4-FFF2-40B4-BE49-F238E27FC236}">
                      <a16:creationId xmlns:a16="http://schemas.microsoft.com/office/drawing/2014/main" id="{53939909-6964-4568-9949-1643E0F41B23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5096253" y="-871232"/>
                  <a:ext cx="233844" cy="230479"/>
                </a:xfrm>
                <a:custGeom>
                  <a:avLst/>
                  <a:gdLst>
                    <a:gd name="T0" fmla="*/ 6 w 132"/>
                    <a:gd name="T1" fmla="*/ 36 h 130"/>
                    <a:gd name="T2" fmla="*/ 3 w 132"/>
                    <a:gd name="T3" fmla="*/ 45 h 130"/>
                    <a:gd name="T4" fmla="*/ 1 w 132"/>
                    <a:gd name="T5" fmla="*/ 54 h 130"/>
                    <a:gd name="T6" fmla="*/ 1 w 132"/>
                    <a:gd name="T7" fmla="*/ 58 h 130"/>
                    <a:gd name="T8" fmla="*/ 14 w 132"/>
                    <a:gd name="T9" fmla="*/ 63 h 130"/>
                    <a:gd name="T10" fmla="*/ 7 w 132"/>
                    <a:gd name="T11" fmla="*/ 88 h 130"/>
                    <a:gd name="T12" fmla="*/ 6 w 132"/>
                    <a:gd name="T13" fmla="*/ 93 h 130"/>
                    <a:gd name="T14" fmla="*/ 9 w 132"/>
                    <a:gd name="T15" fmla="*/ 98 h 130"/>
                    <a:gd name="T16" fmla="*/ 16 w 132"/>
                    <a:gd name="T17" fmla="*/ 107 h 130"/>
                    <a:gd name="T18" fmla="*/ 20 w 132"/>
                    <a:gd name="T19" fmla="*/ 111 h 130"/>
                    <a:gd name="T20" fmla="*/ 33 w 132"/>
                    <a:gd name="T21" fmla="*/ 104 h 130"/>
                    <a:gd name="T22" fmla="*/ 48 w 132"/>
                    <a:gd name="T23" fmla="*/ 125 h 130"/>
                    <a:gd name="T24" fmla="*/ 51 w 132"/>
                    <a:gd name="T25" fmla="*/ 128 h 130"/>
                    <a:gd name="T26" fmla="*/ 56 w 132"/>
                    <a:gd name="T27" fmla="*/ 129 h 130"/>
                    <a:gd name="T28" fmla="*/ 61 w 132"/>
                    <a:gd name="T29" fmla="*/ 130 h 130"/>
                    <a:gd name="T30" fmla="*/ 70 w 132"/>
                    <a:gd name="T31" fmla="*/ 130 h 130"/>
                    <a:gd name="T32" fmla="*/ 75 w 132"/>
                    <a:gd name="T33" fmla="*/ 123 h 130"/>
                    <a:gd name="T34" fmla="*/ 93 w 132"/>
                    <a:gd name="T35" fmla="*/ 108 h 130"/>
                    <a:gd name="T36" fmla="*/ 102 w 132"/>
                    <a:gd name="T37" fmla="*/ 116 h 130"/>
                    <a:gd name="T38" fmla="*/ 109 w 132"/>
                    <a:gd name="T39" fmla="*/ 114 h 130"/>
                    <a:gd name="T40" fmla="*/ 117 w 132"/>
                    <a:gd name="T41" fmla="*/ 106 h 130"/>
                    <a:gd name="T42" fmla="*/ 121 w 132"/>
                    <a:gd name="T43" fmla="*/ 98 h 130"/>
                    <a:gd name="T44" fmla="*/ 115 w 132"/>
                    <a:gd name="T45" fmla="*/ 90 h 130"/>
                    <a:gd name="T46" fmla="*/ 121 w 132"/>
                    <a:gd name="T47" fmla="*/ 70 h 130"/>
                    <a:gd name="T48" fmla="*/ 132 w 132"/>
                    <a:gd name="T49" fmla="*/ 64 h 130"/>
                    <a:gd name="T50" fmla="*/ 131 w 132"/>
                    <a:gd name="T51" fmla="*/ 58 h 130"/>
                    <a:gd name="T52" fmla="*/ 130 w 132"/>
                    <a:gd name="T53" fmla="*/ 51 h 130"/>
                    <a:gd name="T54" fmla="*/ 129 w 132"/>
                    <a:gd name="T55" fmla="*/ 45 h 130"/>
                    <a:gd name="T56" fmla="*/ 127 w 132"/>
                    <a:gd name="T57" fmla="*/ 42 h 130"/>
                    <a:gd name="T58" fmla="*/ 113 w 132"/>
                    <a:gd name="T59" fmla="*/ 43 h 130"/>
                    <a:gd name="T60" fmla="*/ 108 w 132"/>
                    <a:gd name="T61" fmla="*/ 17 h 130"/>
                    <a:gd name="T62" fmla="*/ 106 w 132"/>
                    <a:gd name="T63" fmla="*/ 12 h 130"/>
                    <a:gd name="T64" fmla="*/ 97 w 132"/>
                    <a:gd name="T65" fmla="*/ 6 h 130"/>
                    <a:gd name="T66" fmla="*/ 90 w 132"/>
                    <a:gd name="T67" fmla="*/ 3 h 130"/>
                    <a:gd name="T68" fmla="*/ 87 w 132"/>
                    <a:gd name="T69" fmla="*/ 2 h 130"/>
                    <a:gd name="T70" fmla="*/ 78 w 132"/>
                    <a:gd name="T71" fmla="*/ 14 h 130"/>
                    <a:gd name="T72" fmla="*/ 56 w 132"/>
                    <a:gd name="T73" fmla="*/ 2 h 130"/>
                    <a:gd name="T74" fmla="*/ 51 w 132"/>
                    <a:gd name="T75" fmla="*/ 0 h 130"/>
                    <a:gd name="T76" fmla="*/ 45 w 132"/>
                    <a:gd name="T77" fmla="*/ 2 h 130"/>
                    <a:gd name="T78" fmla="*/ 35 w 132"/>
                    <a:gd name="T79" fmla="*/ 6 h 130"/>
                    <a:gd name="T80" fmla="*/ 30 w 132"/>
                    <a:gd name="T81" fmla="*/ 9 h 130"/>
                    <a:gd name="T82" fmla="*/ 34 w 132"/>
                    <a:gd name="T83" fmla="*/ 23 h 130"/>
                    <a:gd name="T84" fmla="*/ 14 w 132"/>
                    <a:gd name="T85" fmla="*/ 34 h 130"/>
                    <a:gd name="T86" fmla="*/ 40 w 132"/>
                    <a:gd name="T87" fmla="*/ 41 h 130"/>
                    <a:gd name="T88" fmla="*/ 42 w 132"/>
                    <a:gd name="T89" fmla="*/ 91 h 1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32" h="130">
                      <a:moveTo>
                        <a:pt x="8" y="33"/>
                      </a:moveTo>
                      <a:cubicBezTo>
                        <a:pt x="8" y="34"/>
                        <a:pt x="7" y="35"/>
                        <a:pt x="6" y="36"/>
                      </a:cubicBezTo>
                      <a:cubicBezTo>
                        <a:pt x="6" y="36"/>
                        <a:pt x="6" y="36"/>
                        <a:pt x="6" y="36"/>
                      </a:cubicBezTo>
                      <a:cubicBezTo>
                        <a:pt x="6" y="37"/>
                        <a:pt x="5" y="38"/>
                        <a:pt x="5" y="38"/>
                      </a:cubicBezTo>
                      <a:cubicBezTo>
                        <a:pt x="5" y="39"/>
                        <a:pt x="4" y="40"/>
                        <a:pt x="4" y="41"/>
                      </a:cubicBezTo>
                      <a:cubicBezTo>
                        <a:pt x="4" y="42"/>
                        <a:pt x="3" y="44"/>
                        <a:pt x="3" y="45"/>
                      </a:cubicBezTo>
                      <a:cubicBezTo>
                        <a:pt x="2" y="46"/>
                        <a:pt x="2" y="47"/>
                        <a:pt x="2" y="48"/>
                      </a:cubicBezTo>
                      <a:cubicBezTo>
                        <a:pt x="1" y="50"/>
                        <a:pt x="1" y="51"/>
                        <a:pt x="1" y="52"/>
                      </a:cubicBezTo>
                      <a:cubicBezTo>
                        <a:pt x="1" y="53"/>
                        <a:pt x="1" y="53"/>
                        <a:pt x="1" y="54"/>
                      </a:cubicBezTo>
                      <a:cubicBezTo>
                        <a:pt x="1" y="54"/>
                        <a:pt x="1" y="54"/>
                        <a:pt x="1" y="54"/>
                      </a:cubicBezTo>
                      <a:cubicBezTo>
                        <a:pt x="1" y="55"/>
                        <a:pt x="1" y="55"/>
                        <a:pt x="1" y="55"/>
                      </a:cubicBezTo>
                      <a:cubicBezTo>
                        <a:pt x="0" y="56"/>
                        <a:pt x="1" y="57"/>
                        <a:pt x="1" y="58"/>
                      </a:cubicBezTo>
                      <a:cubicBezTo>
                        <a:pt x="1" y="58"/>
                        <a:pt x="2" y="59"/>
                        <a:pt x="3" y="59"/>
                      </a:cubicBezTo>
                      <a:cubicBezTo>
                        <a:pt x="3" y="59"/>
                        <a:pt x="4" y="60"/>
                        <a:pt x="6" y="60"/>
                      </a:cubicBezTo>
                      <a:cubicBezTo>
                        <a:pt x="8" y="61"/>
                        <a:pt x="11" y="62"/>
                        <a:pt x="14" y="63"/>
                      </a:cubicBezTo>
                      <a:cubicBezTo>
                        <a:pt x="14" y="69"/>
                        <a:pt x="15" y="75"/>
                        <a:pt x="17" y="81"/>
                      </a:cubicBezTo>
                      <a:cubicBezTo>
                        <a:pt x="14" y="82"/>
                        <a:pt x="12" y="84"/>
                        <a:pt x="10" y="85"/>
                      </a:cubicBezTo>
                      <a:cubicBezTo>
                        <a:pt x="8" y="87"/>
                        <a:pt x="7" y="88"/>
                        <a:pt x="7" y="88"/>
                      </a:cubicBezTo>
                      <a:cubicBezTo>
                        <a:pt x="6" y="88"/>
                        <a:pt x="6" y="89"/>
                        <a:pt x="6" y="90"/>
                      </a:cubicBezTo>
                      <a:cubicBezTo>
                        <a:pt x="6" y="90"/>
                        <a:pt x="6" y="91"/>
                        <a:pt x="6" y="91"/>
                      </a:cubicBezTo>
                      <a:cubicBezTo>
                        <a:pt x="6" y="92"/>
                        <a:pt x="6" y="92"/>
                        <a:pt x="6" y="93"/>
                      </a:cubicBezTo>
                      <a:cubicBezTo>
                        <a:pt x="6" y="93"/>
                        <a:pt x="7" y="93"/>
                        <a:pt x="7" y="93"/>
                      </a:cubicBezTo>
                      <a:cubicBezTo>
                        <a:pt x="7" y="94"/>
                        <a:pt x="7" y="95"/>
                        <a:pt x="8" y="95"/>
                      </a:cubicBezTo>
                      <a:cubicBezTo>
                        <a:pt x="8" y="96"/>
                        <a:pt x="9" y="97"/>
                        <a:pt x="9" y="98"/>
                      </a:cubicBezTo>
                      <a:cubicBezTo>
                        <a:pt x="10" y="99"/>
                        <a:pt x="10" y="99"/>
                        <a:pt x="10" y="100"/>
                      </a:cubicBezTo>
                      <a:cubicBezTo>
                        <a:pt x="11" y="100"/>
                        <a:pt x="11" y="101"/>
                        <a:pt x="11" y="101"/>
                      </a:cubicBezTo>
                      <a:cubicBezTo>
                        <a:pt x="13" y="103"/>
                        <a:pt x="14" y="105"/>
                        <a:pt x="16" y="107"/>
                      </a:cubicBezTo>
                      <a:cubicBezTo>
                        <a:pt x="16" y="108"/>
                        <a:pt x="17" y="108"/>
                        <a:pt x="17" y="109"/>
                      </a:cubicBezTo>
                      <a:cubicBezTo>
                        <a:pt x="18" y="109"/>
                        <a:pt x="18" y="109"/>
                        <a:pt x="18" y="109"/>
                      </a:cubicBezTo>
                      <a:cubicBezTo>
                        <a:pt x="18" y="110"/>
                        <a:pt x="19" y="111"/>
                        <a:pt x="20" y="111"/>
                      </a:cubicBezTo>
                      <a:cubicBezTo>
                        <a:pt x="21" y="111"/>
                        <a:pt x="22" y="111"/>
                        <a:pt x="22" y="110"/>
                      </a:cubicBezTo>
                      <a:cubicBezTo>
                        <a:pt x="22" y="110"/>
                        <a:pt x="24" y="110"/>
                        <a:pt x="26" y="108"/>
                      </a:cubicBezTo>
                      <a:cubicBezTo>
                        <a:pt x="28" y="107"/>
                        <a:pt x="30" y="106"/>
                        <a:pt x="33" y="104"/>
                      </a:cubicBezTo>
                      <a:cubicBezTo>
                        <a:pt x="37" y="108"/>
                        <a:pt x="43" y="111"/>
                        <a:pt x="48" y="113"/>
                      </a:cubicBezTo>
                      <a:cubicBezTo>
                        <a:pt x="48" y="116"/>
                        <a:pt x="48" y="119"/>
                        <a:pt x="48" y="121"/>
                      </a:cubicBezTo>
                      <a:cubicBezTo>
                        <a:pt x="48" y="123"/>
                        <a:pt x="48" y="125"/>
                        <a:pt x="48" y="125"/>
                      </a:cubicBezTo>
                      <a:cubicBezTo>
                        <a:pt x="48" y="126"/>
                        <a:pt x="48" y="126"/>
                        <a:pt x="49" y="127"/>
                      </a:cubicBezTo>
                      <a:cubicBezTo>
                        <a:pt x="49" y="127"/>
                        <a:pt x="49" y="128"/>
                        <a:pt x="50" y="128"/>
                      </a:cubicBezTo>
                      <a:cubicBezTo>
                        <a:pt x="50" y="128"/>
                        <a:pt x="51" y="128"/>
                        <a:pt x="51" y="128"/>
                      </a:cubicBezTo>
                      <a:cubicBezTo>
                        <a:pt x="51" y="128"/>
                        <a:pt x="51" y="128"/>
                        <a:pt x="52" y="129"/>
                      </a:cubicBezTo>
                      <a:cubicBezTo>
                        <a:pt x="52" y="129"/>
                        <a:pt x="53" y="129"/>
                        <a:pt x="54" y="129"/>
                      </a:cubicBezTo>
                      <a:cubicBezTo>
                        <a:pt x="55" y="129"/>
                        <a:pt x="55" y="129"/>
                        <a:pt x="56" y="129"/>
                      </a:cubicBezTo>
                      <a:cubicBezTo>
                        <a:pt x="56" y="129"/>
                        <a:pt x="57" y="129"/>
                        <a:pt x="57" y="129"/>
                      </a:cubicBezTo>
                      <a:cubicBezTo>
                        <a:pt x="58" y="130"/>
                        <a:pt x="59" y="130"/>
                        <a:pt x="59" y="130"/>
                      </a:cubicBezTo>
                      <a:cubicBezTo>
                        <a:pt x="60" y="130"/>
                        <a:pt x="60" y="130"/>
                        <a:pt x="61" y="130"/>
                      </a:cubicBezTo>
                      <a:cubicBezTo>
                        <a:pt x="62" y="130"/>
                        <a:pt x="64" y="130"/>
                        <a:pt x="65" y="130"/>
                      </a:cubicBezTo>
                      <a:cubicBezTo>
                        <a:pt x="66" y="130"/>
                        <a:pt x="67" y="130"/>
                        <a:pt x="68" y="130"/>
                      </a:cubicBezTo>
                      <a:cubicBezTo>
                        <a:pt x="69" y="130"/>
                        <a:pt x="70" y="130"/>
                        <a:pt x="70" y="130"/>
                      </a:cubicBezTo>
                      <a:cubicBezTo>
                        <a:pt x="71" y="130"/>
                        <a:pt x="71" y="130"/>
                        <a:pt x="71" y="130"/>
                      </a:cubicBezTo>
                      <a:cubicBezTo>
                        <a:pt x="73" y="130"/>
                        <a:pt x="75" y="128"/>
                        <a:pt x="75" y="127"/>
                      </a:cubicBezTo>
                      <a:cubicBezTo>
                        <a:pt x="75" y="127"/>
                        <a:pt x="75" y="125"/>
                        <a:pt x="75" y="123"/>
                      </a:cubicBezTo>
                      <a:cubicBezTo>
                        <a:pt x="76" y="122"/>
                        <a:pt x="76" y="120"/>
                        <a:pt x="76" y="119"/>
                      </a:cubicBezTo>
                      <a:cubicBezTo>
                        <a:pt x="76" y="118"/>
                        <a:pt x="76" y="116"/>
                        <a:pt x="76" y="115"/>
                      </a:cubicBezTo>
                      <a:cubicBezTo>
                        <a:pt x="82" y="114"/>
                        <a:pt x="88" y="111"/>
                        <a:pt x="93" y="108"/>
                      </a:cubicBezTo>
                      <a:cubicBezTo>
                        <a:pt x="94" y="109"/>
                        <a:pt x="95" y="110"/>
                        <a:pt x="96" y="111"/>
                      </a:cubicBezTo>
                      <a:cubicBezTo>
                        <a:pt x="97" y="112"/>
                        <a:pt x="98" y="113"/>
                        <a:pt x="99" y="114"/>
                      </a:cubicBezTo>
                      <a:cubicBezTo>
                        <a:pt x="101" y="115"/>
                        <a:pt x="102" y="116"/>
                        <a:pt x="102" y="116"/>
                      </a:cubicBezTo>
                      <a:cubicBezTo>
                        <a:pt x="102" y="117"/>
                        <a:pt x="103" y="117"/>
                        <a:pt x="104" y="117"/>
                      </a:cubicBezTo>
                      <a:cubicBezTo>
                        <a:pt x="105" y="117"/>
                        <a:pt x="106" y="116"/>
                        <a:pt x="107" y="116"/>
                      </a:cubicBezTo>
                      <a:cubicBezTo>
                        <a:pt x="107" y="116"/>
                        <a:pt x="108" y="115"/>
                        <a:pt x="109" y="114"/>
                      </a:cubicBezTo>
                      <a:cubicBezTo>
                        <a:pt x="110" y="113"/>
                        <a:pt x="111" y="112"/>
                        <a:pt x="112" y="111"/>
                      </a:cubicBezTo>
                      <a:cubicBezTo>
                        <a:pt x="112" y="111"/>
                        <a:pt x="113" y="110"/>
                        <a:pt x="114" y="109"/>
                      </a:cubicBezTo>
                      <a:cubicBezTo>
                        <a:pt x="115" y="108"/>
                        <a:pt x="116" y="107"/>
                        <a:pt x="117" y="106"/>
                      </a:cubicBezTo>
                      <a:cubicBezTo>
                        <a:pt x="117" y="105"/>
                        <a:pt x="118" y="104"/>
                        <a:pt x="119" y="104"/>
                      </a:cubicBezTo>
                      <a:cubicBezTo>
                        <a:pt x="120" y="102"/>
                        <a:pt x="120" y="101"/>
                        <a:pt x="120" y="101"/>
                      </a:cubicBezTo>
                      <a:cubicBezTo>
                        <a:pt x="121" y="100"/>
                        <a:pt x="121" y="99"/>
                        <a:pt x="121" y="98"/>
                      </a:cubicBezTo>
                      <a:cubicBezTo>
                        <a:pt x="121" y="97"/>
                        <a:pt x="121" y="97"/>
                        <a:pt x="120" y="96"/>
                      </a:cubicBezTo>
                      <a:cubicBezTo>
                        <a:pt x="120" y="96"/>
                        <a:pt x="119" y="95"/>
                        <a:pt x="118" y="93"/>
                      </a:cubicBezTo>
                      <a:cubicBezTo>
                        <a:pt x="117" y="92"/>
                        <a:pt x="116" y="91"/>
                        <a:pt x="115" y="90"/>
                      </a:cubicBezTo>
                      <a:cubicBezTo>
                        <a:pt x="114" y="90"/>
                        <a:pt x="113" y="89"/>
                        <a:pt x="112" y="88"/>
                      </a:cubicBezTo>
                      <a:cubicBezTo>
                        <a:pt x="115" y="82"/>
                        <a:pt x="116" y="76"/>
                        <a:pt x="117" y="71"/>
                      </a:cubicBezTo>
                      <a:cubicBezTo>
                        <a:pt x="118" y="70"/>
                        <a:pt x="120" y="70"/>
                        <a:pt x="121" y="70"/>
                      </a:cubicBezTo>
                      <a:cubicBezTo>
                        <a:pt x="123" y="70"/>
                        <a:pt x="124" y="69"/>
                        <a:pt x="125" y="69"/>
                      </a:cubicBezTo>
                      <a:cubicBezTo>
                        <a:pt x="127" y="69"/>
                        <a:pt x="129" y="68"/>
                        <a:pt x="129" y="68"/>
                      </a:cubicBezTo>
                      <a:cubicBezTo>
                        <a:pt x="130" y="68"/>
                        <a:pt x="132" y="66"/>
                        <a:pt x="132" y="64"/>
                      </a:cubicBezTo>
                      <a:cubicBezTo>
                        <a:pt x="132" y="64"/>
                        <a:pt x="132" y="64"/>
                        <a:pt x="132" y="63"/>
                      </a:cubicBezTo>
                      <a:cubicBezTo>
                        <a:pt x="132" y="63"/>
                        <a:pt x="132" y="62"/>
                        <a:pt x="132" y="61"/>
                      </a:cubicBezTo>
                      <a:cubicBezTo>
                        <a:pt x="131" y="60"/>
                        <a:pt x="131" y="59"/>
                        <a:pt x="131" y="58"/>
                      </a:cubicBezTo>
                      <a:cubicBezTo>
                        <a:pt x="131" y="57"/>
                        <a:pt x="131" y="55"/>
                        <a:pt x="131" y="54"/>
                      </a:cubicBezTo>
                      <a:cubicBezTo>
                        <a:pt x="131" y="54"/>
                        <a:pt x="131" y="53"/>
                        <a:pt x="131" y="52"/>
                      </a:cubicBezTo>
                      <a:cubicBezTo>
                        <a:pt x="130" y="52"/>
                        <a:pt x="130" y="51"/>
                        <a:pt x="130" y="51"/>
                      </a:cubicBezTo>
                      <a:cubicBezTo>
                        <a:pt x="130" y="50"/>
                        <a:pt x="130" y="49"/>
                        <a:pt x="130" y="49"/>
                      </a:cubicBezTo>
                      <a:cubicBezTo>
                        <a:pt x="130" y="48"/>
                        <a:pt x="130" y="48"/>
                        <a:pt x="129" y="47"/>
                      </a:cubicBezTo>
                      <a:cubicBezTo>
                        <a:pt x="129" y="46"/>
                        <a:pt x="129" y="46"/>
                        <a:pt x="129" y="45"/>
                      </a:cubicBezTo>
                      <a:cubicBezTo>
                        <a:pt x="129" y="45"/>
                        <a:pt x="129" y="44"/>
                        <a:pt x="129" y="44"/>
                      </a:cubicBezTo>
                      <a:cubicBezTo>
                        <a:pt x="128" y="44"/>
                        <a:pt x="128" y="43"/>
                        <a:pt x="128" y="43"/>
                      </a:cubicBezTo>
                      <a:cubicBezTo>
                        <a:pt x="128" y="43"/>
                        <a:pt x="127" y="42"/>
                        <a:pt x="127" y="42"/>
                      </a:cubicBezTo>
                      <a:cubicBezTo>
                        <a:pt x="126" y="41"/>
                        <a:pt x="126" y="41"/>
                        <a:pt x="125" y="41"/>
                      </a:cubicBezTo>
                      <a:cubicBezTo>
                        <a:pt x="125" y="41"/>
                        <a:pt x="123" y="41"/>
                        <a:pt x="121" y="42"/>
                      </a:cubicBezTo>
                      <a:cubicBezTo>
                        <a:pt x="119" y="42"/>
                        <a:pt x="116" y="42"/>
                        <a:pt x="113" y="43"/>
                      </a:cubicBezTo>
                      <a:cubicBezTo>
                        <a:pt x="110" y="37"/>
                        <a:pt x="107" y="32"/>
                        <a:pt x="103" y="28"/>
                      </a:cubicBezTo>
                      <a:cubicBezTo>
                        <a:pt x="104" y="25"/>
                        <a:pt x="106" y="23"/>
                        <a:pt x="107" y="21"/>
                      </a:cubicBezTo>
                      <a:cubicBezTo>
                        <a:pt x="108" y="19"/>
                        <a:pt x="108" y="17"/>
                        <a:pt x="108" y="17"/>
                      </a:cubicBezTo>
                      <a:cubicBezTo>
                        <a:pt x="109" y="17"/>
                        <a:pt x="109" y="16"/>
                        <a:pt x="109" y="15"/>
                      </a:cubicBezTo>
                      <a:cubicBezTo>
                        <a:pt x="108" y="14"/>
                        <a:pt x="108" y="13"/>
                        <a:pt x="107" y="13"/>
                      </a:cubicBezTo>
                      <a:cubicBezTo>
                        <a:pt x="107" y="13"/>
                        <a:pt x="107" y="13"/>
                        <a:pt x="106" y="12"/>
                      </a:cubicBezTo>
                      <a:cubicBezTo>
                        <a:pt x="106" y="12"/>
                        <a:pt x="105" y="11"/>
                        <a:pt x="104" y="11"/>
                      </a:cubicBezTo>
                      <a:cubicBezTo>
                        <a:pt x="103" y="10"/>
                        <a:pt x="101" y="8"/>
                        <a:pt x="99" y="7"/>
                      </a:cubicBezTo>
                      <a:cubicBezTo>
                        <a:pt x="98" y="7"/>
                        <a:pt x="97" y="6"/>
                        <a:pt x="97" y="6"/>
                      </a:cubicBezTo>
                      <a:cubicBezTo>
                        <a:pt x="96" y="6"/>
                        <a:pt x="96" y="6"/>
                        <a:pt x="95" y="5"/>
                      </a:cubicBezTo>
                      <a:cubicBezTo>
                        <a:pt x="94" y="5"/>
                        <a:pt x="93" y="4"/>
                        <a:pt x="92" y="4"/>
                      </a:cubicBezTo>
                      <a:cubicBezTo>
                        <a:pt x="92" y="4"/>
                        <a:pt x="91" y="3"/>
                        <a:pt x="90" y="3"/>
                      </a:cubicBezTo>
                      <a:cubicBezTo>
                        <a:pt x="90" y="3"/>
                        <a:pt x="89" y="3"/>
                        <a:pt x="89" y="3"/>
                      </a:cubicBezTo>
                      <a:cubicBezTo>
                        <a:pt x="89" y="2"/>
                        <a:pt x="88" y="2"/>
                        <a:pt x="88" y="2"/>
                      </a:cubicBezTo>
                      <a:cubicBezTo>
                        <a:pt x="87" y="2"/>
                        <a:pt x="87" y="2"/>
                        <a:pt x="87" y="2"/>
                      </a:cubicBezTo>
                      <a:cubicBezTo>
                        <a:pt x="86" y="3"/>
                        <a:pt x="85" y="3"/>
                        <a:pt x="85" y="4"/>
                      </a:cubicBezTo>
                      <a:cubicBezTo>
                        <a:pt x="85" y="4"/>
                        <a:pt x="84" y="5"/>
                        <a:pt x="83" y="7"/>
                      </a:cubicBezTo>
                      <a:cubicBezTo>
                        <a:pt x="81" y="9"/>
                        <a:pt x="80" y="11"/>
                        <a:pt x="78" y="14"/>
                      </a:cubicBezTo>
                      <a:cubicBezTo>
                        <a:pt x="72" y="13"/>
                        <a:pt x="66" y="12"/>
                        <a:pt x="61" y="13"/>
                      </a:cubicBezTo>
                      <a:cubicBezTo>
                        <a:pt x="59" y="10"/>
                        <a:pt x="58" y="7"/>
                        <a:pt x="57" y="5"/>
                      </a:cubicBezTo>
                      <a:cubicBezTo>
                        <a:pt x="56" y="3"/>
                        <a:pt x="56" y="2"/>
                        <a:pt x="56" y="2"/>
                      </a:cubicBezTo>
                      <a:cubicBezTo>
                        <a:pt x="55" y="1"/>
                        <a:pt x="55" y="0"/>
                        <a:pt x="54" y="0"/>
                      </a:cubicBezTo>
                      <a:cubicBezTo>
                        <a:pt x="53" y="0"/>
                        <a:pt x="52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0" y="0"/>
                      </a:cubicBezTo>
                      <a:cubicBezTo>
                        <a:pt x="50" y="0"/>
                        <a:pt x="49" y="0"/>
                        <a:pt x="48" y="1"/>
                      </a:cubicBezTo>
                      <a:cubicBezTo>
                        <a:pt x="47" y="1"/>
                        <a:pt x="46" y="1"/>
                        <a:pt x="45" y="2"/>
                      </a:cubicBezTo>
                      <a:cubicBezTo>
                        <a:pt x="44" y="2"/>
                        <a:pt x="43" y="2"/>
                        <a:pt x="42" y="3"/>
                      </a:cubicBezTo>
                      <a:cubicBezTo>
                        <a:pt x="40" y="3"/>
                        <a:pt x="39" y="4"/>
                        <a:pt x="38" y="4"/>
                      </a:cubicBezTo>
                      <a:cubicBezTo>
                        <a:pt x="37" y="5"/>
                        <a:pt x="36" y="5"/>
                        <a:pt x="35" y="6"/>
                      </a:cubicBezTo>
                      <a:cubicBezTo>
                        <a:pt x="34" y="6"/>
                        <a:pt x="34" y="7"/>
                        <a:pt x="33" y="7"/>
                      </a:cubicBezTo>
                      <a:cubicBezTo>
                        <a:pt x="33" y="7"/>
                        <a:pt x="32" y="7"/>
                        <a:pt x="32" y="7"/>
                      </a:cubicBezTo>
                      <a:cubicBezTo>
                        <a:pt x="32" y="8"/>
                        <a:pt x="31" y="9"/>
                        <a:pt x="30" y="9"/>
                      </a:cubicBezTo>
                      <a:cubicBezTo>
                        <a:pt x="30" y="10"/>
                        <a:pt x="30" y="11"/>
                        <a:pt x="30" y="12"/>
                      </a:cubicBezTo>
                      <a:cubicBezTo>
                        <a:pt x="30" y="12"/>
                        <a:pt x="31" y="13"/>
                        <a:pt x="31" y="15"/>
                      </a:cubicBezTo>
                      <a:cubicBezTo>
                        <a:pt x="32" y="17"/>
                        <a:pt x="33" y="20"/>
                        <a:pt x="34" y="23"/>
                      </a:cubicBezTo>
                      <a:cubicBezTo>
                        <a:pt x="32" y="25"/>
                        <a:pt x="30" y="27"/>
                        <a:pt x="28" y="29"/>
                      </a:cubicBezTo>
                      <a:cubicBezTo>
                        <a:pt x="26" y="31"/>
                        <a:pt x="24" y="34"/>
                        <a:pt x="22" y="36"/>
                      </a:cubicBezTo>
                      <a:cubicBezTo>
                        <a:pt x="19" y="35"/>
                        <a:pt x="17" y="34"/>
                        <a:pt x="14" y="34"/>
                      </a:cubicBezTo>
                      <a:cubicBezTo>
                        <a:pt x="12" y="33"/>
                        <a:pt x="11" y="33"/>
                        <a:pt x="11" y="33"/>
                      </a:cubicBezTo>
                      <a:cubicBezTo>
                        <a:pt x="10" y="33"/>
                        <a:pt x="9" y="33"/>
                        <a:pt x="8" y="33"/>
                      </a:cubicBezTo>
                      <a:close/>
                      <a:moveTo>
                        <a:pt x="40" y="41"/>
                      </a:moveTo>
                      <a:cubicBezTo>
                        <a:pt x="54" y="26"/>
                        <a:pt x="76" y="25"/>
                        <a:pt x="91" y="39"/>
                      </a:cubicBezTo>
                      <a:cubicBezTo>
                        <a:pt x="105" y="52"/>
                        <a:pt x="106" y="75"/>
                        <a:pt x="93" y="89"/>
                      </a:cubicBezTo>
                      <a:cubicBezTo>
                        <a:pt x="80" y="104"/>
                        <a:pt x="57" y="105"/>
                        <a:pt x="42" y="91"/>
                      </a:cubicBezTo>
                      <a:cubicBezTo>
                        <a:pt x="28" y="78"/>
                        <a:pt x="27" y="55"/>
                        <a:pt x="40" y="4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21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PH" sz="1795" b="0" i="0" u="none" strike="noStrike" kern="0" cap="none" spc="0" normalizeH="0" baseline="0" noProof="0">
                    <a:ln>
                      <a:noFill/>
                    </a:ln>
                    <a:solidFill>
                      <a:srgbClr val="1D1D1D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55" name="Freeform">
                  <a:extLst>
                    <a:ext uri="{FF2B5EF4-FFF2-40B4-BE49-F238E27FC236}">
                      <a16:creationId xmlns:a16="http://schemas.microsoft.com/office/drawing/2014/main" id="{137F7C8C-FBC9-434A-90B8-F75DAA38FDDB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 rot="949646">
                  <a:off x="5291973" y="-959555"/>
                  <a:ext cx="161504" cy="160663"/>
                </a:xfrm>
                <a:custGeom>
                  <a:avLst/>
                  <a:gdLst>
                    <a:gd name="T0" fmla="*/ 3 w 91"/>
                    <a:gd name="T1" fmla="*/ 25 h 91"/>
                    <a:gd name="T2" fmla="*/ 1 w 91"/>
                    <a:gd name="T3" fmla="*/ 31 h 91"/>
                    <a:gd name="T4" fmla="*/ 0 w 91"/>
                    <a:gd name="T5" fmla="*/ 38 h 91"/>
                    <a:gd name="T6" fmla="*/ 0 w 91"/>
                    <a:gd name="T7" fmla="*/ 40 h 91"/>
                    <a:gd name="T8" fmla="*/ 9 w 91"/>
                    <a:gd name="T9" fmla="*/ 44 h 91"/>
                    <a:gd name="T10" fmla="*/ 4 w 91"/>
                    <a:gd name="T11" fmla="*/ 61 h 91"/>
                    <a:gd name="T12" fmla="*/ 4 w 91"/>
                    <a:gd name="T13" fmla="*/ 65 h 91"/>
                    <a:gd name="T14" fmla="*/ 6 w 91"/>
                    <a:gd name="T15" fmla="*/ 69 h 91"/>
                    <a:gd name="T16" fmla="*/ 10 w 91"/>
                    <a:gd name="T17" fmla="*/ 75 h 91"/>
                    <a:gd name="T18" fmla="*/ 13 w 91"/>
                    <a:gd name="T19" fmla="*/ 77 h 91"/>
                    <a:gd name="T20" fmla="*/ 22 w 91"/>
                    <a:gd name="T21" fmla="*/ 73 h 91"/>
                    <a:gd name="T22" fmla="*/ 33 w 91"/>
                    <a:gd name="T23" fmla="*/ 87 h 91"/>
                    <a:gd name="T24" fmla="*/ 35 w 91"/>
                    <a:gd name="T25" fmla="*/ 90 h 91"/>
                    <a:gd name="T26" fmla="*/ 38 w 91"/>
                    <a:gd name="T27" fmla="*/ 90 h 91"/>
                    <a:gd name="T28" fmla="*/ 42 w 91"/>
                    <a:gd name="T29" fmla="*/ 91 h 91"/>
                    <a:gd name="T30" fmla="*/ 48 w 91"/>
                    <a:gd name="T31" fmla="*/ 91 h 91"/>
                    <a:gd name="T32" fmla="*/ 52 w 91"/>
                    <a:gd name="T33" fmla="*/ 86 h 91"/>
                    <a:gd name="T34" fmla="*/ 64 w 91"/>
                    <a:gd name="T35" fmla="*/ 76 h 91"/>
                    <a:gd name="T36" fmla="*/ 71 w 91"/>
                    <a:gd name="T37" fmla="*/ 81 h 91"/>
                    <a:gd name="T38" fmla="*/ 76 w 91"/>
                    <a:gd name="T39" fmla="*/ 79 h 91"/>
                    <a:gd name="T40" fmla="*/ 81 w 91"/>
                    <a:gd name="T41" fmla="*/ 74 h 91"/>
                    <a:gd name="T42" fmla="*/ 84 w 91"/>
                    <a:gd name="T43" fmla="*/ 69 h 91"/>
                    <a:gd name="T44" fmla="*/ 80 w 91"/>
                    <a:gd name="T45" fmla="*/ 63 h 91"/>
                    <a:gd name="T46" fmla="*/ 84 w 91"/>
                    <a:gd name="T47" fmla="*/ 49 h 91"/>
                    <a:gd name="T48" fmla="*/ 91 w 91"/>
                    <a:gd name="T49" fmla="*/ 45 h 91"/>
                    <a:gd name="T50" fmla="*/ 91 w 91"/>
                    <a:gd name="T51" fmla="*/ 40 h 91"/>
                    <a:gd name="T52" fmla="*/ 90 w 91"/>
                    <a:gd name="T53" fmla="*/ 35 h 91"/>
                    <a:gd name="T54" fmla="*/ 89 w 91"/>
                    <a:gd name="T55" fmla="*/ 32 h 91"/>
                    <a:gd name="T56" fmla="*/ 88 w 91"/>
                    <a:gd name="T57" fmla="*/ 29 h 91"/>
                    <a:gd name="T58" fmla="*/ 78 w 91"/>
                    <a:gd name="T59" fmla="*/ 30 h 91"/>
                    <a:gd name="T60" fmla="*/ 75 w 91"/>
                    <a:gd name="T61" fmla="*/ 12 h 91"/>
                    <a:gd name="T62" fmla="*/ 74 w 91"/>
                    <a:gd name="T63" fmla="*/ 8 h 91"/>
                    <a:gd name="T64" fmla="*/ 67 w 91"/>
                    <a:gd name="T65" fmla="*/ 4 h 91"/>
                    <a:gd name="T66" fmla="*/ 62 w 91"/>
                    <a:gd name="T67" fmla="*/ 2 h 91"/>
                    <a:gd name="T68" fmla="*/ 60 w 91"/>
                    <a:gd name="T69" fmla="*/ 2 h 91"/>
                    <a:gd name="T70" fmla="*/ 54 w 91"/>
                    <a:gd name="T71" fmla="*/ 10 h 91"/>
                    <a:gd name="T72" fmla="*/ 38 w 91"/>
                    <a:gd name="T73" fmla="*/ 1 h 91"/>
                    <a:gd name="T74" fmla="*/ 35 w 91"/>
                    <a:gd name="T75" fmla="*/ 0 h 91"/>
                    <a:gd name="T76" fmla="*/ 31 w 91"/>
                    <a:gd name="T77" fmla="*/ 1 h 91"/>
                    <a:gd name="T78" fmla="*/ 24 w 91"/>
                    <a:gd name="T79" fmla="*/ 4 h 91"/>
                    <a:gd name="T80" fmla="*/ 21 w 91"/>
                    <a:gd name="T81" fmla="*/ 6 h 91"/>
                    <a:gd name="T82" fmla="*/ 23 w 91"/>
                    <a:gd name="T83" fmla="*/ 16 h 91"/>
                    <a:gd name="T84" fmla="*/ 9 w 91"/>
                    <a:gd name="T85" fmla="*/ 24 h 91"/>
                    <a:gd name="T86" fmla="*/ 28 w 91"/>
                    <a:gd name="T87" fmla="*/ 28 h 91"/>
                    <a:gd name="T88" fmla="*/ 29 w 91"/>
                    <a:gd name="T89" fmla="*/ 64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91" h="91">
                      <a:moveTo>
                        <a:pt x="5" y="23"/>
                      </a:moveTo>
                      <a:cubicBezTo>
                        <a:pt x="5" y="24"/>
                        <a:pt x="4" y="24"/>
                        <a:pt x="4" y="25"/>
                      </a:cubicBezTo>
                      <a:cubicBezTo>
                        <a:pt x="4" y="25"/>
                        <a:pt x="4" y="25"/>
                        <a:pt x="3" y="25"/>
                      </a:cubicBezTo>
                      <a:cubicBezTo>
                        <a:pt x="3" y="26"/>
                        <a:pt x="3" y="26"/>
                        <a:pt x="3" y="27"/>
                      </a:cubicBezTo>
                      <a:cubicBezTo>
                        <a:pt x="3" y="27"/>
                        <a:pt x="2" y="28"/>
                        <a:pt x="2" y="29"/>
                      </a:cubicBezTo>
                      <a:cubicBezTo>
                        <a:pt x="2" y="30"/>
                        <a:pt x="1" y="30"/>
                        <a:pt x="1" y="31"/>
                      </a:cubicBezTo>
                      <a:cubicBezTo>
                        <a:pt x="1" y="32"/>
                        <a:pt x="1" y="33"/>
                        <a:pt x="0" y="34"/>
                      </a:cubicBezTo>
                      <a:cubicBezTo>
                        <a:pt x="0" y="35"/>
                        <a:pt x="0" y="35"/>
                        <a:pt x="0" y="36"/>
                      </a:cubicBezTo>
                      <a:cubicBezTo>
                        <a:pt x="0" y="37"/>
                        <a:pt x="0" y="37"/>
                        <a:pt x="0" y="38"/>
                      </a:cubicBezTo>
                      <a:cubicBezTo>
                        <a:pt x="0" y="38"/>
                        <a:pt x="0" y="38"/>
                        <a:pt x="0" y="38"/>
                      </a:cubicBezTo>
                      <a:cubicBezTo>
                        <a:pt x="0" y="38"/>
                        <a:pt x="0" y="38"/>
                        <a:pt x="0" y="38"/>
                      </a:cubicBezTo>
                      <a:cubicBezTo>
                        <a:pt x="0" y="39"/>
                        <a:pt x="0" y="40"/>
                        <a:pt x="0" y="40"/>
                      </a:cubicBezTo>
                      <a:cubicBezTo>
                        <a:pt x="0" y="41"/>
                        <a:pt x="1" y="41"/>
                        <a:pt x="1" y="41"/>
                      </a:cubicBezTo>
                      <a:cubicBezTo>
                        <a:pt x="1" y="41"/>
                        <a:pt x="2" y="42"/>
                        <a:pt x="4" y="42"/>
                      </a:cubicBezTo>
                      <a:cubicBezTo>
                        <a:pt x="5" y="43"/>
                        <a:pt x="7" y="43"/>
                        <a:pt x="9" y="44"/>
                      </a:cubicBezTo>
                      <a:cubicBezTo>
                        <a:pt x="9" y="48"/>
                        <a:pt x="10" y="52"/>
                        <a:pt x="11" y="56"/>
                      </a:cubicBezTo>
                      <a:cubicBezTo>
                        <a:pt x="9" y="58"/>
                        <a:pt x="8" y="59"/>
                        <a:pt x="6" y="60"/>
                      </a:cubicBezTo>
                      <a:cubicBezTo>
                        <a:pt x="5" y="61"/>
                        <a:pt x="4" y="61"/>
                        <a:pt x="4" y="61"/>
                      </a:cubicBezTo>
                      <a:cubicBezTo>
                        <a:pt x="4" y="62"/>
                        <a:pt x="3" y="62"/>
                        <a:pt x="3" y="63"/>
                      </a:cubicBezTo>
                      <a:cubicBezTo>
                        <a:pt x="3" y="63"/>
                        <a:pt x="3" y="63"/>
                        <a:pt x="3" y="64"/>
                      </a:cubicBezTo>
                      <a:cubicBezTo>
                        <a:pt x="3" y="64"/>
                        <a:pt x="4" y="64"/>
                        <a:pt x="4" y="65"/>
                      </a:cubicBezTo>
                      <a:cubicBezTo>
                        <a:pt x="4" y="65"/>
                        <a:pt x="4" y="65"/>
                        <a:pt x="4" y="65"/>
                      </a:cubicBezTo>
                      <a:cubicBezTo>
                        <a:pt x="4" y="66"/>
                        <a:pt x="4" y="66"/>
                        <a:pt x="5" y="67"/>
                      </a:cubicBezTo>
                      <a:cubicBezTo>
                        <a:pt x="5" y="67"/>
                        <a:pt x="5" y="68"/>
                        <a:pt x="6" y="69"/>
                      </a:cubicBezTo>
                      <a:cubicBezTo>
                        <a:pt x="6" y="69"/>
                        <a:pt x="6" y="69"/>
                        <a:pt x="7" y="70"/>
                      </a:cubicBezTo>
                      <a:cubicBezTo>
                        <a:pt x="7" y="70"/>
                        <a:pt x="7" y="71"/>
                        <a:pt x="7" y="71"/>
                      </a:cubicBezTo>
                      <a:cubicBezTo>
                        <a:pt x="8" y="72"/>
                        <a:pt x="9" y="74"/>
                        <a:pt x="10" y="75"/>
                      </a:cubicBezTo>
                      <a:cubicBezTo>
                        <a:pt x="11" y="75"/>
                        <a:pt x="11" y="76"/>
                        <a:pt x="11" y="76"/>
                      </a:cubicBezTo>
                      <a:cubicBezTo>
                        <a:pt x="12" y="76"/>
                        <a:pt x="12" y="76"/>
                        <a:pt x="12" y="76"/>
                      </a:cubicBezTo>
                      <a:cubicBezTo>
                        <a:pt x="12" y="77"/>
                        <a:pt x="13" y="77"/>
                        <a:pt x="13" y="77"/>
                      </a:cubicBezTo>
                      <a:cubicBezTo>
                        <a:pt x="14" y="78"/>
                        <a:pt x="15" y="77"/>
                        <a:pt x="15" y="77"/>
                      </a:cubicBezTo>
                      <a:cubicBezTo>
                        <a:pt x="15" y="77"/>
                        <a:pt x="16" y="77"/>
                        <a:pt x="17" y="76"/>
                      </a:cubicBezTo>
                      <a:cubicBezTo>
                        <a:pt x="19" y="75"/>
                        <a:pt x="20" y="74"/>
                        <a:pt x="22" y="73"/>
                      </a:cubicBezTo>
                      <a:cubicBezTo>
                        <a:pt x="25" y="75"/>
                        <a:pt x="29" y="77"/>
                        <a:pt x="33" y="79"/>
                      </a:cubicBezTo>
                      <a:cubicBezTo>
                        <a:pt x="33" y="81"/>
                        <a:pt x="33" y="83"/>
                        <a:pt x="33" y="85"/>
                      </a:cubicBezTo>
                      <a:cubicBezTo>
                        <a:pt x="33" y="86"/>
                        <a:pt x="33" y="87"/>
                        <a:pt x="33" y="87"/>
                      </a:cubicBezTo>
                      <a:cubicBezTo>
                        <a:pt x="33" y="88"/>
                        <a:pt x="33" y="88"/>
                        <a:pt x="33" y="89"/>
                      </a:cubicBezTo>
                      <a:cubicBezTo>
                        <a:pt x="33" y="89"/>
                        <a:pt x="34" y="89"/>
                        <a:pt x="34" y="89"/>
                      </a:cubicBezTo>
                      <a:cubicBezTo>
                        <a:pt x="34" y="90"/>
                        <a:pt x="35" y="90"/>
                        <a:pt x="35" y="90"/>
                      </a:cubicBezTo>
                      <a:cubicBezTo>
                        <a:pt x="35" y="90"/>
                        <a:pt x="35" y="90"/>
                        <a:pt x="36" y="90"/>
                      </a:cubicBezTo>
                      <a:cubicBezTo>
                        <a:pt x="36" y="90"/>
                        <a:pt x="36" y="90"/>
                        <a:pt x="37" y="90"/>
                      </a:cubicBezTo>
                      <a:cubicBezTo>
                        <a:pt x="37" y="90"/>
                        <a:pt x="38" y="90"/>
                        <a:pt x="38" y="90"/>
                      </a:cubicBezTo>
                      <a:cubicBezTo>
                        <a:pt x="39" y="90"/>
                        <a:pt x="39" y="90"/>
                        <a:pt x="39" y="91"/>
                      </a:cubicBezTo>
                      <a:cubicBezTo>
                        <a:pt x="40" y="91"/>
                        <a:pt x="40" y="91"/>
                        <a:pt x="41" y="91"/>
                      </a:cubicBezTo>
                      <a:cubicBezTo>
                        <a:pt x="41" y="91"/>
                        <a:pt x="41" y="91"/>
                        <a:pt x="42" y="91"/>
                      </a:cubicBezTo>
                      <a:cubicBezTo>
                        <a:pt x="43" y="91"/>
                        <a:pt x="44" y="91"/>
                        <a:pt x="45" y="91"/>
                      </a:cubicBezTo>
                      <a:cubicBezTo>
                        <a:pt x="45" y="91"/>
                        <a:pt x="46" y="91"/>
                        <a:pt x="47" y="91"/>
                      </a:cubicBezTo>
                      <a:cubicBezTo>
                        <a:pt x="47" y="91"/>
                        <a:pt x="48" y="91"/>
                        <a:pt x="48" y="91"/>
                      </a:cubicBezTo>
                      <a:cubicBezTo>
                        <a:pt x="49" y="91"/>
                        <a:pt x="49" y="91"/>
                        <a:pt x="49" y="91"/>
                      </a:cubicBezTo>
                      <a:cubicBezTo>
                        <a:pt x="50" y="91"/>
                        <a:pt x="52" y="90"/>
                        <a:pt x="52" y="89"/>
                      </a:cubicBezTo>
                      <a:cubicBezTo>
                        <a:pt x="52" y="89"/>
                        <a:pt x="52" y="88"/>
                        <a:pt x="52" y="86"/>
                      </a:cubicBezTo>
                      <a:cubicBezTo>
                        <a:pt x="52" y="85"/>
                        <a:pt x="52" y="84"/>
                        <a:pt x="52" y="83"/>
                      </a:cubicBezTo>
                      <a:cubicBezTo>
                        <a:pt x="52" y="82"/>
                        <a:pt x="52" y="81"/>
                        <a:pt x="53" y="80"/>
                      </a:cubicBezTo>
                      <a:cubicBezTo>
                        <a:pt x="57" y="79"/>
                        <a:pt x="61" y="78"/>
                        <a:pt x="64" y="76"/>
                      </a:cubicBezTo>
                      <a:cubicBezTo>
                        <a:pt x="65" y="76"/>
                        <a:pt x="66" y="77"/>
                        <a:pt x="66" y="78"/>
                      </a:cubicBezTo>
                      <a:cubicBezTo>
                        <a:pt x="67" y="78"/>
                        <a:pt x="68" y="79"/>
                        <a:pt x="68" y="79"/>
                      </a:cubicBezTo>
                      <a:cubicBezTo>
                        <a:pt x="70" y="80"/>
                        <a:pt x="71" y="81"/>
                        <a:pt x="71" y="81"/>
                      </a:cubicBezTo>
                      <a:cubicBezTo>
                        <a:pt x="71" y="82"/>
                        <a:pt x="72" y="82"/>
                        <a:pt x="72" y="82"/>
                      </a:cubicBezTo>
                      <a:cubicBezTo>
                        <a:pt x="73" y="82"/>
                        <a:pt x="73" y="81"/>
                        <a:pt x="74" y="81"/>
                      </a:cubicBezTo>
                      <a:cubicBezTo>
                        <a:pt x="74" y="81"/>
                        <a:pt x="75" y="80"/>
                        <a:pt x="76" y="79"/>
                      </a:cubicBezTo>
                      <a:cubicBezTo>
                        <a:pt x="76" y="79"/>
                        <a:pt x="77" y="78"/>
                        <a:pt x="77" y="78"/>
                      </a:cubicBezTo>
                      <a:cubicBezTo>
                        <a:pt x="78" y="77"/>
                        <a:pt x="79" y="77"/>
                        <a:pt x="79" y="76"/>
                      </a:cubicBezTo>
                      <a:cubicBezTo>
                        <a:pt x="80" y="75"/>
                        <a:pt x="80" y="75"/>
                        <a:pt x="81" y="74"/>
                      </a:cubicBezTo>
                      <a:cubicBezTo>
                        <a:pt x="81" y="73"/>
                        <a:pt x="82" y="73"/>
                        <a:pt x="82" y="72"/>
                      </a:cubicBezTo>
                      <a:cubicBezTo>
                        <a:pt x="83" y="71"/>
                        <a:pt x="83" y="71"/>
                        <a:pt x="83" y="71"/>
                      </a:cubicBezTo>
                      <a:cubicBezTo>
                        <a:pt x="84" y="70"/>
                        <a:pt x="84" y="69"/>
                        <a:pt x="84" y="69"/>
                      </a:cubicBezTo>
                      <a:cubicBezTo>
                        <a:pt x="84" y="68"/>
                        <a:pt x="84" y="68"/>
                        <a:pt x="84" y="67"/>
                      </a:cubicBezTo>
                      <a:cubicBezTo>
                        <a:pt x="84" y="67"/>
                        <a:pt x="83" y="66"/>
                        <a:pt x="82" y="65"/>
                      </a:cubicBezTo>
                      <a:cubicBezTo>
                        <a:pt x="81" y="65"/>
                        <a:pt x="80" y="64"/>
                        <a:pt x="80" y="63"/>
                      </a:cubicBezTo>
                      <a:cubicBezTo>
                        <a:pt x="79" y="63"/>
                        <a:pt x="78" y="62"/>
                        <a:pt x="78" y="61"/>
                      </a:cubicBezTo>
                      <a:cubicBezTo>
                        <a:pt x="79" y="57"/>
                        <a:pt x="81" y="53"/>
                        <a:pt x="81" y="49"/>
                      </a:cubicBezTo>
                      <a:cubicBezTo>
                        <a:pt x="82" y="49"/>
                        <a:pt x="83" y="49"/>
                        <a:pt x="84" y="49"/>
                      </a:cubicBezTo>
                      <a:cubicBezTo>
                        <a:pt x="85" y="49"/>
                        <a:pt x="86" y="48"/>
                        <a:pt x="87" y="48"/>
                      </a:cubicBezTo>
                      <a:cubicBezTo>
                        <a:pt x="88" y="48"/>
                        <a:pt x="89" y="48"/>
                        <a:pt x="89" y="48"/>
                      </a:cubicBezTo>
                      <a:cubicBezTo>
                        <a:pt x="91" y="48"/>
                        <a:pt x="91" y="46"/>
                        <a:pt x="91" y="45"/>
                      </a:cubicBezTo>
                      <a:cubicBezTo>
                        <a:pt x="91" y="45"/>
                        <a:pt x="91" y="45"/>
                        <a:pt x="91" y="44"/>
                      </a:cubicBezTo>
                      <a:cubicBezTo>
                        <a:pt x="91" y="44"/>
                        <a:pt x="91" y="43"/>
                        <a:pt x="91" y="43"/>
                      </a:cubicBezTo>
                      <a:cubicBezTo>
                        <a:pt x="91" y="42"/>
                        <a:pt x="91" y="41"/>
                        <a:pt x="91" y="40"/>
                      </a:cubicBezTo>
                      <a:cubicBezTo>
                        <a:pt x="91" y="40"/>
                        <a:pt x="91" y="39"/>
                        <a:pt x="91" y="38"/>
                      </a:cubicBezTo>
                      <a:cubicBezTo>
                        <a:pt x="91" y="37"/>
                        <a:pt x="91" y="37"/>
                        <a:pt x="91" y="37"/>
                      </a:cubicBezTo>
                      <a:cubicBezTo>
                        <a:pt x="91" y="36"/>
                        <a:pt x="90" y="36"/>
                        <a:pt x="90" y="35"/>
                      </a:cubicBezTo>
                      <a:cubicBezTo>
                        <a:pt x="90" y="35"/>
                        <a:pt x="90" y="34"/>
                        <a:pt x="90" y="34"/>
                      </a:cubicBezTo>
                      <a:cubicBezTo>
                        <a:pt x="90" y="34"/>
                        <a:pt x="90" y="33"/>
                        <a:pt x="90" y="33"/>
                      </a:cubicBezTo>
                      <a:cubicBezTo>
                        <a:pt x="90" y="32"/>
                        <a:pt x="90" y="32"/>
                        <a:pt x="89" y="32"/>
                      </a:cubicBezTo>
                      <a:cubicBezTo>
                        <a:pt x="89" y="31"/>
                        <a:pt x="89" y="31"/>
                        <a:pt x="89" y="31"/>
                      </a:cubicBezTo>
                      <a:cubicBezTo>
                        <a:pt x="89" y="31"/>
                        <a:pt x="89" y="30"/>
                        <a:pt x="89" y="30"/>
                      </a:cubicBezTo>
                      <a:cubicBezTo>
                        <a:pt x="89" y="30"/>
                        <a:pt x="88" y="29"/>
                        <a:pt x="88" y="29"/>
                      </a:cubicBezTo>
                      <a:cubicBezTo>
                        <a:pt x="88" y="29"/>
                        <a:pt x="87" y="29"/>
                        <a:pt x="87" y="29"/>
                      </a:cubicBezTo>
                      <a:cubicBezTo>
                        <a:pt x="87" y="29"/>
                        <a:pt x="86" y="29"/>
                        <a:pt x="84" y="29"/>
                      </a:cubicBezTo>
                      <a:cubicBezTo>
                        <a:pt x="82" y="29"/>
                        <a:pt x="80" y="29"/>
                        <a:pt x="78" y="30"/>
                      </a:cubicBezTo>
                      <a:cubicBezTo>
                        <a:pt x="76" y="26"/>
                        <a:pt x="74" y="23"/>
                        <a:pt x="71" y="20"/>
                      </a:cubicBezTo>
                      <a:cubicBezTo>
                        <a:pt x="72" y="18"/>
                        <a:pt x="73" y="16"/>
                        <a:pt x="74" y="14"/>
                      </a:cubicBezTo>
                      <a:cubicBezTo>
                        <a:pt x="75" y="13"/>
                        <a:pt x="75" y="12"/>
                        <a:pt x="75" y="12"/>
                      </a:cubicBezTo>
                      <a:cubicBezTo>
                        <a:pt x="75" y="12"/>
                        <a:pt x="75" y="11"/>
                        <a:pt x="75" y="10"/>
                      </a:cubicBezTo>
                      <a:cubicBezTo>
                        <a:pt x="75" y="10"/>
                        <a:pt x="75" y="9"/>
                        <a:pt x="74" y="9"/>
                      </a:cubicBezTo>
                      <a:cubicBezTo>
                        <a:pt x="74" y="9"/>
                        <a:pt x="74" y="9"/>
                        <a:pt x="74" y="8"/>
                      </a:cubicBezTo>
                      <a:cubicBezTo>
                        <a:pt x="73" y="8"/>
                        <a:pt x="73" y="8"/>
                        <a:pt x="72" y="7"/>
                      </a:cubicBezTo>
                      <a:cubicBezTo>
                        <a:pt x="71" y="7"/>
                        <a:pt x="70" y="6"/>
                        <a:pt x="68" y="5"/>
                      </a:cubicBezTo>
                      <a:cubicBezTo>
                        <a:pt x="68" y="5"/>
                        <a:pt x="67" y="4"/>
                        <a:pt x="67" y="4"/>
                      </a:cubicBezTo>
                      <a:cubicBezTo>
                        <a:pt x="67" y="4"/>
                        <a:pt x="66" y="4"/>
                        <a:pt x="66" y="4"/>
                      </a:cubicBezTo>
                      <a:cubicBezTo>
                        <a:pt x="65" y="3"/>
                        <a:pt x="64" y="3"/>
                        <a:pt x="64" y="3"/>
                      </a:cubicBezTo>
                      <a:cubicBezTo>
                        <a:pt x="63" y="2"/>
                        <a:pt x="63" y="2"/>
                        <a:pt x="62" y="2"/>
                      </a:cubicBezTo>
                      <a:cubicBezTo>
                        <a:pt x="62" y="2"/>
                        <a:pt x="62" y="2"/>
                        <a:pt x="62" y="2"/>
                      </a:cubicBezTo>
                      <a:cubicBezTo>
                        <a:pt x="62" y="2"/>
                        <a:pt x="61" y="2"/>
                        <a:pt x="61" y="2"/>
                      </a:cubicBezTo>
                      <a:cubicBezTo>
                        <a:pt x="60" y="2"/>
                        <a:pt x="60" y="2"/>
                        <a:pt x="60" y="2"/>
                      </a:cubicBezTo>
                      <a:cubicBezTo>
                        <a:pt x="59" y="2"/>
                        <a:pt x="59" y="2"/>
                        <a:pt x="59" y="3"/>
                      </a:cubicBezTo>
                      <a:cubicBezTo>
                        <a:pt x="59" y="3"/>
                        <a:pt x="58" y="3"/>
                        <a:pt x="57" y="5"/>
                      </a:cubicBezTo>
                      <a:cubicBezTo>
                        <a:pt x="56" y="6"/>
                        <a:pt x="55" y="8"/>
                        <a:pt x="54" y="10"/>
                      </a:cubicBezTo>
                      <a:cubicBezTo>
                        <a:pt x="50" y="9"/>
                        <a:pt x="46" y="8"/>
                        <a:pt x="42" y="9"/>
                      </a:cubicBezTo>
                      <a:cubicBezTo>
                        <a:pt x="41" y="7"/>
                        <a:pt x="40" y="5"/>
                        <a:pt x="39" y="4"/>
                      </a:cubicBezTo>
                      <a:cubicBezTo>
                        <a:pt x="39" y="2"/>
                        <a:pt x="38" y="1"/>
                        <a:pt x="38" y="1"/>
                      </a:cubicBezTo>
                      <a:cubicBezTo>
                        <a:pt x="38" y="1"/>
                        <a:pt x="38" y="0"/>
                        <a:pt x="37" y="0"/>
                      </a:cubicBezTo>
                      <a:cubicBezTo>
                        <a:pt x="36" y="0"/>
                        <a:pt x="36" y="0"/>
                        <a:pt x="35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35" y="0"/>
                        <a:pt x="35" y="0"/>
                        <a:pt x="34" y="0"/>
                      </a:cubicBezTo>
                      <a:cubicBezTo>
                        <a:pt x="34" y="0"/>
                        <a:pt x="34" y="0"/>
                        <a:pt x="33" y="0"/>
                      </a:cubicBezTo>
                      <a:cubicBezTo>
                        <a:pt x="32" y="1"/>
                        <a:pt x="32" y="1"/>
                        <a:pt x="31" y="1"/>
                      </a:cubicBezTo>
                      <a:cubicBezTo>
                        <a:pt x="30" y="1"/>
                        <a:pt x="29" y="2"/>
                        <a:pt x="28" y="2"/>
                      </a:cubicBezTo>
                      <a:cubicBezTo>
                        <a:pt x="28" y="2"/>
                        <a:pt x="27" y="3"/>
                        <a:pt x="26" y="3"/>
                      </a:cubicBezTo>
                      <a:cubicBezTo>
                        <a:pt x="25" y="3"/>
                        <a:pt x="24" y="4"/>
                        <a:pt x="24" y="4"/>
                      </a:cubicBezTo>
                      <a:cubicBezTo>
                        <a:pt x="23" y="4"/>
                        <a:pt x="23" y="5"/>
                        <a:pt x="22" y="5"/>
                      </a:cubicBezTo>
                      <a:cubicBezTo>
                        <a:pt x="22" y="5"/>
                        <a:pt x="22" y="5"/>
                        <a:pt x="22" y="5"/>
                      </a:cubicBezTo>
                      <a:cubicBezTo>
                        <a:pt x="21" y="5"/>
                        <a:pt x="21" y="6"/>
                        <a:pt x="21" y="6"/>
                      </a:cubicBezTo>
                      <a:cubicBezTo>
                        <a:pt x="20" y="7"/>
                        <a:pt x="20" y="8"/>
                        <a:pt x="20" y="8"/>
                      </a:cubicBezTo>
                      <a:cubicBezTo>
                        <a:pt x="20" y="8"/>
                        <a:pt x="21" y="9"/>
                        <a:pt x="21" y="11"/>
                      </a:cubicBezTo>
                      <a:cubicBezTo>
                        <a:pt x="22" y="12"/>
                        <a:pt x="22" y="14"/>
                        <a:pt x="23" y="16"/>
                      </a:cubicBezTo>
                      <a:cubicBezTo>
                        <a:pt x="22" y="17"/>
                        <a:pt x="20" y="19"/>
                        <a:pt x="19" y="20"/>
                      </a:cubicBezTo>
                      <a:cubicBezTo>
                        <a:pt x="17" y="22"/>
                        <a:pt x="16" y="23"/>
                        <a:pt x="15" y="25"/>
                      </a:cubicBezTo>
                      <a:cubicBezTo>
                        <a:pt x="13" y="25"/>
                        <a:pt x="11" y="24"/>
                        <a:pt x="9" y="24"/>
                      </a:cubicBezTo>
                      <a:cubicBezTo>
                        <a:pt x="8" y="23"/>
                        <a:pt x="7" y="23"/>
                        <a:pt x="7" y="23"/>
                      </a:cubicBezTo>
                      <a:cubicBezTo>
                        <a:pt x="6" y="23"/>
                        <a:pt x="6" y="23"/>
                        <a:pt x="5" y="23"/>
                      </a:cubicBezTo>
                      <a:close/>
                      <a:moveTo>
                        <a:pt x="28" y="28"/>
                      </a:moveTo>
                      <a:cubicBezTo>
                        <a:pt x="37" y="18"/>
                        <a:pt x="53" y="18"/>
                        <a:pt x="63" y="27"/>
                      </a:cubicBezTo>
                      <a:cubicBezTo>
                        <a:pt x="73" y="36"/>
                        <a:pt x="74" y="52"/>
                        <a:pt x="64" y="62"/>
                      </a:cubicBezTo>
                      <a:cubicBezTo>
                        <a:pt x="55" y="73"/>
                        <a:pt x="39" y="73"/>
                        <a:pt x="29" y="64"/>
                      </a:cubicBezTo>
                      <a:cubicBezTo>
                        <a:pt x="19" y="54"/>
                        <a:pt x="18" y="39"/>
                        <a:pt x="28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21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PH" sz="1795" b="0" i="0" u="none" strike="noStrike" kern="0" cap="none" spc="0" normalizeH="0" baseline="0" noProof="0">
                    <a:ln>
                      <a:noFill/>
                    </a:ln>
                    <a:solidFill>
                      <a:srgbClr val="1D1D1D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56" name="Freeform">
                  <a:extLst>
                    <a:ext uri="{FF2B5EF4-FFF2-40B4-BE49-F238E27FC236}">
                      <a16:creationId xmlns:a16="http://schemas.microsoft.com/office/drawing/2014/main" id="{9CE6E72D-9D6A-4408-99BF-217DD91D8FBF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5313812" y="-804809"/>
                  <a:ext cx="212012" cy="208961"/>
                </a:xfrm>
                <a:custGeom>
                  <a:avLst/>
                  <a:gdLst>
                    <a:gd name="T0" fmla="*/ 6 w 132"/>
                    <a:gd name="T1" fmla="*/ 36 h 130"/>
                    <a:gd name="T2" fmla="*/ 3 w 132"/>
                    <a:gd name="T3" fmla="*/ 45 h 130"/>
                    <a:gd name="T4" fmla="*/ 1 w 132"/>
                    <a:gd name="T5" fmla="*/ 54 h 130"/>
                    <a:gd name="T6" fmla="*/ 1 w 132"/>
                    <a:gd name="T7" fmla="*/ 58 h 130"/>
                    <a:gd name="T8" fmla="*/ 14 w 132"/>
                    <a:gd name="T9" fmla="*/ 63 h 130"/>
                    <a:gd name="T10" fmla="*/ 7 w 132"/>
                    <a:gd name="T11" fmla="*/ 88 h 130"/>
                    <a:gd name="T12" fmla="*/ 6 w 132"/>
                    <a:gd name="T13" fmla="*/ 93 h 130"/>
                    <a:gd name="T14" fmla="*/ 9 w 132"/>
                    <a:gd name="T15" fmla="*/ 98 h 130"/>
                    <a:gd name="T16" fmla="*/ 16 w 132"/>
                    <a:gd name="T17" fmla="*/ 107 h 130"/>
                    <a:gd name="T18" fmla="*/ 20 w 132"/>
                    <a:gd name="T19" fmla="*/ 111 h 130"/>
                    <a:gd name="T20" fmla="*/ 33 w 132"/>
                    <a:gd name="T21" fmla="*/ 104 h 130"/>
                    <a:gd name="T22" fmla="*/ 48 w 132"/>
                    <a:gd name="T23" fmla="*/ 125 h 130"/>
                    <a:gd name="T24" fmla="*/ 51 w 132"/>
                    <a:gd name="T25" fmla="*/ 128 h 130"/>
                    <a:gd name="T26" fmla="*/ 56 w 132"/>
                    <a:gd name="T27" fmla="*/ 129 h 130"/>
                    <a:gd name="T28" fmla="*/ 61 w 132"/>
                    <a:gd name="T29" fmla="*/ 130 h 130"/>
                    <a:gd name="T30" fmla="*/ 70 w 132"/>
                    <a:gd name="T31" fmla="*/ 130 h 130"/>
                    <a:gd name="T32" fmla="*/ 75 w 132"/>
                    <a:gd name="T33" fmla="*/ 123 h 130"/>
                    <a:gd name="T34" fmla="*/ 93 w 132"/>
                    <a:gd name="T35" fmla="*/ 108 h 130"/>
                    <a:gd name="T36" fmla="*/ 102 w 132"/>
                    <a:gd name="T37" fmla="*/ 116 h 130"/>
                    <a:gd name="T38" fmla="*/ 109 w 132"/>
                    <a:gd name="T39" fmla="*/ 114 h 130"/>
                    <a:gd name="T40" fmla="*/ 117 w 132"/>
                    <a:gd name="T41" fmla="*/ 106 h 130"/>
                    <a:gd name="T42" fmla="*/ 121 w 132"/>
                    <a:gd name="T43" fmla="*/ 98 h 130"/>
                    <a:gd name="T44" fmla="*/ 115 w 132"/>
                    <a:gd name="T45" fmla="*/ 90 h 130"/>
                    <a:gd name="T46" fmla="*/ 121 w 132"/>
                    <a:gd name="T47" fmla="*/ 70 h 130"/>
                    <a:gd name="T48" fmla="*/ 132 w 132"/>
                    <a:gd name="T49" fmla="*/ 64 h 130"/>
                    <a:gd name="T50" fmla="*/ 131 w 132"/>
                    <a:gd name="T51" fmla="*/ 58 h 130"/>
                    <a:gd name="T52" fmla="*/ 130 w 132"/>
                    <a:gd name="T53" fmla="*/ 51 h 130"/>
                    <a:gd name="T54" fmla="*/ 129 w 132"/>
                    <a:gd name="T55" fmla="*/ 45 h 130"/>
                    <a:gd name="T56" fmla="*/ 127 w 132"/>
                    <a:gd name="T57" fmla="*/ 42 h 130"/>
                    <a:gd name="T58" fmla="*/ 113 w 132"/>
                    <a:gd name="T59" fmla="*/ 43 h 130"/>
                    <a:gd name="T60" fmla="*/ 108 w 132"/>
                    <a:gd name="T61" fmla="*/ 17 h 130"/>
                    <a:gd name="T62" fmla="*/ 106 w 132"/>
                    <a:gd name="T63" fmla="*/ 12 h 130"/>
                    <a:gd name="T64" fmla="*/ 97 w 132"/>
                    <a:gd name="T65" fmla="*/ 6 h 130"/>
                    <a:gd name="T66" fmla="*/ 90 w 132"/>
                    <a:gd name="T67" fmla="*/ 3 h 130"/>
                    <a:gd name="T68" fmla="*/ 87 w 132"/>
                    <a:gd name="T69" fmla="*/ 2 h 130"/>
                    <a:gd name="T70" fmla="*/ 78 w 132"/>
                    <a:gd name="T71" fmla="*/ 14 h 130"/>
                    <a:gd name="T72" fmla="*/ 56 w 132"/>
                    <a:gd name="T73" fmla="*/ 2 h 130"/>
                    <a:gd name="T74" fmla="*/ 51 w 132"/>
                    <a:gd name="T75" fmla="*/ 0 h 130"/>
                    <a:gd name="T76" fmla="*/ 45 w 132"/>
                    <a:gd name="T77" fmla="*/ 2 h 130"/>
                    <a:gd name="T78" fmla="*/ 35 w 132"/>
                    <a:gd name="T79" fmla="*/ 6 h 130"/>
                    <a:gd name="T80" fmla="*/ 30 w 132"/>
                    <a:gd name="T81" fmla="*/ 9 h 130"/>
                    <a:gd name="T82" fmla="*/ 34 w 132"/>
                    <a:gd name="T83" fmla="*/ 23 h 130"/>
                    <a:gd name="T84" fmla="*/ 14 w 132"/>
                    <a:gd name="T85" fmla="*/ 34 h 130"/>
                    <a:gd name="T86" fmla="*/ 40 w 132"/>
                    <a:gd name="T87" fmla="*/ 41 h 130"/>
                    <a:gd name="T88" fmla="*/ 42 w 132"/>
                    <a:gd name="T89" fmla="*/ 91 h 1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32" h="130">
                      <a:moveTo>
                        <a:pt x="8" y="33"/>
                      </a:moveTo>
                      <a:cubicBezTo>
                        <a:pt x="8" y="34"/>
                        <a:pt x="7" y="35"/>
                        <a:pt x="6" y="36"/>
                      </a:cubicBezTo>
                      <a:cubicBezTo>
                        <a:pt x="6" y="36"/>
                        <a:pt x="6" y="36"/>
                        <a:pt x="6" y="36"/>
                      </a:cubicBezTo>
                      <a:cubicBezTo>
                        <a:pt x="6" y="37"/>
                        <a:pt x="5" y="38"/>
                        <a:pt x="5" y="38"/>
                      </a:cubicBezTo>
                      <a:cubicBezTo>
                        <a:pt x="5" y="39"/>
                        <a:pt x="4" y="40"/>
                        <a:pt x="4" y="41"/>
                      </a:cubicBezTo>
                      <a:cubicBezTo>
                        <a:pt x="4" y="42"/>
                        <a:pt x="3" y="44"/>
                        <a:pt x="3" y="45"/>
                      </a:cubicBezTo>
                      <a:cubicBezTo>
                        <a:pt x="2" y="46"/>
                        <a:pt x="2" y="47"/>
                        <a:pt x="2" y="48"/>
                      </a:cubicBezTo>
                      <a:cubicBezTo>
                        <a:pt x="1" y="50"/>
                        <a:pt x="1" y="51"/>
                        <a:pt x="1" y="52"/>
                      </a:cubicBezTo>
                      <a:cubicBezTo>
                        <a:pt x="1" y="53"/>
                        <a:pt x="1" y="53"/>
                        <a:pt x="1" y="54"/>
                      </a:cubicBezTo>
                      <a:cubicBezTo>
                        <a:pt x="1" y="54"/>
                        <a:pt x="1" y="54"/>
                        <a:pt x="1" y="54"/>
                      </a:cubicBezTo>
                      <a:cubicBezTo>
                        <a:pt x="1" y="55"/>
                        <a:pt x="1" y="55"/>
                        <a:pt x="1" y="55"/>
                      </a:cubicBezTo>
                      <a:cubicBezTo>
                        <a:pt x="0" y="56"/>
                        <a:pt x="1" y="57"/>
                        <a:pt x="1" y="58"/>
                      </a:cubicBezTo>
                      <a:cubicBezTo>
                        <a:pt x="1" y="58"/>
                        <a:pt x="2" y="59"/>
                        <a:pt x="3" y="59"/>
                      </a:cubicBezTo>
                      <a:cubicBezTo>
                        <a:pt x="3" y="59"/>
                        <a:pt x="4" y="60"/>
                        <a:pt x="6" y="60"/>
                      </a:cubicBezTo>
                      <a:cubicBezTo>
                        <a:pt x="8" y="61"/>
                        <a:pt x="11" y="62"/>
                        <a:pt x="14" y="63"/>
                      </a:cubicBezTo>
                      <a:cubicBezTo>
                        <a:pt x="14" y="69"/>
                        <a:pt x="15" y="75"/>
                        <a:pt x="17" y="81"/>
                      </a:cubicBezTo>
                      <a:cubicBezTo>
                        <a:pt x="14" y="82"/>
                        <a:pt x="12" y="84"/>
                        <a:pt x="10" y="85"/>
                      </a:cubicBezTo>
                      <a:cubicBezTo>
                        <a:pt x="8" y="87"/>
                        <a:pt x="7" y="88"/>
                        <a:pt x="7" y="88"/>
                      </a:cubicBezTo>
                      <a:cubicBezTo>
                        <a:pt x="6" y="88"/>
                        <a:pt x="6" y="89"/>
                        <a:pt x="6" y="90"/>
                      </a:cubicBezTo>
                      <a:cubicBezTo>
                        <a:pt x="6" y="90"/>
                        <a:pt x="6" y="91"/>
                        <a:pt x="6" y="91"/>
                      </a:cubicBezTo>
                      <a:cubicBezTo>
                        <a:pt x="6" y="92"/>
                        <a:pt x="6" y="92"/>
                        <a:pt x="6" y="93"/>
                      </a:cubicBezTo>
                      <a:cubicBezTo>
                        <a:pt x="6" y="93"/>
                        <a:pt x="7" y="93"/>
                        <a:pt x="7" y="93"/>
                      </a:cubicBezTo>
                      <a:cubicBezTo>
                        <a:pt x="7" y="94"/>
                        <a:pt x="7" y="95"/>
                        <a:pt x="8" y="95"/>
                      </a:cubicBezTo>
                      <a:cubicBezTo>
                        <a:pt x="8" y="96"/>
                        <a:pt x="9" y="97"/>
                        <a:pt x="9" y="98"/>
                      </a:cubicBezTo>
                      <a:cubicBezTo>
                        <a:pt x="10" y="99"/>
                        <a:pt x="10" y="99"/>
                        <a:pt x="10" y="100"/>
                      </a:cubicBezTo>
                      <a:cubicBezTo>
                        <a:pt x="11" y="100"/>
                        <a:pt x="11" y="101"/>
                        <a:pt x="11" y="101"/>
                      </a:cubicBezTo>
                      <a:cubicBezTo>
                        <a:pt x="13" y="103"/>
                        <a:pt x="14" y="105"/>
                        <a:pt x="16" y="107"/>
                      </a:cubicBezTo>
                      <a:cubicBezTo>
                        <a:pt x="16" y="108"/>
                        <a:pt x="17" y="108"/>
                        <a:pt x="17" y="109"/>
                      </a:cubicBezTo>
                      <a:cubicBezTo>
                        <a:pt x="18" y="109"/>
                        <a:pt x="18" y="109"/>
                        <a:pt x="18" y="109"/>
                      </a:cubicBezTo>
                      <a:cubicBezTo>
                        <a:pt x="18" y="110"/>
                        <a:pt x="19" y="111"/>
                        <a:pt x="20" y="111"/>
                      </a:cubicBezTo>
                      <a:cubicBezTo>
                        <a:pt x="21" y="111"/>
                        <a:pt x="22" y="111"/>
                        <a:pt x="22" y="110"/>
                      </a:cubicBezTo>
                      <a:cubicBezTo>
                        <a:pt x="22" y="110"/>
                        <a:pt x="24" y="110"/>
                        <a:pt x="26" y="108"/>
                      </a:cubicBezTo>
                      <a:cubicBezTo>
                        <a:pt x="28" y="107"/>
                        <a:pt x="30" y="106"/>
                        <a:pt x="33" y="104"/>
                      </a:cubicBezTo>
                      <a:cubicBezTo>
                        <a:pt x="37" y="108"/>
                        <a:pt x="43" y="111"/>
                        <a:pt x="48" y="113"/>
                      </a:cubicBezTo>
                      <a:cubicBezTo>
                        <a:pt x="48" y="116"/>
                        <a:pt x="48" y="119"/>
                        <a:pt x="48" y="121"/>
                      </a:cubicBezTo>
                      <a:cubicBezTo>
                        <a:pt x="48" y="123"/>
                        <a:pt x="48" y="125"/>
                        <a:pt x="48" y="125"/>
                      </a:cubicBezTo>
                      <a:cubicBezTo>
                        <a:pt x="48" y="126"/>
                        <a:pt x="48" y="126"/>
                        <a:pt x="49" y="127"/>
                      </a:cubicBezTo>
                      <a:cubicBezTo>
                        <a:pt x="49" y="127"/>
                        <a:pt x="49" y="128"/>
                        <a:pt x="50" y="128"/>
                      </a:cubicBezTo>
                      <a:cubicBezTo>
                        <a:pt x="50" y="128"/>
                        <a:pt x="51" y="128"/>
                        <a:pt x="51" y="128"/>
                      </a:cubicBezTo>
                      <a:cubicBezTo>
                        <a:pt x="51" y="128"/>
                        <a:pt x="51" y="128"/>
                        <a:pt x="52" y="129"/>
                      </a:cubicBezTo>
                      <a:cubicBezTo>
                        <a:pt x="52" y="129"/>
                        <a:pt x="53" y="129"/>
                        <a:pt x="54" y="129"/>
                      </a:cubicBezTo>
                      <a:cubicBezTo>
                        <a:pt x="55" y="129"/>
                        <a:pt x="55" y="129"/>
                        <a:pt x="56" y="129"/>
                      </a:cubicBezTo>
                      <a:cubicBezTo>
                        <a:pt x="56" y="129"/>
                        <a:pt x="57" y="129"/>
                        <a:pt x="57" y="129"/>
                      </a:cubicBezTo>
                      <a:cubicBezTo>
                        <a:pt x="58" y="130"/>
                        <a:pt x="59" y="130"/>
                        <a:pt x="59" y="130"/>
                      </a:cubicBezTo>
                      <a:cubicBezTo>
                        <a:pt x="60" y="130"/>
                        <a:pt x="60" y="130"/>
                        <a:pt x="61" y="130"/>
                      </a:cubicBezTo>
                      <a:cubicBezTo>
                        <a:pt x="62" y="130"/>
                        <a:pt x="64" y="130"/>
                        <a:pt x="65" y="130"/>
                      </a:cubicBezTo>
                      <a:cubicBezTo>
                        <a:pt x="66" y="130"/>
                        <a:pt x="67" y="130"/>
                        <a:pt x="68" y="130"/>
                      </a:cubicBezTo>
                      <a:cubicBezTo>
                        <a:pt x="69" y="130"/>
                        <a:pt x="70" y="130"/>
                        <a:pt x="70" y="130"/>
                      </a:cubicBezTo>
                      <a:cubicBezTo>
                        <a:pt x="71" y="130"/>
                        <a:pt x="71" y="130"/>
                        <a:pt x="71" y="130"/>
                      </a:cubicBezTo>
                      <a:cubicBezTo>
                        <a:pt x="73" y="130"/>
                        <a:pt x="75" y="128"/>
                        <a:pt x="75" y="127"/>
                      </a:cubicBezTo>
                      <a:cubicBezTo>
                        <a:pt x="75" y="127"/>
                        <a:pt x="75" y="125"/>
                        <a:pt x="75" y="123"/>
                      </a:cubicBezTo>
                      <a:cubicBezTo>
                        <a:pt x="76" y="122"/>
                        <a:pt x="76" y="120"/>
                        <a:pt x="76" y="119"/>
                      </a:cubicBezTo>
                      <a:cubicBezTo>
                        <a:pt x="76" y="118"/>
                        <a:pt x="76" y="116"/>
                        <a:pt x="76" y="115"/>
                      </a:cubicBezTo>
                      <a:cubicBezTo>
                        <a:pt x="82" y="114"/>
                        <a:pt x="88" y="111"/>
                        <a:pt x="93" y="108"/>
                      </a:cubicBezTo>
                      <a:cubicBezTo>
                        <a:pt x="94" y="109"/>
                        <a:pt x="95" y="110"/>
                        <a:pt x="96" y="111"/>
                      </a:cubicBezTo>
                      <a:cubicBezTo>
                        <a:pt x="97" y="112"/>
                        <a:pt x="98" y="113"/>
                        <a:pt x="99" y="114"/>
                      </a:cubicBezTo>
                      <a:cubicBezTo>
                        <a:pt x="101" y="115"/>
                        <a:pt x="102" y="116"/>
                        <a:pt x="102" y="116"/>
                      </a:cubicBezTo>
                      <a:cubicBezTo>
                        <a:pt x="102" y="117"/>
                        <a:pt x="103" y="117"/>
                        <a:pt x="104" y="117"/>
                      </a:cubicBezTo>
                      <a:cubicBezTo>
                        <a:pt x="105" y="117"/>
                        <a:pt x="106" y="116"/>
                        <a:pt x="107" y="116"/>
                      </a:cubicBezTo>
                      <a:cubicBezTo>
                        <a:pt x="107" y="116"/>
                        <a:pt x="108" y="115"/>
                        <a:pt x="109" y="114"/>
                      </a:cubicBezTo>
                      <a:cubicBezTo>
                        <a:pt x="110" y="113"/>
                        <a:pt x="111" y="112"/>
                        <a:pt x="112" y="111"/>
                      </a:cubicBezTo>
                      <a:cubicBezTo>
                        <a:pt x="112" y="111"/>
                        <a:pt x="113" y="110"/>
                        <a:pt x="114" y="109"/>
                      </a:cubicBezTo>
                      <a:cubicBezTo>
                        <a:pt x="115" y="108"/>
                        <a:pt x="116" y="107"/>
                        <a:pt x="117" y="106"/>
                      </a:cubicBezTo>
                      <a:cubicBezTo>
                        <a:pt x="117" y="105"/>
                        <a:pt x="118" y="104"/>
                        <a:pt x="119" y="104"/>
                      </a:cubicBezTo>
                      <a:cubicBezTo>
                        <a:pt x="120" y="102"/>
                        <a:pt x="120" y="101"/>
                        <a:pt x="120" y="101"/>
                      </a:cubicBezTo>
                      <a:cubicBezTo>
                        <a:pt x="121" y="100"/>
                        <a:pt x="121" y="99"/>
                        <a:pt x="121" y="98"/>
                      </a:cubicBezTo>
                      <a:cubicBezTo>
                        <a:pt x="121" y="97"/>
                        <a:pt x="121" y="97"/>
                        <a:pt x="120" y="96"/>
                      </a:cubicBezTo>
                      <a:cubicBezTo>
                        <a:pt x="120" y="96"/>
                        <a:pt x="119" y="95"/>
                        <a:pt x="118" y="93"/>
                      </a:cubicBezTo>
                      <a:cubicBezTo>
                        <a:pt x="117" y="92"/>
                        <a:pt x="116" y="91"/>
                        <a:pt x="115" y="90"/>
                      </a:cubicBezTo>
                      <a:cubicBezTo>
                        <a:pt x="114" y="90"/>
                        <a:pt x="113" y="89"/>
                        <a:pt x="112" y="88"/>
                      </a:cubicBezTo>
                      <a:cubicBezTo>
                        <a:pt x="115" y="82"/>
                        <a:pt x="116" y="76"/>
                        <a:pt x="117" y="71"/>
                      </a:cubicBezTo>
                      <a:cubicBezTo>
                        <a:pt x="118" y="70"/>
                        <a:pt x="120" y="70"/>
                        <a:pt x="121" y="70"/>
                      </a:cubicBezTo>
                      <a:cubicBezTo>
                        <a:pt x="123" y="70"/>
                        <a:pt x="124" y="69"/>
                        <a:pt x="125" y="69"/>
                      </a:cubicBezTo>
                      <a:cubicBezTo>
                        <a:pt x="127" y="69"/>
                        <a:pt x="129" y="68"/>
                        <a:pt x="129" y="68"/>
                      </a:cubicBezTo>
                      <a:cubicBezTo>
                        <a:pt x="130" y="68"/>
                        <a:pt x="132" y="66"/>
                        <a:pt x="132" y="64"/>
                      </a:cubicBezTo>
                      <a:cubicBezTo>
                        <a:pt x="132" y="64"/>
                        <a:pt x="132" y="64"/>
                        <a:pt x="132" y="63"/>
                      </a:cubicBezTo>
                      <a:cubicBezTo>
                        <a:pt x="132" y="63"/>
                        <a:pt x="132" y="62"/>
                        <a:pt x="132" y="61"/>
                      </a:cubicBezTo>
                      <a:cubicBezTo>
                        <a:pt x="131" y="60"/>
                        <a:pt x="131" y="59"/>
                        <a:pt x="131" y="58"/>
                      </a:cubicBezTo>
                      <a:cubicBezTo>
                        <a:pt x="131" y="57"/>
                        <a:pt x="131" y="55"/>
                        <a:pt x="131" y="54"/>
                      </a:cubicBezTo>
                      <a:cubicBezTo>
                        <a:pt x="131" y="54"/>
                        <a:pt x="131" y="53"/>
                        <a:pt x="131" y="52"/>
                      </a:cubicBezTo>
                      <a:cubicBezTo>
                        <a:pt x="130" y="52"/>
                        <a:pt x="130" y="51"/>
                        <a:pt x="130" y="51"/>
                      </a:cubicBezTo>
                      <a:cubicBezTo>
                        <a:pt x="130" y="50"/>
                        <a:pt x="130" y="49"/>
                        <a:pt x="130" y="49"/>
                      </a:cubicBezTo>
                      <a:cubicBezTo>
                        <a:pt x="130" y="48"/>
                        <a:pt x="130" y="48"/>
                        <a:pt x="129" y="47"/>
                      </a:cubicBezTo>
                      <a:cubicBezTo>
                        <a:pt x="129" y="46"/>
                        <a:pt x="129" y="46"/>
                        <a:pt x="129" y="45"/>
                      </a:cubicBezTo>
                      <a:cubicBezTo>
                        <a:pt x="129" y="45"/>
                        <a:pt x="129" y="44"/>
                        <a:pt x="129" y="44"/>
                      </a:cubicBezTo>
                      <a:cubicBezTo>
                        <a:pt x="128" y="44"/>
                        <a:pt x="128" y="43"/>
                        <a:pt x="128" y="43"/>
                      </a:cubicBezTo>
                      <a:cubicBezTo>
                        <a:pt x="128" y="43"/>
                        <a:pt x="127" y="42"/>
                        <a:pt x="127" y="42"/>
                      </a:cubicBezTo>
                      <a:cubicBezTo>
                        <a:pt x="126" y="41"/>
                        <a:pt x="126" y="41"/>
                        <a:pt x="125" y="41"/>
                      </a:cubicBezTo>
                      <a:cubicBezTo>
                        <a:pt x="125" y="41"/>
                        <a:pt x="123" y="41"/>
                        <a:pt x="121" y="42"/>
                      </a:cubicBezTo>
                      <a:cubicBezTo>
                        <a:pt x="119" y="42"/>
                        <a:pt x="116" y="42"/>
                        <a:pt x="113" y="43"/>
                      </a:cubicBezTo>
                      <a:cubicBezTo>
                        <a:pt x="110" y="37"/>
                        <a:pt x="107" y="32"/>
                        <a:pt x="103" y="28"/>
                      </a:cubicBezTo>
                      <a:cubicBezTo>
                        <a:pt x="104" y="25"/>
                        <a:pt x="106" y="23"/>
                        <a:pt x="107" y="21"/>
                      </a:cubicBezTo>
                      <a:cubicBezTo>
                        <a:pt x="108" y="19"/>
                        <a:pt x="108" y="17"/>
                        <a:pt x="108" y="17"/>
                      </a:cubicBezTo>
                      <a:cubicBezTo>
                        <a:pt x="109" y="17"/>
                        <a:pt x="109" y="16"/>
                        <a:pt x="109" y="15"/>
                      </a:cubicBezTo>
                      <a:cubicBezTo>
                        <a:pt x="108" y="14"/>
                        <a:pt x="108" y="13"/>
                        <a:pt x="107" y="13"/>
                      </a:cubicBezTo>
                      <a:cubicBezTo>
                        <a:pt x="107" y="13"/>
                        <a:pt x="107" y="13"/>
                        <a:pt x="106" y="12"/>
                      </a:cubicBezTo>
                      <a:cubicBezTo>
                        <a:pt x="106" y="12"/>
                        <a:pt x="105" y="11"/>
                        <a:pt x="104" y="11"/>
                      </a:cubicBezTo>
                      <a:cubicBezTo>
                        <a:pt x="103" y="10"/>
                        <a:pt x="101" y="8"/>
                        <a:pt x="99" y="7"/>
                      </a:cubicBezTo>
                      <a:cubicBezTo>
                        <a:pt x="98" y="7"/>
                        <a:pt x="97" y="6"/>
                        <a:pt x="97" y="6"/>
                      </a:cubicBezTo>
                      <a:cubicBezTo>
                        <a:pt x="96" y="6"/>
                        <a:pt x="96" y="6"/>
                        <a:pt x="95" y="5"/>
                      </a:cubicBezTo>
                      <a:cubicBezTo>
                        <a:pt x="94" y="5"/>
                        <a:pt x="93" y="4"/>
                        <a:pt x="92" y="4"/>
                      </a:cubicBezTo>
                      <a:cubicBezTo>
                        <a:pt x="92" y="4"/>
                        <a:pt x="91" y="3"/>
                        <a:pt x="90" y="3"/>
                      </a:cubicBezTo>
                      <a:cubicBezTo>
                        <a:pt x="90" y="3"/>
                        <a:pt x="89" y="3"/>
                        <a:pt x="89" y="3"/>
                      </a:cubicBezTo>
                      <a:cubicBezTo>
                        <a:pt x="89" y="2"/>
                        <a:pt x="88" y="2"/>
                        <a:pt x="88" y="2"/>
                      </a:cubicBezTo>
                      <a:cubicBezTo>
                        <a:pt x="87" y="2"/>
                        <a:pt x="87" y="2"/>
                        <a:pt x="87" y="2"/>
                      </a:cubicBezTo>
                      <a:cubicBezTo>
                        <a:pt x="86" y="3"/>
                        <a:pt x="85" y="3"/>
                        <a:pt x="85" y="4"/>
                      </a:cubicBezTo>
                      <a:cubicBezTo>
                        <a:pt x="85" y="4"/>
                        <a:pt x="84" y="5"/>
                        <a:pt x="83" y="7"/>
                      </a:cubicBezTo>
                      <a:cubicBezTo>
                        <a:pt x="81" y="9"/>
                        <a:pt x="80" y="11"/>
                        <a:pt x="78" y="14"/>
                      </a:cubicBezTo>
                      <a:cubicBezTo>
                        <a:pt x="72" y="13"/>
                        <a:pt x="66" y="12"/>
                        <a:pt x="61" y="13"/>
                      </a:cubicBezTo>
                      <a:cubicBezTo>
                        <a:pt x="59" y="10"/>
                        <a:pt x="58" y="7"/>
                        <a:pt x="57" y="5"/>
                      </a:cubicBezTo>
                      <a:cubicBezTo>
                        <a:pt x="56" y="3"/>
                        <a:pt x="56" y="2"/>
                        <a:pt x="56" y="2"/>
                      </a:cubicBezTo>
                      <a:cubicBezTo>
                        <a:pt x="55" y="1"/>
                        <a:pt x="55" y="0"/>
                        <a:pt x="54" y="0"/>
                      </a:cubicBezTo>
                      <a:cubicBezTo>
                        <a:pt x="53" y="0"/>
                        <a:pt x="52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0" y="0"/>
                      </a:cubicBezTo>
                      <a:cubicBezTo>
                        <a:pt x="50" y="0"/>
                        <a:pt x="49" y="0"/>
                        <a:pt x="48" y="1"/>
                      </a:cubicBezTo>
                      <a:cubicBezTo>
                        <a:pt x="47" y="1"/>
                        <a:pt x="46" y="1"/>
                        <a:pt x="45" y="2"/>
                      </a:cubicBezTo>
                      <a:cubicBezTo>
                        <a:pt x="44" y="2"/>
                        <a:pt x="43" y="2"/>
                        <a:pt x="42" y="3"/>
                      </a:cubicBezTo>
                      <a:cubicBezTo>
                        <a:pt x="40" y="3"/>
                        <a:pt x="39" y="4"/>
                        <a:pt x="38" y="4"/>
                      </a:cubicBezTo>
                      <a:cubicBezTo>
                        <a:pt x="37" y="5"/>
                        <a:pt x="36" y="5"/>
                        <a:pt x="35" y="6"/>
                      </a:cubicBezTo>
                      <a:cubicBezTo>
                        <a:pt x="34" y="6"/>
                        <a:pt x="34" y="7"/>
                        <a:pt x="33" y="7"/>
                      </a:cubicBezTo>
                      <a:cubicBezTo>
                        <a:pt x="33" y="7"/>
                        <a:pt x="32" y="7"/>
                        <a:pt x="32" y="7"/>
                      </a:cubicBezTo>
                      <a:cubicBezTo>
                        <a:pt x="32" y="8"/>
                        <a:pt x="31" y="9"/>
                        <a:pt x="30" y="9"/>
                      </a:cubicBezTo>
                      <a:cubicBezTo>
                        <a:pt x="30" y="10"/>
                        <a:pt x="30" y="11"/>
                        <a:pt x="30" y="12"/>
                      </a:cubicBezTo>
                      <a:cubicBezTo>
                        <a:pt x="30" y="12"/>
                        <a:pt x="31" y="13"/>
                        <a:pt x="31" y="15"/>
                      </a:cubicBezTo>
                      <a:cubicBezTo>
                        <a:pt x="32" y="17"/>
                        <a:pt x="33" y="20"/>
                        <a:pt x="34" y="23"/>
                      </a:cubicBezTo>
                      <a:cubicBezTo>
                        <a:pt x="32" y="25"/>
                        <a:pt x="30" y="27"/>
                        <a:pt x="28" y="29"/>
                      </a:cubicBezTo>
                      <a:cubicBezTo>
                        <a:pt x="26" y="31"/>
                        <a:pt x="24" y="34"/>
                        <a:pt x="22" y="36"/>
                      </a:cubicBezTo>
                      <a:cubicBezTo>
                        <a:pt x="19" y="35"/>
                        <a:pt x="17" y="34"/>
                        <a:pt x="14" y="34"/>
                      </a:cubicBezTo>
                      <a:cubicBezTo>
                        <a:pt x="12" y="33"/>
                        <a:pt x="11" y="33"/>
                        <a:pt x="11" y="33"/>
                      </a:cubicBezTo>
                      <a:cubicBezTo>
                        <a:pt x="10" y="33"/>
                        <a:pt x="9" y="33"/>
                        <a:pt x="8" y="33"/>
                      </a:cubicBezTo>
                      <a:close/>
                      <a:moveTo>
                        <a:pt x="40" y="41"/>
                      </a:moveTo>
                      <a:cubicBezTo>
                        <a:pt x="54" y="26"/>
                        <a:pt x="76" y="25"/>
                        <a:pt x="91" y="39"/>
                      </a:cubicBezTo>
                      <a:cubicBezTo>
                        <a:pt x="105" y="52"/>
                        <a:pt x="106" y="75"/>
                        <a:pt x="93" y="89"/>
                      </a:cubicBezTo>
                      <a:cubicBezTo>
                        <a:pt x="80" y="104"/>
                        <a:pt x="57" y="105"/>
                        <a:pt x="42" y="91"/>
                      </a:cubicBezTo>
                      <a:cubicBezTo>
                        <a:pt x="28" y="78"/>
                        <a:pt x="27" y="55"/>
                        <a:pt x="40" y="4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21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PH" sz="1795" b="0" i="0" u="none" strike="noStrike" kern="0" cap="none" spc="0" normalizeH="0" baseline="0" noProof="0">
                    <a:ln>
                      <a:noFill/>
                    </a:ln>
                    <a:solidFill>
                      <a:srgbClr val="1D1D1D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53" name="Number">
                <a:extLst>
                  <a:ext uri="{FF2B5EF4-FFF2-40B4-BE49-F238E27FC236}">
                    <a16:creationId xmlns:a16="http://schemas.microsoft.com/office/drawing/2014/main" id="{2097871F-30E8-4F33-914E-35EB3A591042}"/>
                  </a:ext>
                </a:extLst>
              </p:cNvPr>
              <p:cNvSpPr txBox="1"/>
              <p:nvPr/>
            </p:nvSpPr>
            <p:spPr>
              <a:xfrm>
                <a:off x="4392342" y="5268674"/>
                <a:ext cx="317716" cy="37542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200"/>
                  </a:spcBef>
                  <a:spcAft>
                    <a:spcPts val="399"/>
                  </a:spcAft>
                </a:pPr>
                <a:r>
                  <a:rPr lang="en-US" sz="2044" b="1">
                    <a:solidFill>
                      <a:schemeClr val="bg1"/>
                    </a:solidFill>
                  </a:rPr>
                  <a:t>5</a:t>
                </a:r>
              </a:p>
            </p:txBody>
          </p:sp>
        </p:grpSp>
        <p:grpSp>
          <p:nvGrpSpPr>
            <p:cNvPr id="26" name="Topic 3">
              <a:extLst>
                <a:ext uri="{FF2B5EF4-FFF2-40B4-BE49-F238E27FC236}">
                  <a16:creationId xmlns:a16="http://schemas.microsoft.com/office/drawing/2014/main" id="{1305AAED-5DCA-4E67-8CEA-91482EAC8648}"/>
                </a:ext>
              </a:extLst>
            </p:cNvPr>
            <p:cNvGrpSpPr/>
            <p:nvPr/>
          </p:nvGrpSpPr>
          <p:grpSpPr>
            <a:xfrm>
              <a:off x="8329334" y="3763128"/>
              <a:ext cx="3420580" cy="1238592"/>
              <a:chOff x="8329334" y="3763128"/>
              <a:chExt cx="3420580" cy="1238592"/>
            </a:xfrm>
          </p:grpSpPr>
          <p:sp>
            <p:nvSpPr>
              <p:cNvPr id="44" name="Box 3">
                <a:hlinkClick r:id="" action="ppaction://noaction"/>
                <a:extLst>
                  <a:ext uri="{FF2B5EF4-FFF2-40B4-BE49-F238E27FC236}">
                    <a16:creationId xmlns:a16="http://schemas.microsoft.com/office/drawing/2014/main" id="{44899D37-4378-4962-9EBA-408D11531422}"/>
                  </a:ext>
                </a:extLst>
              </p:cNvPr>
              <p:cNvSpPr/>
              <p:nvPr userDrawn="1"/>
            </p:nvSpPr>
            <p:spPr>
              <a:xfrm>
                <a:off x="8336991" y="3770366"/>
                <a:ext cx="3412923" cy="1231354"/>
              </a:xfrm>
              <a:custGeom>
                <a:avLst/>
                <a:gdLst/>
                <a:ahLst/>
                <a:cxnLst/>
                <a:rect l="l" t="t" r="r" b="b"/>
                <a:pathLst>
                  <a:path w="2268220" h="1080135">
                    <a:moveTo>
                      <a:pt x="0" y="1079995"/>
                    </a:moveTo>
                    <a:lnTo>
                      <a:pt x="2268004" y="1079995"/>
                    </a:lnTo>
                    <a:lnTo>
                      <a:pt x="2268004" y="0"/>
                    </a:lnTo>
                    <a:lnTo>
                      <a:pt x="0" y="0"/>
                    </a:lnTo>
                    <a:lnTo>
                      <a:pt x="0" y="1079995"/>
                    </a:lnTo>
                    <a:close/>
                  </a:path>
                </a:pathLst>
              </a:custGeom>
              <a:solidFill>
                <a:srgbClr val="1D1D1D">
                  <a:alpha val="80000"/>
                </a:srgbClr>
              </a:solidFill>
            </p:spPr>
            <p:txBody>
              <a:bodyPr wrap="square" lIns="0" tIns="0" rIns="0" bIns="0" rtlCol="0"/>
              <a:lstStyle/>
              <a:p>
                <a:pPr marL="0" marR="0" lvl="0" indent="0" algn="l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795" b="0" i="0" u="none" strike="noStrike" kern="0" cap="none" spc="0" normalizeH="0" baseline="0" noProof="0">
                  <a:ln>
                    <a:noFill/>
                  </a:ln>
                  <a:solidFill>
                    <a:srgbClr val="1D1D1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45" name="Icon: Topic 3" descr="Hierarchy" hidden="1">
                <a:extLst>
                  <a:ext uri="{FF2B5EF4-FFF2-40B4-BE49-F238E27FC236}">
                    <a16:creationId xmlns:a16="http://schemas.microsoft.com/office/drawing/2014/main" id="{4A06F287-2B0B-4814-95DC-45ECE89073E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498687" y="3877841"/>
                <a:ext cx="669248" cy="669248"/>
              </a:xfrm>
              <a:prstGeom prst="rect">
                <a:avLst/>
              </a:prstGeom>
            </p:spPr>
          </p:pic>
          <p:sp>
            <p:nvSpPr>
              <p:cNvPr id="46" name="Line 3">
                <a:extLst>
                  <a:ext uri="{FF2B5EF4-FFF2-40B4-BE49-F238E27FC236}">
                    <a16:creationId xmlns:a16="http://schemas.microsoft.com/office/drawing/2014/main" id="{A196DCFE-DDAC-4F7C-9832-29A9D9BEE9EF}"/>
                  </a:ext>
                </a:extLst>
              </p:cNvPr>
              <p:cNvSpPr/>
              <p:nvPr userDrawn="1"/>
            </p:nvSpPr>
            <p:spPr>
              <a:xfrm>
                <a:off x="8336991" y="3763128"/>
                <a:ext cx="3412923" cy="28956"/>
              </a:xfrm>
              <a:custGeom>
                <a:avLst/>
                <a:gdLst/>
                <a:ahLst/>
                <a:cxnLst/>
                <a:rect l="l" t="t" r="r" b="b"/>
                <a:pathLst>
                  <a:path w="2268220" h="25400">
                    <a:moveTo>
                      <a:pt x="0" y="25400"/>
                    </a:moveTo>
                    <a:lnTo>
                      <a:pt x="2268004" y="25400"/>
                    </a:lnTo>
                    <a:lnTo>
                      <a:pt x="2268004" y="0"/>
                    </a:lnTo>
                    <a:lnTo>
                      <a:pt x="0" y="0"/>
                    </a:lnTo>
                    <a:lnTo>
                      <a:pt x="0" y="2540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wrap="square" lIns="0" tIns="0" rIns="0" bIns="0" rtlCol="0"/>
              <a:lstStyle/>
              <a:p>
                <a:pPr marL="0" marR="0" lvl="0" indent="0" algn="l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795" b="0" i="0" u="none" strike="noStrike" kern="0" cap="none" spc="0" normalizeH="0" baseline="0" noProof="0">
                  <a:ln>
                    <a:noFill/>
                  </a:ln>
                  <a:solidFill>
                    <a:srgbClr val="1D1D1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" name="Topic 3">
                <a:extLst>
                  <a:ext uri="{FF2B5EF4-FFF2-40B4-BE49-F238E27FC236}">
                    <a16:creationId xmlns:a16="http://schemas.microsoft.com/office/drawing/2014/main" id="{B5DDBC5D-BBDF-457B-8953-D612EFCF689D}"/>
                  </a:ext>
                </a:extLst>
              </p:cNvPr>
              <p:cNvSpPr txBox="1"/>
              <p:nvPr userDrawn="1"/>
            </p:nvSpPr>
            <p:spPr>
              <a:xfrm>
                <a:off x="9118839" y="3918381"/>
                <a:ext cx="2631075" cy="707886"/>
              </a:xfrm>
              <a:prstGeom prst="rect">
                <a:avLst/>
              </a:prstGeom>
              <a:noFill/>
            </p:spPr>
            <p:txBody>
              <a:bodyPr wrap="square" lIns="0" tIns="0" rIns="108000" bIns="0" rtlCol="0">
                <a:spAutoFit/>
              </a:bodyPr>
              <a:lstStyle/>
              <a:p>
                <a:pPr marL="0" marR="0" lvl="0" indent="0" algn="r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795" b="1" kern="0">
                    <a:solidFill>
                      <a:srgbClr val="FFFFFF"/>
                    </a:solidFill>
                    <a:latin typeface="Arial Black" panose="020B0A04020102020204" pitchFamily="34" charset="0"/>
                  </a:rPr>
                  <a:t>Topic 3</a:t>
                </a:r>
              </a:p>
              <a:p>
                <a:pPr marL="0" marR="0" lvl="0" indent="0" algn="r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95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endParaRPr>
              </a:p>
              <a:p>
                <a:pPr marL="0" marR="0" lvl="0" indent="0" algn="r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a-DK" sz="998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Lorem ipsum dolor sit amet consetetur</a:t>
                </a:r>
                <a:endParaRPr kumimoji="0" lang="de-DE" sz="1995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" name="Number">
                <a:extLst>
                  <a:ext uri="{FF2B5EF4-FFF2-40B4-BE49-F238E27FC236}">
                    <a16:creationId xmlns:a16="http://schemas.microsoft.com/office/drawing/2014/main" id="{E1857D78-D00D-48FE-A251-D540A51A8389}"/>
                  </a:ext>
                </a:extLst>
              </p:cNvPr>
              <p:cNvSpPr txBox="1"/>
              <p:nvPr/>
            </p:nvSpPr>
            <p:spPr>
              <a:xfrm>
                <a:off x="8329334" y="3915673"/>
                <a:ext cx="317716" cy="37542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200"/>
                  </a:spcBef>
                  <a:spcAft>
                    <a:spcPts val="399"/>
                  </a:spcAft>
                </a:pPr>
                <a:r>
                  <a:rPr lang="en-US" sz="2044" b="1">
                    <a:solidFill>
                      <a:schemeClr val="bg1"/>
                    </a:solidFill>
                  </a:rPr>
                  <a:t>3</a:t>
                </a:r>
              </a:p>
            </p:txBody>
          </p:sp>
        </p:grpSp>
        <p:grpSp>
          <p:nvGrpSpPr>
            <p:cNvPr id="27" name="Topic 2">
              <a:extLst>
                <a:ext uri="{FF2B5EF4-FFF2-40B4-BE49-F238E27FC236}">
                  <a16:creationId xmlns:a16="http://schemas.microsoft.com/office/drawing/2014/main" id="{76C86C61-25D1-4C6F-BAA7-D3DD3321600A}"/>
                </a:ext>
              </a:extLst>
            </p:cNvPr>
            <p:cNvGrpSpPr/>
            <p:nvPr/>
          </p:nvGrpSpPr>
          <p:grpSpPr>
            <a:xfrm>
              <a:off x="4395727" y="3763128"/>
              <a:ext cx="3412923" cy="1238592"/>
              <a:chOff x="4395727" y="3763128"/>
              <a:chExt cx="3412923" cy="1238592"/>
            </a:xfrm>
          </p:grpSpPr>
          <p:sp>
            <p:nvSpPr>
              <p:cNvPr id="37" name="Box 2">
                <a:hlinkClick r:id="" action="ppaction://noaction"/>
                <a:extLst>
                  <a:ext uri="{FF2B5EF4-FFF2-40B4-BE49-F238E27FC236}">
                    <a16:creationId xmlns:a16="http://schemas.microsoft.com/office/drawing/2014/main" id="{A707C32F-7012-4734-9807-E94B2D0724BF}"/>
                  </a:ext>
                </a:extLst>
              </p:cNvPr>
              <p:cNvSpPr/>
              <p:nvPr/>
            </p:nvSpPr>
            <p:spPr>
              <a:xfrm>
                <a:off x="4395727" y="3770366"/>
                <a:ext cx="3412923" cy="1231354"/>
              </a:xfrm>
              <a:custGeom>
                <a:avLst/>
                <a:gdLst/>
                <a:ahLst/>
                <a:cxnLst/>
                <a:rect l="l" t="t" r="r" b="b"/>
                <a:pathLst>
                  <a:path w="2268220" h="1080135">
                    <a:moveTo>
                      <a:pt x="0" y="1079995"/>
                    </a:moveTo>
                    <a:lnTo>
                      <a:pt x="2268004" y="1079995"/>
                    </a:lnTo>
                    <a:lnTo>
                      <a:pt x="2268004" y="0"/>
                    </a:lnTo>
                    <a:lnTo>
                      <a:pt x="0" y="0"/>
                    </a:lnTo>
                    <a:lnTo>
                      <a:pt x="0" y="1079995"/>
                    </a:lnTo>
                    <a:close/>
                  </a:path>
                </a:pathLst>
              </a:custGeom>
              <a:solidFill>
                <a:srgbClr val="1D1D1D">
                  <a:alpha val="80000"/>
                </a:srgbClr>
              </a:solidFill>
            </p:spPr>
            <p:txBody>
              <a:bodyPr wrap="square" lIns="0" tIns="0" rIns="0" bIns="0" rtlCol="0"/>
              <a:lstStyle/>
              <a:p>
                <a:pPr marL="0" marR="0" lvl="0" indent="0" algn="l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795" b="0" i="0" u="none" strike="noStrike" kern="0" cap="none" spc="0" normalizeH="0" baseline="0" noProof="0">
                  <a:ln>
                    <a:noFill/>
                  </a:ln>
                  <a:solidFill>
                    <a:srgbClr val="1D1D1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" name="Line 2">
                <a:extLst>
                  <a:ext uri="{FF2B5EF4-FFF2-40B4-BE49-F238E27FC236}">
                    <a16:creationId xmlns:a16="http://schemas.microsoft.com/office/drawing/2014/main" id="{E7B8D72D-F6D0-4030-9157-B6C32054B365}"/>
                  </a:ext>
                </a:extLst>
              </p:cNvPr>
              <p:cNvSpPr/>
              <p:nvPr/>
            </p:nvSpPr>
            <p:spPr>
              <a:xfrm>
                <a:off x="4395727" y="3763128"/>
                <a:ext cx="3412923" cy="28956"/>
              </a:xfrm>
              <a:custGeom>
                <a:avLst/>
                <a:gdLst/>
                <a:ahLst/>
                <a:cxnLst/>
                <a:rect l="l" t="t" r="r" b="b"/>
                <a:pathLst>
                  <a:path w="2268220" h="25400">
                    <a:moveTo>
                      <a:pt x="0" y="25400"/>
                    </a:moveTo>
                    <a:lnTo>
                      <a:pt x="2268004" y="25400"/>
                    </a:lnTo>
                    <a:lnTo>
                      <a:pt x="2268004" y="0"/>
                    </a:lnTo>
                    <a:lnTo>
                      <a:pt x="0" y="0"/>
                    </a:lnTo>
                    <a:lnTo>
                      <a:pt x="0" y="2540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wrap="square" lIns="0" tIns="0" rIns="0" bIns="0" rtlCol="0"/>
              <a:lstStyle/>
              <a:p>
                <a:pPr marL="0" marR="0" lvl="0" indent="0" algn="l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795" b="0" i="0" u="none" strike="noStrike" kern="0" cap="none" spc="0" normalizeH="0" baseline="0" noProof="0">
                  <a:ln>
                    <a:noFill/>
                  </a:ln>
                  <a:solidFill>
                    <a:srgbClr val="1D1D1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" name="Topic 2">
                <a:extLst>
                  <a:ext uri="{FF2B5EF4-FFF2-40B4-BE49-F238E27FC236}">
                    <a16:creationId xmlns:a16="http://schemas.microsoft.com/office/drawing/2014/main" id="{83B1E92E-2598-494B-B683-C61B621289F5}"/>
                  </a:ext>
                </a:extLst>
              </p:cNvPr>
              <p:cNvSpPr txBox="1"/>
              <p:nvPr/>
            </p:nvSpPr>
            <p:spPr>
              <a:xfrm>
                <a:off x="5177575" y="3918381"/>
                <a:ext cx="2631075" cy="707886"/>
              </a:xfrm>
              <a:prstGeom prst="rect">
                <a:avLst/>
              </a:prstGeom>
              <a:noFill/>
            </p:spPr>
            <p:txBody>
              <a:bodyPr wrap="square" lIns="0" tIns="0" rIns="108000" bIns="0" rtlCol="0">
                <a:spAutoFit/>
              </a:bodyPr>
              <a:lstStyle/>
              <a:p>
                <a:pPr marL="0" marR="0" lvl="0" indent="0" algn="r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795" b="1" kern="0">
                    <a:solidFill>
                      <a:srgbClr val="FFFFFF"/>
                    </a:solidFill>
                    <a:latin typeface="Arial Black" panose="020B0A04020102020204" pitchFamily="34" charset="0"/>
                  </a:rPr>
                  <a:t>Topic 2</a:t>
                </a:r>
              </a:p>
              <a:p>
                <a:pPr marL="0" marR="0" lvl="0" indent="0" algn="r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95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endParaRPr>
              </a:p>
              <a:p>
                <a:pPr marL="0" marR="0" lvl="0" indent="0" algn="r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a-DK" sz="998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Lorem ipsum dolor sit amet consetetur</a:t>
                </a:r>
                <a:endParaRPr kumimoji="0" lang="de-DE" sz="1995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40" name="Icon: Topic 2" hidden="1">
                <a:extLst>
                  <a:ext uri="{FF2B5EF4-FFF2-40B4-BE49-F238E27FC236}">
                    <a16:creationId xmlns:a16="http://schemas.microsoft.com/office/drawing/2014/main" id="{F5F8C642-A6E0-46DF-9CD2-21E705432409}"/>
                  </a:ext>
                </a:extLst>
              </p:cNvPr>
              <p:cNvGrpSpPr/>
              <p:nvPr/>
            </p:nvGrpSpPr>
            <p:grpSpPr>
              <a:xfrm>
                <a:off x="4518328" y="3828754"/>
                <a:ext cx="823244" cy="823243"/>
                <a:chOff x="2376603" y="275308"/>
                <a:chExt cx="318692" cy="318692"/>
              </a:xfrm>
              <a:solidFill>
                <a:srgbClr val="FFFFFF"/>
              </a:solidFill>
            </p:grpSpPr>
            <p:pic>
              <p:nvPicPr>
                <p:cNvPr id="42" name="Freeform" descr="World">
                  <a:extLst>
                    <a:ext uri="{FF2B5EF4-FFF2-40B4-BE49-F238E27FC236}">
                      <a16:creationId xmlns:a16="http://schemas.microsoft.com/office/drawing/2014/main" id="{2BAC6C8E-63C9-47A0-A30C-5F5318C48CC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459101" y="343623"/>
                  <a:ext cx="147665" cy="147665"/>
                </a:xfrm>
                <a:prstGeom prst="rect">
                  <a:avLst/>
                </a:prstGeom>
              </p:spPr>
            </p:pic>
            <p:pic>
              <p:nvPicPr>
                <p:cNvPr id="43" name="Freeform" descr="Monitor">
                  <a:extLst>
                    <a:ext uri="{FF2B5EF4-FFF2-40B4-BE49-F238E27FC236}">
                      <a16:creationId xmlns:a16="http://schemas.microsoft.com/office/drawing/2014/main" id="{948A4EAE-68FF-43C0-9AFF-5ACFA0C53E67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376603" y="275308"/>
                  <a:ext cx="318692" cy="318692"/>
                </a:xfrm>
                <a:prstGeom prst="rect">
                  <a:avLst/>
                </a:prstGeom>
              </p:spPr>
            </p:pic>
          </p:grpSp>
          <p:sp>
            <p:nvSpPr>
              <p:cNvPr id="41" name="Number">
                <a:extLst>
                  <a:ext uri="{FF2B5EF4-FFF2-40B4-BE49-F238E27FC236}">
                    <a16:creationId xmlns:a16="http://schemas.microsoft.com/office/drawing/2014/main" id="{1FFFB4B8-E1E0-4828-BCFB-225C61B949F0}"/>
                  </a:ext>
                </a:extLst>
              </p:cNvPr>
              <p:cNvSpPr txBox="1"/>
              <p:nvPr/>
            </p:nvSpPr>
            <p:spPr>
              <a:xfrm>
                <a:off x="4414112" y="3915673"/>
                <a:ext cx="317716" cy="37542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200"/>
                  </a:spcBef>
                  <a:spcAft>
                    <a:spcPts val="399"/>
                  </a:spcAft>
                </a:pPr>
                <a:r>
                  <a:rPr lang="en-US" sz="2044" b="1">
                    <a:solidFill>
                      <a:schemeClr val="bg1"/>
                    </a:solidFill>
                  </a:rPr>
                  <a:t>2</a:t>
                </a:r>
              </a:p>
            </p:txBody>
          </p:sp>
        </p:grpSp>
        <p:grpSp>
          <p:nvGrpSpPr>
            <p:cNvPr id="28" name="Topic 1">
              <a:extLst>
                <a:ext uri="{FF2B5EF4-FFF2-40B4-BE49-F238E27FC236}">
                  <a16:creationId xmlns:a16="http://schemas.microsoft.com/office/drawing/2014/main" id="{232A9B00-744E-440C-8C1B-09139B84396A}"/>
                </a:ext>
              </a:extLst>
            </p:cNvPr>
            <p:cNvGrpSpPr/>
            <p:nvPr/>
          </p:nvGrpSpPr>
          <p:grpSpPr>
            <a:xfrm>
              <a:off x="454464" y="3763128"/>
              <a:ext cx="3412923" cy="1238592"/>
              <a:chOff x="454464" y="3763128"/>
              <a:chExt cx="3412923" cy="1238592"/>
            </a:xfrm>
          </p:grpSpPr>
          <p:sp>
            <p:nvSpPr>
              <p:cNvPr id="29" name="Box 1">
                <a:hlinkClick r:id="" action="ppaction://noaction"/>
                <a:extLst>
                  <a:ext uri="{FF2B5EF4-FFF2-40B4-BE49-F238E27FC236}">
                    <a16:creationId xmlns:a16="http://schemas.microsoft.com/office/drawing/2014/main" id="{EE645942-9019-47E1-8A55-733A2BE20824}"/>
                  </a:ext>
                </a:extLst>
              </p:cNvPr>
              <p:cNvSpPr/>
              <p:nvPr/>
            </p:nvSpPr>
            <p:spPr>
              <a:xfrm>
                <a:off x="454464" y="3770366"/>
                <a:ext cx="3412923" cy="1231354"/>
              </a:xfrm>
              <a:custGeom>
                <a:avLst/>
                <a:gdLst/>
                <a:ahLst/>
                <a:cxnLst/>
                <a:rect l="l" t="t" r="r" b="b"/>
                <a:pathLst>
                  <a:path w="2268220" h="1080135">
                    <a:moveTo>
                      <a:pt x="0" y="1079995"/>
                    </a:moveTo>
                    <a:lnTo>
                      <a:pt x="2268004" y="1079995"/>
                    </a:lnTo>
                    <a:lnTo>
                      <a:pt x="2268004" y="0"/>
                    </a:lnTo>
                    <a:lnTo>
                      <a:pt x="0" y="0"/>
                    </a:lnTo>
                    <a:lnTo>
                      <a:pt x="0" y="1079995"/>
                    </a:lnTo>
                    <a:close/>
                  </a:path>
                </a:pathLst>
              </a:custGeom>
              <a:solidFill>
                <a:srgbClr val="1D1D1D">
                  <a:alpha val="80000"/>
                </a:srgbClr>
              </a:solidFill>
            </p:spPr>
            <p:txBody>
              <a:bodyPr wrap="square" lIns="0" tIns="0" rIns="0" bIns="0" rtlCol="0"/>
              <a:lstStyle/>
              <a:p>
                <a:pPr marL="0" marR="0" lvl="0" indent="0" algn="l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795" b="0" i="0" u="none" strike="noStrike" kern="0" cap="none" spc="0" normalizeH="0" baseline="0" noProof="0">
                  <a:ln>
                    <a:noFill/>
                  </a:ln>
                  <a:solidFill>
                    <a:srgbClr val="1D1D1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Line 1">
                <a:extLst>
                  <a:ext uri="{FF2B5EF4-FFF2-40B4-BE49-F238E27FC236}">
                    <a16:creationId xmlns:a16="http://schemas.microsoft.com/office/drawing/2014/main" id="{4639073D-B8E6-4BB0-8BC6-A19C1A544975}"/>
                  </a:ext>
                </a:extLst>
              </p:cNvPr>
              <p:cNvSpPr/>
              <p:nvPr/>
            </p:nvSpPr>
            <p:spPr>
              <a:xfrm>
                <a:off x="454464" y="3763128"/>
                <a:ext cx="3412923" cy="28956"/>
              </a:xfrm>
              <a:custGeom>
                <a:avLst/>
                <a:gdLst/>
                <a:ahLst/>
                <a:cxnLst/>
                <a:rect l="l" t="t" r="r" b="b"/>
                <a:pathLst>
                  <a:path w="2268220" h="25400">
                    <a:moveTo>
                      <a:pt x="0" y="25400"/>
                    </a:moveTo>
                    <a:lnTo>
                      <a:pt x="2268004" y="25400"/>
                    </a:lnTo>
                    <a:lnTo>
                      <a:pt x="2268004" y="0"/>
                    </a:lnTo>
                    <a:lnTo>
                      <a:pt x="0" y="0"/>
                    </a:lnTo>
                    <a:lnTo>
                      <a:pt x="0" y="2540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wrap="square" lIns="0" tIns="0" rIns="0" bIns="0" rtlCol="0"/>
              <a:lstStyle/>
              <a:p>
                <a:pPr marL="0" marR="0" lvl="0" indent="0" algn="l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795" b="0" i="0" u="none" strike="noStrike" kern="0" cap="none" spc="0" normalizeH="0" baseline="0" noProof="0">
                  <a:ln>
                    <a:noFill/>
                  </a:ln>
                  <a:solidFill>
                    <a:srgbClr val="1D1D1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" name="Topic 1">
                <a:extLst>
                  <a:ext uri="{FF2B5EF4-FFF2-40B4-BE49-F238E27FC236}">
                    <a16:creationId xmlns:a16="http://schemas.microsoft.com/office/drawing/2014/main" id="{5F1A2222-4EE7-4069-AF1A-2CAF4DDD0FAF}"/>
                  </a:ext>
                </a:extLst>
              </p:cNvPr>
              <p:cNvSpPr txBox="1"/>
              <p:nvPr/>
            </p:nvSpPr>
            <p:spPr>
              <a:xfrm>
                <a:off x="1247907" y="3918381"/>
                <a:ext cx="2619480" cy="707886"/>
              </a:xfrm>
              <a:prstGeom prst="rect">
                <a:avLst/>
              </a:prstGeom>
              <a:noFill/>
            </p:spPr>
            <p:txBody>
              <a:bodyPr wrap="square" lIns="0" tIns="0" rIns="108000" bIns="0" rtlCol="0">
                <a:spAutoFit/>
              </a:bodyPr>
              <a:lstStyle/>
              <a:p>
                <a:pPr marL="0" marR="0" lvl="0" indent="0" algn="r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795" b="1" kern="0">
                    <a:solidFill>
                      <a:srgbClr val="FFFFFF"/>
                    </a:solidFill>
                    <a:latin typeface="Arial Black" panose="020B0A04020102020204" pitchFamily="34" charset="0"/>
                  </a:rPr>
                  <a:t>Topic 1</a:t>
                </a:r>
                <a:endParaRPr kumimoji="0" lang="de-DE" sz="1795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endParaRPr>
              </a:p>
              <a:p>
                <a:pPr marL="0" marR="0" lvl="0" indent="0" algn="r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95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endParaRPr>
              </a:p>
              <a:p>
                <a:pPr marL="0" marR="0" lvl="0" indent="0" algn="r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a-DK" sz="998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Lorem ipsum dolor sit amet consetetur</a:t>
                </a:r>
                <a:endParaRPr kumimoji="0" lang="de-DE" sz="1995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32" name="Icon: Topic 1" hidden="1">
                <a:extLst>
                  <a:ext uri="{FF2B5EF4-FFF2-40B4-BE49-F238E27FC236}">
                    <a16:creationId xmlns:a16="http://schemas.microsoft.com/office/drawing/2014/main" id="{F9B3CBD5-E6A7-4153-9F5B-46C2B10D05C8}"/>
                  </a:ext>
                </a:extLst>
              </p:cNvPr>
              <p:cNvGrpSpPr/>
              <p:nvPr/>
            </p:nvGrpSpPr>
            <p:grpSpPr>
              <a:xfrm>
                <a:off x="605876" y="3933572"/>
                <a:ext cx="645793" cy="646623"/>
                <a:chOff x="717668" y="4000951"/>
                <a:chExt cx="686435" cy="687317"/>
              </a:xfrm>
              <a:solidFill>
                <a:srgbClr val="FFFFFF"/>
              </a:solidFill>
            </p:grpSpPr>
            <p:sp>
              <p:nvSpPr>
                <p:cNvPr id="34" name="Freeform">
                  <a:extLst>
                    <a:ext uri="{FF2B5EF4-FFF2-40B4-BE49-F238E27FC236}">
                      <a16:creationId xmlns:a16="http://schemas.microsoft.com/office/drawing/2014/main" id="{98417245-ECA7-4F04-96B8-2B7EBD44A6B8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717668" y="4070270"/>
                  <a:ext cx="617997" cy="617998"/>
                </a:xfrm>
                <a:custGeom>
                  <a:avLst/>
                  <a:gdLst>
                    <a:gd name="T0" fmla="*/ 1371 w 2742"/>
                    <a:gd name="T1" fmla="*/ 2742 h 2742"/>
                    <a:gd name="T2" fmla="*/ 2742 w 2742"/>
                    <a:gd name="T3" fmla="*/ 1371 h 2742"/>
                    <a:gd name="T4" fmla="*/ 2581 w 2742"/>
                    <a:gd name="T5" fmla="*/ 727 h 2742"/>
                    <a:gd name="T6" fmla="*/ 2548 w 2742"/>
                    <a:gd name="T7" fmla="*/ 729 h 2742"/>
                    <a:gd name="T8" fmla="*/ 2528 w 2742"/>
                    <a:gd name="T9" fmla="*/ 728 h 2742"/>
                    <a:gd name="T10" fmla="*/ 2353 w 2742"/>
                    <a:gd name="T11" fmla="*/ 715 h 2742"/>
                    <a:gd name="T12" fmla="*/ 2228 w 2742"/>
                    <a:gd name="T13" fmla="*/ 840 h 2742"/>
                    <a:gd name="T14" fmla="*/ 2379 w 2742"/>
                    <a:gd name="T15" fmla="*/ 1371 h 2742"/>
                    <a:gd name="T16" fmla="*/ 1371 w 2742"/>
                    <a:gd name="T17" fmla="*/ 2378 h 2742"/>
                    <a:gd name="T18" fmla="*/ 363 w 2742"/>
                    <a:gd name="T19" fmla="*/ 1371 h 2742"/>
                    <a:gd name="T20" fmla="*/ 1371 w 2742"/>
                    <a:gd name="T21" fmla="*/ 363 h 2742"/>
                    <a:gd name="T22" fmla="*/ 1901 w 2742"/>
                    <a:gd name="T23" fmla="*/ 514 h 2742"/>
                    <a:gd name="T24" fmla="*/ 2015 w 2742"/>
                    <a:gd name="T25" fmla="*/ 400 h 2742"/>
                    <a:gd name="T26" fmla="*/ 2000 w 2742"/>
                    <a:gd name="T27" fmla="*/ 200 h 2742"/>
                    <a:gd name="T28" fmla="*/ 2000 w 2742"/>
                    <a:gd name="T29" fmla="*/ 153 h 2742"/>
                    <a:gd name="T30" fmla="*/ 1371 w 2742"/>
                    <a:gd name="T31" fmla="*/ 0 h 2742"/>
                    <a:gd name="T32" fmla="*/ 0 w 2742"/>
                    <a:gd name="T33" fmla="*/ 1371 h 2742"/>
                    <a:gd name="T34" fmla="*/ 1371 w 2742"/>
                    <a:gd name="T35" fmla="*/ 2742 h 2742"/>
                    <a:gd name="T36" fmla="*/ 1371 w 2742"/>
                    <a:gd name="T37" fmla="*/ 2742 h 2742"/>
                    <a:gd name="T38" fmla="*/ 1371 w 2742"/>
                    <a:gd name="T39" fmla="*/ 2742 h 27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2742" h="2742">
                      <a:moveTo>
                        <a:pt x="1371" y="2742"/>
                      </a:moveTo>
                      <a:cubicBezTo>
                        <a:pt x="2128" y="2742"/>
                        <a:pt x="2742" y="2128"/>
                        <a:pt x="2742" y="1371"/>
                      </a:cubicBezTo>
                      <a:cubicBezTo>
                        <a:pt x="2742" y="1138"/>
                        <a:pt x="2684" y="919"/>
                        <a:pt x="2581" y="727"/>
                      </a:cubicBezTo>
                      <a:cubicBezTo>
                        <a:pt x="2570" y="728"/>
                        <a:pt x="2559" y="729"/>
                        <a:pt x="2548" y="729"/>
                      </a:cubicBezTo>
                      <a:cubicBezTo>
                        <a:pt x="2541" y="729"/>
                        <a:pt x="2534" y="728"/>
                        <a:pt x="2528" y="728"/>
                      </a:cubicBezTo>
                      <a:cubicBezTo>
                        <a:pt x="2353" y="715"/>
                        <a:pt x="2353" y="715"/>
                        <a:pt x="2353" y="715"/>
                      </a:cubicBezTo>
                      <a:cubicBezTo>
                        <a:pt x="2228" y="840"/>
                        <a:pt x="2228" y="840"/>
                        <a:pt x="2228" y="840"/>
                      </a:cubicBezTo>
                      <a:cubicBezTo>
                        <a:pt x="2324" y="994"/>
                        <a:pt x="2379" y="1176"/>
                        <a:pt x="2379" y="1371"/>
                      </a:cubicBezTo>
                      <a:cubicBezTo>
                        <a:pt x="2379" y="1927"/>
                        <a:pt x="1928" y="2378"/>
                        <a:pt x="1371" y="2378"/>
                      </a:cubicBezTo>
                      <a:cubicBezTo>
                        <a:pt x="815" y="2378"/>
                        <a:pt x="363" y="1927"/>
                        <a:pt x="363" y="1371"/>
                      </a:cubicBezTo>
                      <a:cubicBezTo>
                        <a:pt x="363" y="814"/>
                        <a:pt x="814" y="363"/>
                        <a:pt x="1371" y="363"/>
                      </a:cubicBezTo>
                      <a:cubicBezTo>
                        <a:pt x="1566" y="363"/>
                        <a:pt x="1748" y="418"/>
                        <a:pt x="1901" y="514"/>
                      </a:cubicBezTo>
                      <a:cubicBezTo>
                        <a:pt x="2015" y="400"/>
                        <a:pt x="2015" y="400"/>
                        <a:pt x="2015" y="400"/>
                      </a:cubicBezTo>
                      <a:cubicBezTo>
                        <a:pt x="2000" y="200"/>
                        <a:pt x="2000" y="200"/>
                        <a:pt x="2000" y="200"/>
                      </a:cubicBezTo>
                      <a:cubicBezTo>
                        <a:pt x="1998" y="184"/>
                        <a:pt x="1999" y="168"/>
                        <a:pt x="2000" y="153"/>
                      </a:cubicBezTo>
                      <a:cubicBezTo>
                        <a:pt x="1812" y="55"/>
                        <a:pt x="1598" y="0"/>
                        <a:pt x="1371" y="0"/>
                      </a:cubicBezTo>
                      <a:cubicBezTo>
                        <a:pt x="614" y="0"/>
                        <a:pt x="0" y="614"/>
                        <a:pt x="0" y="1371"/>
                      </a:cubicBezTo>
                      <a:cubicBezTo>
                        <a:pt x="0" y="2128"/>
                        <a:pt x="614" y="2742"/>
                        <a:pt x="1371" y="2742"/>
                      </a:cubicBezTo>
                      <a:close/>
                      <a:moveTo>
                        <a:pt x="1371" y="2742"/>
                      </a:moveTo>
                      <a:cubicBezTo>
                        <a:pt x="1371" y="2742"/>
                        <a:pt x="1371" y="2742"/>
                        <a:pt x="1371" y="2742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21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5" b="0" i="0" u="none" strike="noStrike" kern="0" cap="none" spc="0" normalizeH="0" baseline="0" noProof="0">
                    <a:ln>
                      <a:noFill/>
                    </a:ln>
                    <a:solidFill>
                      <a:srgbClr val="1D1D1D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5" name="Freeform">
                  <a:extLst>
                    <a:ext uri="{FF2B5EF4-FFF2-40B4-BE49-F238E27FC236}">
                      <a16:creationId xmlns:a16="http://schemas.microsoft.com/office/drawing/2014/main" id="{0824B9D3-D1D7-4306-9339-6CA07F93B7C6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874517" y="4227119"/>
                  <a:ext cx="304299" cy="304299"/>
                </a:xfrm>
                <a:custGeom>
                  <a:avLst/>
                  <a:gdLst>
                    <a:gd name="T0" fmla="*/ 675 w 1350"/>
                    <a:gd name="T1" fmla="*/ 320 h 1350"/>
                    <a:gd name="T2" fmla="*/ 702 w 1350"/>
                    <a:gd name="T3" fmla="*/ 321 h 1350"/>
                    <a:gd name="T4" fmla="*/ 955 w 1350"/>
                    <a:gd name="T5" fmla="*/ 68 h 1350"/>
                    <a:gd name="T6" fmla="*/ 960 w 1350"/>
                    <a:gd name="T7" fmla="*/ 63 h 1350"/>
                    <a:gd name="T8" fmla="*/ 675 w 1350"/>
                    <a:gd name="T9" fmla="*/ 0 h 1350"/>
                    <a:gd name="T10" fmla="*/ 0 w 1350"/>
                    <a:gd name="T11" fmla="*/ 674 h 1350"/>
                    <a:gd name="T12" fmla="*/ 675 w 1350"/>
                    <a:gd name="T13" fmla="*/ 1350 h 1350"/>
                    <a:gd name="T14" fmla="*/ 1350 w 1350"/>
                    <a:gd name="T15" fmla="*/ 675 h 1350"/>
                    <a:gd name="T16" fmla="*/ 1286 w 1350"/>
                    <a:gd name="T17" fmla="*/ 389 h 1350"/>
                    <a:gd name="T18" fmla="*/ 1281 w 1350"/>
                    <a:gd name="T19" fmla="*/ 395 h 1350"/>
                    <a:gd name="T20" fmla="*/ 1028 w 1350"/>
                    <a:gd name="T21" fmla="*/ 648 h 1350"/>
                    <a:gd name="T22" fmla="*/ 1029 w 1350"/>
                    <a:gd name="T23" fmla="*/ 675 h 1350"/>
                    <a:gd name="T24" fmla="*/ 675 w 1350"/>
                    <a:gd name="T25" fmla="*/ 1029 h 1350"/>
                    <a:gd name="T26" fmla="*/ 321 w 1350"/>
                    <a:gd name="T27" fmla="*/ 675 h 1350"/>
                    <a:gd name="T28" fmla="*/ 675 w 1350"/>
                    <a:gd name="T29" fmla="*/ 320 h 1350"/>
                    <a:gd name="T30" fmla="*/ 675 w 1350"/>
                    <a:gd name="T31" fmla="*/ 320 h 1350"/>
                    <a:gd name="T32" fmla="*/ 675 w 1350"/>
                    <a:gd name="T33" fmla="*/ 320 h 13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350" h="1350">
                      <a:moveTo>
                        <a:pt x="675" y="320"/>
                      </a:moveTo>
                      <a:cubicBezTo>
                        <a:pt x="684" y="320"/>
                        <a:pt x="693" y="321"/>
                        <a:pt x="702" y="321"/>
                      </a:cubicBezTo>
                      <a:cubicBezTo>
                        <a:pt x="955" y="68"/>
                        <a:pt x="955" y="68"/>
                        <a:pt x="955" y="68"/>
                      </a:cubicBezTo>
                      <a:cubicBezTo>
                        <a:pt x="960" y="63"/>
                        <a:pt x="960" y="63"/>
                        <a:pt x="960" y="63"/>
                      </a:cubicBezTo>
                      <a:cubicBezTo>
                        <a:pt x="874" y="22"/>
                        <a:pt x="777" y="0"/>
                        <a:pt x="675" y="0"/>
                      </a:cubicBezTo>
                      <a:cubicBezTo>
                        <a:pt x="302" y="0"/>
                        <a:pt x="0" y="302"/>
                        <a:pt x="0" y="674"/>
                      </a:cubicBezTo>
                      <a:cubicBezTo>
                        <a:pt x="0" y="1047"/>
                        <a:pt x="302" y="1350"/>
                        <a:pt x="675" y="1350"/>
                      </a:cubicBezTo>
                      <a:cubicBezTo>
                        <a:pt x="1048" y="1350"/>
                        <a:pt x="1350" y="1048"/>
                        <a:pt x="1350" y="675"/>
                      </a:cubicBezTo>
                      <a:cubicBezTo>
                        <a:pt x="1350" y="573"/>
                        <a:pt x="1327" y="476"/>
                        <a:pt x="1286" y="389"/>
                      </a:cubicBezTo>
                      <a:cubicBezTo>
                        <a:pt x="1281" y="395"/>
                        <a:pt x="1281" y="395"/>
                        <a:pt x="1281" y="395"/>
                      </a:cubicBezTo>
                      <a:cubicBezTo>
                        <a:pt x="1028" y="648"/>
                        <a:pt x="1028" y="648"/>
                        <a:pt x="1028" y="648"/>
                      </a:cubicBezTo>
                      <a:cubicBezTo>
                        <a:pt x="1028" y="657"/>
                        <a:pt x="1029" y="666"/>
                        <a:pt x="1029" y="675"/>
                      </a:cubicBezTo>
                      <a:cubicBezTo>
                        <a:pt x="1029" y="870"/>
                        <a:pt x="870" y="1029"/>
                        <a:pt x="675" y="1029"/>
                      </a:cubicBezTo>
                      <a:cubicBezTo>
                        <a:pt x="479" y="1029"/>
                        <a:pt x="321" y="870"/>
                        <a:pt x="321" y="675"/>
                      </a:cubicBezTo>
                      <a:cubicBezTo>
                        <a:pt x="321" y="479"/>
                        <a:pt x="479" y="320"/>
                        <a:pt x="675" y="320"/>
                      </a:cubicBezTo>
                      <a:close/>
                      <a:moveTo>
                        <a:pt x="675" y="320"/>
                      </a:moveTo>
                      <a:cubicBezTo>
                        <a:pt x="675" y="320"/>
                        <a:pt x="675" y="320"/>
                        <a:pt x="675" y="32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21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5" b="0" i="0" u="none" strike="noStrike" kern="0" cap="none" spc="0" normalizeH="0" baseline="0" noProof="0">
                    <a:ln>
                      <a:noFill/>
                    </a:ln>
                    <a:solidFill>
                      <a:srgbClr val="1D1D1D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6" name="Freeform">
                  <a:extLst>
                    <a:ext uri="{FF2B5EF4-FFF2-40B4-BE49-F238E27FC236}">
                      <a16:creationId xmlns:a16="http://schemas.microsoft.com/office/drawing/2014/main" id="{F9194E74-F455-4279-9049-52C1A7F0B3BA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1026667" y="4000951"/>
                  <a:ext cx="377436" cy="376556"/>
                </a:xfrm>
                <a:custGeom>
                  <a:avLst/>
                  <a:gdLst>
                    <a:gd name="T0" fmla="*/ 1413 w 1674"/>
                    <a:gd name="T1" fmla="*/ 456 h 1671"/>
                    <a:gd name="T2" fmla="*/ 1494 w 1674"/>
                    <a:gd name="T3" fmla="*/ 375 h 1671"/>
                    <a:gd name="T4" fmla="*/ 1494 w 1674"/>
                    <a:gd name="T5" fmla="*/ 241 h 1671"/>
                    <a:gd name="T6" fmla="*/ 1438 w 1674"/>
                    <a:gd name="T7" fmla="*/ 184 h 1671"/>
                    <a:gd name="T8" fmla="*/ 1371 w 1674"/>
                    <a:gd name="T9" fmla="*/ 156 h 1671"/>
                    <a:gd name="T10" fmla="*/ 1304 w 1674"/>
                    <a:gd name="T11" fmla="*/ 184 h 1671"/>
                    <a:gd name="T12" fmla="*/ 1211 w 1674"/>
                    <a:gd name="T13" fmla="*/ 277 h 1671"/>
                    <a:gd name="T14" fmla="*/ 1192 w 1674"/>
                    <a:gd name="T15" fmla="*/ 29 h 1671"/>
                    <a:gd name="T16" fmla="*/ 1160 w 1674"/>
                    <a:gd name="T17" fmla="*/ 0 h 1671"/>
                    <a:gd name="T18" fmla="*/ 1137 w 1674"/>
                    <a:gd name="T19" fmla="*/ 9 h 1671"/>
                    <a:gd name="T20" fmla="*/ 771 w 1674"/>
                    <a:gd name="T21" fmla="*/ 376 h 1671"/>
                    <a:gd name="T22" fmla="*/ 724 w 1674"/>
                    <a:gd name="T23" fmla="*/ 501 h 1671"/>
                    <a:gd name="T24" fmla="*/ 725 w 1674"/>
                    <a:gd name="T25" fmla="*/ 516 h 1671"/>
                    <a:gd name="T26" fmla="*/ 743 w 1674"/>
                    <a:gd name="T27" fmla="*/ 745 h 1671"/>
                    <a:gd name="T28" fmla="*/ 610 w 1674"/>
                    <a:gd name="T29" fmla="*/ 877 h 1671"/>
                    <a:gd name="T30" fmla="*/ 372 w 1674"/>
                    <a:gd name="T31" fmla="*/ 1116 h 1671"/>
                    <a:gd name="T32" fmla="*/ 367 w 1674"/>
                    <a:gd name="T33" fmla="*/ 1121 h 1671"/>
                    <a:gd name="T34" fmla="*/ 136 w 1674"/>
                    <a:gd name="T35" fmla="*/ 1352 h 1671"/>
                    <a:gd name="T36" fmla="*/ 33 w 1674"/>
                    <a:gd name="T37" fmla="*/ 1454 h 1671"/>
                    <a:gd name="T38" fmla="*/ 10 w 1674"/>
                    <a:gd name="T39" fmla="*/ 1505 h 1671"/>
                    <a:gd name="T40" fmla="*/ 4 w 1674"/>
                    <a:gd name="T41" fmla="*/ 1585 h 1671"/>
                    <a:gd name="T42" fmla="*/ 84 w 1674"/>
                    <a:gd name="T43" fmla="*/ 1671 h 1671"/>
                    <a:gd name="T44" fmla="*/ 88 w 1674"/>
                    <a:gd name="T45" fmla="*/ 1671 h 1671"/>
                    <a:gd name="T46" fmla="*/ 173 w 1674"/>
                    <a:gd name="T47" fmla="*/ 1667 h 1671"/>
                    <a:gd name="T48" fmla="*/ 225 w 1674"/>
                    <a:gd name="T49" fmla="*/ 1644 h 1671"/>
                    <a:gd name="T50" fmla="*/ 945 w 1674"/>
                    <a:gd name="T51" fmla="*/ 924 h 1671"/>
                    <a:gd name="T52" fmla="*/ 1154 w 1674"/>
                    <a:gd name="T53" fmla="*/ 940 h 1671"/>
                    <a:gd name="T54" fmla="*/ 1164 w 1674"/>
                    <a:gd name="T55" fmla="*/ 940 h 1671"/>
                    <a:gd name="T56" fmla="*/ 1176 w 1674"/>
                    <a:gd name="T57" fmla="*/ 941 h 1671"/>
                    <a:gd name="T58" fmla="*/ 1289 w 1674"/>
                    <a:gd name="T59" fmla="*/ 894 h 1671"/>
                    <a:gd name="T60" fmla="*/ 1655 w 1674"/>
                    <a:gd name="T61" fmla="*/ 528 h 1671"/>
                    <a:gd name="T62" fmla="*/ 1635 w 1674"/>
                    <a:gd name="T63" fmla="*/ 474 h 1671"/>
                    <a:gd name="T64" fmla="*/ 1413 w 1674"/>
                    <a:gd name="T65" fmla="*/ 456 h 1671"/>
                    <a:gd name="T66" fmla="*/ 1413 w 1674"/>
                    <a:gd name="T67" fmla="*/ 456 h 1671"/>
                    <a:gd name="T68" fmla="*/ 1413 w 1674"/>
                    <a:gd name="T69" fmla="*/ 456 h 16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674" h="1671">
                      <a:moveTo>
                        <a:pt x="1413" y="456"/>
                      </a:moveTo>
                      <a:cubicBezTo>
                        <a:pt x="1494" y="375"/>
                        <a:pt x="1494" y="375"/>
                        <a:pt x="1494" y="375"/>
                      </a:cubicBezTo>
                      <a:cubicBezTo>
                        <a:pt x="1531" y="338"/>
                        <a:pt x="1531" y="278"/>
                        <a:pt x="1494" y="241"/>
                      </a:cubicBezTo>
                      <a:cubicBezTo>
                        <a:pt x="1438" y="184"/>
                        <a:pt x="1438" y="184"/>
                        <a:pt x="1438" y="184"/>
                      </a:cubicBezTo>
                      <a:cubicBezTo>
                        <a:pt x="1419" y="166"/>
                        <a:pt x="1395" y="156"/>
                        <a:pt x="1371" y="156"/>
                      </a:cubicBezTo>
                      <a:cubicBezTo>
                        <a:pt x="1347" y="156"/>
                        <a:pt x="1322" y="166"/>
                        <a:pt x="1304" y="184"/>
                      </a:cubicBezTo>
                      <a:cubicBezTo>
                        <a:pt x="1211" y="277"/>
                        <a:pt x="1211" y="277"/>
                        <a:pt x="1211" y="277"/>
                      </a:cubicBezTo>
                      <a:cubicBezTo>
                        <a:pt x="1192" y="29"/>
                        <a:pt x="1192" y="29"/>
                        <a:pt x="1192" y="29"/>
                      </a:cubicBezTo>
                      <a:cubicBezTo>
                        <a:pt x="1190" y="11"/>
                        <a:pt x="1175" y="0"/>
                        <a:pt x="1160" y="0"/>
                      </a:cubicBezTo>
                      <a:cubicBezTo>
                        <a:pt x="1152" y="0"/>
                        <a:pt x="1144" y="3"/>
                        <a:pt x="1137" y="9"/>
                      </a:cubicBezTo>
                      <a:cubicBezTo>
                        <a:pt x="771" y="376"/>
                        <a:pt x="771" y="376"/>
                        <a:pt x="771" y="376"/>
                      </a:cubicBezTo>
                      <a:cubicBezTo>
                        <a:pt x="738" y="409"/>
                        <a:pt x="721" y="454"/>
                        <a:pt x="724" y="501"/>
                      </a:cubicBezTo>
                      <a:cubicBezTo>
                        <a:pt x="725" y="516"/>
                        <a:pt x="725" y="516"/>
                        <a:pt x="725" y="516"/>
                      </a:cubicBezTo>
                      <a:cubicBezTo>
                        <a:pt x="743" y="745"/>
                        <a:pt x="743" y="745"/>
                        <a:pt x="743" y="745"/>
                      </a:cubicBezTo>
                      <a:cubicBezTo>
                        <a:pt x="610" y="877"/>
                        <a:pt x="610" y="877"/>
                        <a:pt x="610" y="877"/>
                      </a:cubicBezTo>
                      <a:cubicBezTo>
                        <a:pt x="372" y="1116"/>
                        <a:pt x="372" y="1116"/>
                        <a:pt x="372" y="1116"/>
                      </a:cubicBezTo>
                      <a:cubicBezTo>
                        <a:pt x="367" y="1121"/>
                        <a:pt x="367" y="1121"/>
                        <a:pt x="367" y="1121"/>
                      </a:cubicBezTo>
                      <a:cubicBezTo>
                        <a:pt x="136" y="1352"/>
                        <a:pt x="136" y="1352"/>
                        <a:pt x="136" y="1352"/>
                      </a:cubicBezTo>
                      <a:cubicBezTo>
                        <a:pt x="33" y="1454"/>
                        <a:pt x="33" y="1454"/>
                        <a:pt x="33" y="1454"/>
                      </a:cubicBezTo>
                      <a:cubicBezTo>
                        <a:pt x="20" y="1468"/>
                        <a:pt x="12" y="1486"/>
                        <a:pt x="10" y="1505"/>
                      </a:cubicBezTo>
                      <a:cubicBezTo>
                        <a:pt x="4" y="1585"/>
                        <a:pt x="4" y="1585"/>
                        <a:pt x="4" y="1585"/>
                      </a:cubicBezTo>
                      <a:cubicBezTo>
                        <a:pt x="0" y="1632"/>
                        <a:pt x="37" y="1671"/>
                        <a:pt x="84" y="1671"/>
                      </a:cubicBezTo>
                      <a:cubicBezTo>
                        <a:pt x="88" y="1671"/>
                        <a:pt x="88" y="1671"/>
                        <a:pt x="88" y="1671"/>
                      </a:cubicBezTo>
                      <a:cubicBezTo>
                        <a:pt x="173" y="1667"/>
                        <a:pt x="173" y="1667"/>
                        <a:pt x="173" y="1667"/>
                      </a:cubicBezTo>
                      <a:cubicBezTo>
                        <a:pt x="193" y="1666"/>
                        <a:pt x="211" y="1658"/>
                        <a:pt x="225" y="1644"/>
                      </a:cubicBezTo>
                      <a:cubicBezTo>
                        <a:pt x="945" y="924"/>
                        <a:pt x="945" y="924"/>
                        <a:pt x="945" y="924"/>
                      </a:cubicBezTo>
                      <a:cubicBezTo>
                        <a:pt x="1154" y="940"/>
                        <a:pt x="1154" y="940"/>
                        <a:pt x="1154" y="940"/>
                      </a:cubicBezTo>
                      <a:cubicBezTo>
                        <a:pt x="1164" y="940"/>
                        <a:pt x="1164" y="940"/>
                        <a:pt x="1164" y="940"/>
                      </a:cubicBezTo>
                      <a:cubicBezTo>
                        <a:pt x="1168" y="941"/>
                        <a:pt x="1172" y="941"/>
                        <a:pt x="1176" y="941"/>
                      </a:cubicBezTo>
                      <a:cubicBezTo>
                        <a:pt x="1218" y="941"/>
                        <a:pt x="1259" y="924"/>
                        <a:pt x="1289" y="894"/>
                      </a:cubicBezTo>
                      <a:cubicBezTo>
                        <a:pt x="1655" y="528"/>
                        <a:pt x="1655" y="528"/>
                        <a:pt x="1655" y="528"/>
                      </a:cubicBezTo>
                      <a:cubicBezTo>
                        <a:pt x="1674" y="509"/>
                        <a:pt x="1662" y="476"/>
                        <a:pt x="1635" y="474"/>
                      </a:cubicBezTo>
                      <a:lnTo>
                        <a:pt x="1413" y="456"/>
                      </a:lnTo>
                      <a:close/>
                      <a:moveTo>
                        <a:pt x="1413" y="456"/>
                      </a:moveTo>
                      <a:cubicBezTo>
                        <a:pt x="1413" y="456"/>
                        <a:pt x="1413" y="456"/>
                        <a:pt x="1413" y="456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21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5" b="0" i="0" u="none" strike="noStrike" kern="0" cap="none" spc="0" normalizeH="0" baseline="0" noProof="0">
                    <a:ln>
                      <a:noFill/>
                    </a:ln>
                    <a:solidFill>
                      <a:srgbClr val="1D1D1D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33" name="Number">
                <a:extLst>
                  <a:ext uri="{FF2B5EF4-FFF2-40B4-BE49-F238E27FC236}">
                    <a16:creationId xmlns:a16="http://schemas.microsoft.com/office/drawing/2014/main" id="{7B181687-1AC2-44A2-A9AC-4BF7F3EEC040}"/>
                  </a:ext>
                </a:extLst>
              </p:cNvPr>
              <p:cNvSpPr txBox="1"/>
              <p:nvPr/>
            </p:nvSpPr>
            <p:spPr>
              <a:xfrm>
                <a:off x="487009" y="3915673"/>
                <a:ext cx="317716" cy="37542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200"/>
                  </a:spcBef>
                  <a:spcAft>
                    <a:spcPts val="399"/>
                  </a:spcAft>
                </a:pPr>
                <a:r>
                  <a:rPr lang="en-US" sz="2044" b="1">
                    <a:solidFill>
                      <a:schemeClr val="bg1"/>
                    </a:solidFill>
                  </a:rPr>
                  <a:t>1</a:t>
                </a:r>
              </a:p>
            </p:txBody>
          </p:sp>
        </p:grpSp>
      </p:grpSp>
      <p:grpSp>
        <p:nvGrpSpPr>
          <p:cNvPr id="95" name="GER_Agenda: 3 x Boxes" hidden="1">
            <a:extLst>
              <a:ext uri="{FF2B5EF4-FFF2-40B4-BE49-F238E27FC236}">
                <a16:creationId xmlns:a16="http://schemas.microsoft.com/office/drawing/2014/main" id="{A10CCB4A-BEA3-4819-837B-63B86908A0F3}"/>
              </a:ext>
            </a:extLst>
          </p:cNvPr>
          <p:cNvGrpSpPr/>
          <p:nvPr userDrawn="1"/>
        </p:nvGrpSpPr>
        <p:grpSpPr>
          <a:xfrm>
            <a:off x="457599" y="4540960"/>
            <a:ext cx="11273800" cy="1388218"/>
            <a:chOff x="457599" y="4540960"/>
            <a:chExt cx="11273800" cy="1388218"/>
          </a:xfrm>
        </p:grpSpPr>
        <p:grpSp>
          <p:nvGrpSpPr>
            <p:cNvPr id="96" name="3_Was uns auszeichnet">
              <a:extLst>
                <a:ext uri="{FF2B5EF4-FFF2-40B4-BE49-F238E27FC236}">
                  <a16:creationId xmlns:a16="http://schemas.microsoft.com/office/drawing/2014/main" id="{BD916ACA-6FE6-429B-B87F-F1AF286236E5}"/>
                </a:ext>
              </a:extLst>
            </p:cNvPr>
            <p:cNvGrpSpPr/>
            <p:nvPr/>
          </p:nvGrpSpPr>
          <p:grpSpPr>
            <a:xfrm>
              <a:off x="8626545" y="4540960"/>
              <a:ext cx="3104854" cy="1388218"/>
              <a:chOff x="6101079" y="4435584"/>
              <a:chExt cx="2472606" cy="1105534"/>
            </a:xfrm>
          </p:grpSpPr>
          <p:sp>
            <p:nvSpPr>
              <p:cNvPr id="118" name="3_Box">
                <a:extLst>
                  <a:ext uri="{FF2B5EF4-FFF2-40B4-BE49-F238E27FC236}">
                    <a16:creationId xmlns:a16="http://schemas.microsoft.com/office/drawing/2014/main" id="{AF9A0404-2C87-4564-B230-2FAD89A87123}"/>
                  </a:ext>
                </a:extLst>
              </p:cNvPr>
              <p:cNvSpPr/>
              <p:nvPr/>
            </p:nvSpPr>
            <p:spPr>
              <a:xfrm>
                <a:off x="6112302" y="4460983"/>
                <a:ext cx="2461383" cy="1080135"/>
              </a:xfrm>
              <a:custGeom>
                <a:avLst/>
                <a:gdLst/>
                <a:ahLst/>
                <a:cxnLst/>
                <a:rect l="l" t="t" r="r" b="b"/>
                <a:pathLst>
                  <a:path w="2268220" h="1080135">
                    <a:moveTo>
                      <a:pt x="0" y="1079995"/>
                    </a:moveTo>
                    <a:lnTo>
                      <a:pt x="2268004" y="1079995"/>
                    </a:lnTo>
                    <a:lnTo>
                      <a:pt x="2268004" y="0"/>
                    </a:lnTo>
                    <a:lnTo>
                      <a:pt x="0" y="0"/>
                    </a:lnTo>
                    <a:lnTo>
                      <a:pt x="0" y="1079995"/>
                    </a:lnTo>
                    <a:close/>
                  </a:path>
                </a:pathLst>
              </a:custGeom>
              <a:solidFill>
                <a:schemeClr val="tx1">
                  <a:alpha val="80000"/>
                </a:schemeClr>
              </a:solidFill>
            </p:spPr>
            <p:txBody>
              <a:bodyPr wrap="square" lIns="0" tIns="0" rIns="0" bIns="0" rtlCol="0"/>
              <a:lstStyle/>
              <a:p>
                <a:pPr marL="0" marR="0" lvl="0" indent="0" algn="l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795" b="0" i="0" u="none" strike="noStrike" kern="0" cap="none" spc="0" normalizeH="0" baseline="0" noProof="0">
                  <a:ln>
                    <a:noFill/>
                  </a:ln>
                  <a:solidFill>
                    <a:srgbClr val="1D1D1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9" name="3_Text">
                <a:extLst>
                  <a:ext uri="{FF2B5EF4-FFF2-40B4-BE49-F238E27FC236}">
                    <a16:creationId xmlns:a16="http://schemas.microsoft.com/office/drawing/2014/main" id="{488E8688-59A2-404B-B79F-F84433DF4AD1}"/>
                  </a:ext>
                </a:extLst>
              </p:cNvPr>
              <p:cNvSpPr txBox="1"/>
              <p:nvPr/>
            </p:nvSpPr>
            <p:spPr>
              <a:xfrm>
                <a:off x="6644645" y="4561336"/>
                <a:ext cx="1908862" cy="931394"/>
              </a:xfrm>
              <a:prstGeom prst="rect">
                <a:avLst/>
              </a:prstGeom>
              <a:noFill/>
            </p:spPr>
            <p:txBody>
              <a:bodyPr wrap="square" lIns="0" tIns="0" rIns="108000" bIns="0" rtlCol="0">
                <a:spAutoFit/>
              </a:bodyPr>
              <a:lstStyle/>
              <a:p>
                <a:pPr marL="0" marR="0" lvl="0" indent="0" algn="r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2195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Black" panose="020B0A04020102020204" pitchFamily="34" charset="0"/>
                    <a:ea typeface="+mn-ea"/>
                    <a:cs typeface="+mn-cs"/>
                  </a:rPr>
                  <a:t>Was uns auszeichnet</a:t>
                </a:r>
                <a:br>
                  <a:rPr kumimoji="0" lang="de-DE" sz="2195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Black" panose="020B0A04020102020204" pitchFamily="34" charset="0"/>
                    <a:ea typeface="+mn-ea"/>
                    <a:cs typeface="+mn-cs"/>
                  </a:rPr>
                </a:br>
                <a:br>
                  <a:rPr kumimoji="0" lang="de-DE" sz="2195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Black" panose="020B0A04020102020204" pitchFamily="34" charset="0"/>
                    <a:ea typeface="+mn-ea"/>
                    <a:cs typeface="+mn-cs"/>
                  </a:rPr>
                </a:br>
                <a:r>
                  <a:rPr kumimoji="0" lang="da-DK" sz="998" b="0" i="0" u="none" strike="noStrike" kern="0" cap="none" spc="0" normalizeH="0" baseline="0" noProof="0">
                    <a:ln>
                      <a:noFill/>
                    </a:ln>
                    <a:solidFill>
                      <a:srgbClr val="1D1D1D">
                        <a:lumMod val="10000"/>
                        <a:lumOff val="9000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rcadis Referenzen</a:t>
                </a:r>
                <a:endParaRPr kumimoji="0" lang="de-DE" sz="1995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20" name="3_Line">
                <a:extLst>
                  <a:ext uri="{FF2B5EF4-FFF2-40B4-BE49-F238E27FC236}">
                    <a16:creationId xmlns:a16="http://schemas.microsoft.com/office/drawing/2014/main" id="{73A6A6FB-4C54-4400-99CB-A698168D75BE}"/>
                  </a:ext>
                </a:extLst>
              </p:cNvPr>
              <p:cNvSpPr/>
              <p:nvPr/>
            </p:nvSpPr>
            <p:spPr>
              <a:xfrm>
                <a:off x="6112302" y="4435584"/>
                <a:ext cx="2461379" cy="25400"/>
              </a:xfrm>
              <a:custGeom>
                <a:avLst/>
                <a:gdLst/>
                <a:ahLst/>
                <a:cxnLst/>
                <a:rect l="l" t="t" r="r" b="b"/>
                <a:pathLst>
                  <a:path w="2268220" h="25400">
                    <a:moveTo>
                      <a:pt x="0" y="25400"/>
                    </a:moveTo>
                    <a:lnTo>
                      <a:pt x="2268004" y="25400"/>
                    </a:lnTo>
                    <a:lnTo>
                      <a:pt x="2268004" y="0"/>
                    </a:lnTo>
                    <a:lnTo>
                      <a:pt x="0" y="0"/>
                    </a:lnTo>
                    <a:lnTo>
                      <a:pt x="0" y="25400"/>
                    </a:lnTo>
                    <a:close/>
                  </a:path>
                </a:pathLst>
              </a:custGeom>
              <a:solidFill>
                <a:srgbClr val="E4610F"/>
              </a:solidFill>
              <a:ln>
                <a:noFill/>
              </a:ln>
            </p:spPr>
            <p:txBody>
              <a:bodyPr wrap="square" lIns="0" tIns="0" rIns="0" bIns="0" rtlCol="0"/>
              <a:lstStyle/>
              <a:p>
                <a:pPr marL="0" marR="0" lvl="0" indent="0" algn="l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795" b="0" i="0" u="none" strike="noStrike" kern="0" cap="none" spc="0" normalizeH="0" baseline="0" noProof="0">
                  <a:ln>
                    <a:noFill/>
                  </a:ln>
                  <a:solidFill>
                    <a:srgbClr val="1D1D1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121" name="Arrows" hidden="1">
                <a:extLst>
                  <a:ext uri="{FF2B5EF4-FFF2-40B4-BE49-F238E27FC236}">
                    <a16:creationId xmlns:a16="http://schemas.microsoft.com/office/drawing/2014/main" id="{52F27EC0-4852-41CD-9543-B86426E29144}"/>
                  </a:ext>
                </a:extLst>
              </p:cNvPr>
              <p:cNvGrpSpPr/>
              <p:nvPr/>
            </p:nvGrpSpPr>
            <p:grpSpPr>
              <a:xfrm>
                <a:off x="8243959" y="5223012"/>
                <a:ext cx="169153" cy="181385"/>
                <a:chOff x="7032319" y="186110"/>
                <a:chExt cx="169153" cy="181385"/>
              </a:xfrm>
            </p:grpSpPr>
            <p:sp>
              <p:nvSpPr>
                <p:cNvPr id="123" name="Freeform">
                  <a:extLst>
                    <a:ext uri="{FF2B5EF4-FFF2-40B4-BE49-F238E27FC236}">
                      <a16:creationId xmlns:a16="http://schemas.microsoft.com/office/drawing/2014/main" id="{1D42EBAB-5B67-4611-AD06-E6FE0D0F91A6}"/>
                    </a:ext>
                  </a:extLst>
                </p:cNvPr>
                <p:cNvSpPr/>
                <p:nvPr userDrawn="1"/>
              </p:nvSpPr>
              <p:spPr>
                <a:xfrm>
                  <a:off x="7116311" y="186110"/>
                  <a:ext cx="85161" cy="1813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8764" h="560704">
                      <a:moveTo>
                        <a:pt x="0" y="560234"/>
                      </a:moveTo>
                      <a:lnTo>
                        <a:pt x="278453" y="280112"/>
                      </a:lnTo>
                      <a:lnTo>
                        <a:pt x="0" y="0"/>
                      </a:lnTo>
                    </a:path>
                  </a:pathLst>
                </a:custGeom>
                <a:ln w="19456">
                  <a:solidFill>
                    <a:srgbClr val="FFFFFF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9121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816" b="0" i="0" u="none" strike="noStrike" kern="0" cap="none" spc="0" normalizeH="0" baseline="0" noProof="0">
                    <a:ln>
                      <a:noFill/>
                    </a:ln>
                    <a:solidFill>
                      <a:srgbClr val="1D1D1D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4" name="Freeform">
                  <a:extLst>
                    <a:ext uri="{FF2B5EF4-FFF2-40B4-BE49-F238E27FC236}">
                      <a16:creationId xmlns:a16="http://schemas.microsoft.com/office/drawing/2014/main" id="{2D27A1D7-3424-4933-83B6-DEE334FDD14B}"/>
                    </a:ext>
                  </a:extLst>
                </p:cNvPr>
                <p:cNvSpPr/>
                <p:nvPr userDrawn="1"/>
              </p:nvSpPr>
              <p:spPr>
                <a:xfrm>
                  <a:off x="7074315" y="186110"/>
                  <a:ext cx="85161" cy="1813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8764" h="560704">
                      <a:moveTo>
                        <a:pt x="0" y="560234"/>
                      </a:moveTo>
                      <a:lnTo>
                        <a:pt x="278453" y="280112"/>
                      </a:lnTo>
                      <a:lnTo>
                        <a:pt x="0" y="0"/>
                      </a:lnTo>
                    </a:path>
                  </a:pathLst>
                </a:custGeom>
                <a:ln w="19456">
                  <a:solidFill>
                    <a:srgbClr val="FFFFFF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9121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816" b="0" i="0" u="none" strike="noStrike" kern="0" cap="none" spc="0" normalizeH="0" baseline="0" noProof="0">
                    <a:ln>
                      <a:noFill/>
                    </a:ln>
                    <a:solidFill>
                      <a:srgbClr val="1D1D1D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5" name="Freeform">
                  <a:extLst>
                    <a:ext uri="{FF2B5EF4-FFF2-40B4-BE49-F238E27FC236}">
                      <a16:creationId xmlns:a16="http://schemas.microsoft.com/office/drawing/2014/main" id="{62A42E6C-AC6B-47E4-A62C-415780A09F79}"/>
                    </a:ext>
                  </a:extLst>
                </p:cNvPr>
                <p:cNvSpPr/>
                <p:nvPr userDrawn="1"/>
              </p:nvSpPr>
              <p:spPr>
                <a:xfrm>
                  <a:off x="7032319" y="186110"/>
                  <a:ext cx="85160" cy="1813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8764" h="560704">
                      <a:moveTo>
                        <a:pt x="0" y="560234"/>
                      </a:moveTo>
                      <a:lnTo>
                        <a:pt x="278453" y="280112"/>
                      </a:lnTo>
                      <a:lnTo>
                        <a:pt x="0" y="0"/>
                      </a:lnTo>
                    </a:path>
                  </a:pathLst>
                </a:custGeom>
                <a:ln w="19456">
                  <a:solidFill>
                    <a:srgbClr val="FFFFFF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9121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816" b="0" i="0" u="none" strike="noStrike" kern="0" cap="none" spc="0" normalizeH="0" baseline="0" noProof="0">
                    <a:ln>
                      <a:noFill/>
                    </a:ln>
                    <a:solidFill>
                      <a:srgbClr val="1D1D1D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122" name="Icon: Reference" descr="Schleife">
                <a:extLst>
                  <a:ext uri="{FF2B5EF4-FFF2-40B4-BE49-F238E27FC236}">
                    <a16:creationId xmlns:a16="http://schemas.microsoft.com/office/drawing/2014/main" id="{F1B59E87-CE7D-4F87-A8FD-748DCC34871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6101079" y="4573306"/>
                <a:ext cx="668717" cy="668717"/>
              </a:xfrm>
              <a:prstGeom prst="rect">
                <a:avLst/>
              </a:prstGeom>
            </p:spPr>
          </p:pic>
        </p:grpSp>
        <p:grpSp>
          <p:nvGrpSpPr>
            <p:cNvPr id="97" name="2_Was wir machen">
              <a:extLst>
                <a:ext uri="{FF2B5EF4-FFF2-40B4-BE49-F238E27FC236}">
                  <a16:creationId xmlns:a16="http://schemas.microsoft.com/office/drawing/2014/main" id="{4D23C374-E623-41C7-90CE-F40F2BB93563}"/>
                </a:ext>
              </a:extLst>
            </p:cNvPr>
            <p:cNvGrpSpPr/>
            <p:nvPr/>
          </p:nvGrpSpPr>
          <p:grpSpPr>
            <a:xfrm>
              <a:off x="4542070" y="4540960"/>
              <a:ext cx="3090761" cy="1364297"/>
              <a:chOff x="3329881" y="4435584"/>
              <a:chExt cx="2461383" cy="1086484"/>
            </a:xfrm>
          </p:grpSpPr>
          <p:sp>
            <p:nvSpPr>
              <p:cNvPr id="107" name="2_Box">
                <a:extLst>
                  <a:ext uri="{FF2B5EF4-FFF2-40B4-BE49-F238E27FC236}">
                    <a16:creationId xmlns:a16="http://schemas.microsoft.com/office/drawing/2014/main" id="{EC1BDD78-AA5B-46C1-9205-24D9197201EF}"/>
                  </a:ext>
                </a:extLst>
              </p:cNvPr>
              <p:cNvSpPr/>
              <p:nvPr/>
            </p:nvSpPr>
            <p:spPr>
              <a:xfrm>
                <a:off x="3329881" y="4441933"/>
                <a:ext cx="2461383" cy="1080135"/>
              </a:xfrm>
              <a:custGeom>
                <a:avLst/>
                <a:gdLst/>
                <a:ahLst/>
                <a:cxnLst/>
                <a:rect l="l" t="t" r="r" b="b"/>
                <a:pathLst>
                  <a:path w="2268220" h="1080135">
                    <a:moveTo>
                      <a:pt x="0" y="1079995"/>
                    </a:moveTo>
                    <a:lnTo>
                      <a:pt x="2268004" y="1079995"/>
                    </a:lnTo>
                    <a:lnTo>
                      <a:pt x="2268004" y="0"/>
                    </a:lnTo>
                    <a:lnTo>
                      <a:pt x="0" y="0"/>
                    </a:lnTo>
                    <a:lnTo>
                      <a:pt x="0" y="1079995"/>
                    </a:lnTo>
                    <a:close/>
                  </a:path>
                </a:pathLst>
              </a:custGeom>
              <a:solidFill>
                <a:schemeClr val="tx1">
                  <a:alpha val="80000"/>
                </a:schemeClr>
              </a:solidFill>
            </p:spPr>
            <p:txBody>
              <a:bodyPr wrap="square" lIns="0" tIns="0" rIns="0" bIns="0" rtlCol="0"/>
              <a:lstStyle/>
              <a:p>
                <a:pPr marL="0" marR="0" lvl="0" indent="0" algn="l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795" b="0" i="0" u="none" strike="noStrike" kern="0" cap="none" spc="0" normalizeH="0" baseline="0" noProof="0">
                  <a:ln>
                    <a:noFill/>
                  </a:ln>
                  <a:solidFill>
                    <a:srgbClr val="1D1D1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8" name="2_Text">
                <a:extLst>
                  <a:ext uri="{FF2B5EF4-FFF2-40B4-BE49-F238E27FC236}">
                    <a16:creationId xmlns:a16="http://schemas.microsoft.com/office/drawing/2014/main" id="{DB5BE797-C426-4D49-A715-1ED417829294}"/>
                  </a:ext>
                </a:extLst>
              </p:cNvPr>
              <p:cNvSpPr txBox="1"/>
              <p:nvPr/>
            </p:nvSpPr>
            <p:spPr>
              <a:xfrm>
                <a:off x="4152454" y="4561336"/>
                <a:ext cx="1638802" cy="906883"/>
              </a:xfrm>
              <a:prstGeom prst="rect">
                <a:avLst/>
              </a:prstGeom>
              <a:noFill/>
            </p:spPr>
            <p:txBody>
              <a:bodyPr wrap="square" lIns="0" tIns="0" rIns="108000" bIns="0" rtlCol="0">
                <a:spAutoFit/>
              </a:bodyPr>
              <a:lstStyle/>
              <a:p>
                <a:pPr marL="0" marR="0" lvl="0" indent="0" algn="r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2195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Black" panose="020B0A04020102020204" pitchFamily="34" charset="0"/>
                    <a:ea typeface="+mn-ea"/>
                    <a:cs typeface="+mn-cs"/>
                  </a:rPr>
                  <a:t>Was </a:t>
                </a:r>
                <a:br>
                  <a:rPr kumimoji="0" lang="de-DE" sz="2195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Black" panose="020B0A04020102020204" pitchFamily="34" charset="0"/>
                    <a:ea typeface="+mn-ea"/>
                    <a:cs typeface="+mn-cs"/>
                  </a:rPr>
                </a:br>
                <a:r>
                  <a:rPr kumimoji="0" lang="de-DE" sz="2195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Black" panose="020B0A04020102020204" pitchFamily="34" charset="0"/>
                    <a:ea typeface="+mn-ea"/>
                    <a:cs typeface="+mn-cs"/>
                  </a:rPr>
                  <a:t>wir machen</a:t>
                </a:r>
                <a:br>
                  <a:rPr kumimoji="0" lang="de-DE" sz="1995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Black" panose="020B0A04020102020204" pitchFamily="34" charset="0"/>
                    <a:ea typeface="+mn-ea"/>
                    <a:cs typeface="+mn-cs"/>
                  </a:rPr>
                </a:br>
                <a:br>
                  <a:rPr kumimoji="0" lang="de-DE" sz="1995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Black" panose="020B0A04020102020204" pitchFamily="34" charset="0"/>
                    <a:ea typeface="+mn-ea"/>
                    <a:cs typeface="+mn-cs"/>
                  </a:rPr>
                </a:br>
                <a:r>
                  <a:rPr kumimoji="0" lang="da-DK" sz="998" b="0" i="0" u="none" strike="noStrike" kern="0" cap="none" spc="0" normalizeH="0" baseline="0" noProof="0">
                    <a:ln>
                      <a:noFill/>
                    </a:ln>
                    <a:solidFill>
                      <a:srgbClr val="1D1D1D">
                        <a:lumMod val="10000"/>
                        <a:lumOff val="9000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rcadis Serviceportfolio</a:t>
                </a:r>
                <a:endParaRPr kumimoji="0" lang="de-DE" sz="1995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9" name="2_Line">
                <a:extLst>
                  <a:ext uri="{FF2B5EF4-FFF2-40B4-BE49-F238E27FC236}">
                    <a16:creationId xmlns:a16="http://schemas.microsoft.com/office/drawing/2014/main" id="{E8D39C22-BE84-43FC-AF92-7DC4AB9C2301}"/>
                  </a:ext>
                </a:extLst>
              </p:cNvPr>
              <p:cNvSpPr/>
              <p:nvPr/>
            </p:nvSpPr>
            <p:spPr>
              <a:xfrm>
                <a:off x="3329881" y="4435584"/>
                <a:ext cx="2461379" cy="25400"/>
              </a:xfrm>
              <a:custGeom>
                <a:avLst/>
                <a:gdLst/>
                <a:ahLst/>
                <a:cxnLst/>
                <a:rect l="l" t="t" r="r" b="b"/>
                <a:pathLst>
                  <a:path w="2268220" h="25400">
                    <a:moveTo>
                      <a:pt x="0" y="25400"/>
                    </a:moveTo>
                    <a:lnTo>
                      <a:pt x="2268004" y="25400"/>
                    </a:lnTo>
                    <a:lnTo>
                      <a:pt x="2268004" y="0"/>
                    </a:lnTo>
                    <a:lnTo>
                      <a:pt x="0" y="0"/>
                    </a:lnTo>
                    <a:lnTo>
                      <a:pt x="0" y="25400"/>
                    </a:lnTo>
                    <a:close/>
                  </a:path>
                </a:pathLst>
              </a:custGeom>
              <a:solidFill>
                <a:srgbClr val="E4610F"/>
              </a:solidFill>
              <a:ln>
                <a:noFill/>
              </a:ln>
            </p:spPr>
            <p:txBody>
              <a:bodyPr wrap="square" lIns="0" tIns="0" rIns="0" bIns="0" rtlCol="0"/>
              <a:lstStyle/>
              <a:p>
                <a:pPr marL="0" marR="0" lvl="0" indent="0" algn="l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795" b="0" i="0" u="none" strike="noStrike" kern="0" cap="none" spc="0" normalizeH="0" baseline="0" noProof="0">
                  <a:ln>
                    <a:noFill/>
                  </a:ln>
                  <a:solidFill>
                    <a:srgbClr val="1D1D1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110" name="Arrows" hidden="1">
                <a:extLst>
                  <a:ext uri="{FF2B5EF4-FFF2-40B4-BE49-F238E27FC236}">
                    <a16:creationId xmlns:a16="http://schemas.microsoft.com/office/drawing/2014/main" id="{855F7175-9688-4E7C-8C4B-339DAEDAF5AB}"/>
                  </a:ext>
                </a:extLst>
              </p:cNvPr>
              <p:cNvGrpSpPr/>
              <p:nvPr/>
            </p:nvGrpSpPr>
            <p:grpSpPr>
              <a:xfrm>
                <a:off x="5486726" y="5223012"/>
                <a:ext cx="169153" cy="181385"/>
                <a:chOff x="7032319" y="186110"/>
                <a:chExt cx="169153" cy="181385"/>
              </a:xfrm>
            </p:grpSpPr>
            <p:sp>
              <p:nvSpPr>
                <p:cNvPr id="115" name="Freeform">
                  <a:extLst>
                    <a:ext uri="{FF2B5EF4-FFF2-40B4-BE49-F238E27FC236}">
                      <a16:creationId xmlns:a16="http://schemas.microsoft.com/office/drawing/2014/main" id="{D25DDB9E-D6AA-4056-AE40-88D1F0BEBD79}"/>
                    </a:ext>
                  </a:extLst>
                </p:cNvPr>
                <p:cNvSpPr/>
                <p:nvPr userDrawn="1"/>
              </p:nvSpPr>
              <p:spPr>
                <a:xfrm>
                  <a:off x="7116311" y="186110"/>
                  <a:ext cx="85161" cy="1813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8764" h="560704">
                      <a:moveTo>
                        <a:pt x="0" y="560234"/>
                      </a:moveTo>
                      <a:lnTo>
                        <a:pt x="278453" y="280112"/>
                      </a:lnTo>
                      <a:lnTo>
                        <a:pt x="0" y="0"/>
                      </a:lnTo>
                    </a:path>
                  </a:pathLst>
                </a:custGeom>
                <a:ln w="19456">
                  <a:solidFill>
                    <a:srgbClr val="FFFFFF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9121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816" b="0" i="0" u="none" strike="noStrike" kern="0" cap="none" spc="0" normalizeH="0" baseline="0" noProof="0">
                    <a:ln>
                      <a:noFill/>
                    </a:ln>
                    <a:solidFill>
                      <a:srgbClr val="1D1D1D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16" name="Freeform">
                  <a:extLst>
                    <a:ext uri="{FF2B5EF4-FFF2-40B4-BE49-F238E27FC236}">
                      <a16:creationId xmlns:a16="http://schemas.microsoft.com/office/drawing/2014/main" id="{1C21BD08-44F8-4E6E-892F-3408DE5B6730}"/>
                    </a:ext>
                  </a:extLst>
                </p:cNvPr>
                <p:cNvSpPr/>
                <p:nvPr userDrawn="1"/>
              </p:nvSpPr>
              <p:spPr>
                <a:xfrm>
                  <a:off x="7074315" y="186110"/>
                  <a:ext cx="85161" cy="1813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8764" h="560704">
                      <a:moveTo>
                        <a:pt x="0" y="560234"/>
                      </a:moveTo>
                      <a:lnTo>
                        <a:pt x="278453" y="280112"/>
                      </a:lnTo>
                      <a:lnTo>
                        <a:pt x="0" y="0"/>
                      </a:lnTo>
                    </a:path>
                  </a:pathLst>
                </a:custGeom>
                <a:ln w="19456">
                  <a:solidFill>
                    <a:srgbClr val="FFFFFF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9121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816" b="0" i="0" u="none" strike="noStrike" kern="0" cap="none" spc="0" normalizeH="0" baseline="0" noProof="0">
                    <a:ln>
                      <a:noFill/>
                    </a:ln>
                    <a:solidFill>
                      <a:srgbClr val="1D1D1D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17" name="Freeform">
                  <a:extLst>
                    <a:ext uri="{FF2B5EF4-FFF2-40B4-BE49-F238E27FC236}">
                      <a16:creationId xmlns:a16="http://schemas.microsoft.com/office/drawing/2014/main" id="{AD44624F-2F8C-483D-9200-12130F130B64}"/>
                    </a:ext>
                  </a:extLst>
                </p:cNvPr>
                <p:cNvSpPr/>
                <p:nvPr userDrawn="1"/>
              </p:nvSpPr>
              <p:spPr>
                <a:xfrm>
                  <a:off x="7032319" y="186110"/>
                  <a:ext cx="85160" cy="1813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8764" h="560704">
                      <a:moveTo>
                        <a:pt x="0" y="560234"/>
                      </a:moveTo>
                      <a:lnTo>
                        <a:pt x="278453" y="280112"/>
                      </a:lnTo>
                      <a:lnTo>
                        <a:pt x="0" y="0"/>
                      </a:lnTo>
                    </a:path>
                  </a:pathLst>
                </a:custGeom>
                <a:ln w="19456">
                  <a:solidFill>
                    <a:srgbClr val="FFFFFF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9121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816" b="0" i="0" u="none" strike="noStrike" kern="0" cap="none" spc="0" normalizeH="0" baseline="0" noProof="0">
                    <a:ln>
                      <a:noFill/>
                    </a:ln>
                    <a:solidFill>
                      <a:srgbClr val="1D1D1D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11" name="Icon: Process">
                <a:extLst>
                  <a:ext uri="{FF2B5EF4-FFF2-40B4-BE49-F238E27FC236}">
                    <a16:creationId xmlns:a16="http://schemas.microsoft.com/office/drawing/2014/main" id="{809B5012-5663-4C25-945E-9368A20740BE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446969" y="4635632"/>
                <a:ext cx="621230" cy="534254"/>
                <a:chOff x="5096253" y="-926405"/>
                <a:chExt cx="388814" cy="334378"/>
              </a:xfrm>
              <a:solidFill>
                <a:srgbClr val="1D1D1D">
                  <a:lumMod val="10000"/>
                  <a:lumOff val="90000"/>
                </a:srgbClr>
              </a:solidFill>
            </p:grpSpPr>
            <p:sp>
              <p:nvSpPr>
                <p:cNvPr id="112" name="Freeform">
                  <a:extLst>
                    <a:ext uri="{FF2B5EF4-FFF2-40B4-BE49-F238E27FC236}">
                      <a16:creationId xmlns:a16="http://schemas.microsoft.com/office/drawing/2014/main" id="{3000D432-22B9-40F7-AD28-E85847055A94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5096253" y="-871232"/>
                  <a:ext cx="213327" cy="210257"/>
                </a:xfrm>
                <a:custGeom>
                  <a:avLst/>
                  <a:gdLst>
                    <a:gd name="T0" fmla="*/ 6 w 132"/>
                    <a:gd name="T1" fmla="*/ 36 h 130"/>
                    <a:gd name="T2" fmla="*/ 3 w 132"/>
                    <a:gd name="T3" fmla="*/ 45 h 130"/>
                    <a:gd name="T4" fmla="*/ 1 w 132"/>
                    <a:gd name="T5" fmla="*/ 54 h 130"/>
                    <a:gd name="T6" fmla="*/ 1 w 132"/>
                    <a:gd name="T7" fmla="*/ 58 h 130"/>
                    <a:gd name="T8" fmla="*/ 14 w 132"/>
                    <a:gd name="T9" fmla="*/ 63 h 130"/>
                    <a:gd name="T10" fmla="*/ 7 w 132"/>
                    <a:gd name="T11" fmla="*/ 88 h 130"/>
                    <a:gd name="T12" fmla="*/ 6 w 132"/>
                    <a:gd name="T13" fmla="*/ 93 h 130"/>
                    <a:gd name="T14" fmla="*/ 9 w 132"/>
                    <a:gd name="T15" fmla="*/ 98 h 130"/>
                    <a:gd name="T16" fmla="*/ 16 w 132"/>
                    <a:gd name="T17" fmla="*/ 107 h 130"/>
                    <a:gd name="T18" fmla="*/ 20 w 132"/>
                    <a:gd name="T19" fmla="*/ 111 h 130"/>
                    <a:gd name="T20" fmla="*/ 33 w 132"/>
                    <a:gd name="T21" fmla="*/ 104 h 130"/>
                    <a:gd name="T22" fmla="*/ 48 w 132"/>
                    <a:gd name="T23" fmla="*/ 125 h 130"/>
                    <a:gd name="T24" fmla="*/ 51 w 132"/>
                    <a:gd name="T25" fmla="*/ 128 h 130"/>
                    <a:gd name="T26" fmla="*/ 56 w 132"/>
                    <a:gd name="T27" fmla="*/ 129 h 130"/>
                    <a:gd name="T28" fmla="*/ 61 w 132"/>
                    <a:gd name="T29" fmla="*/ 130 h 130"/>
                    <a:gd name="T30" fmla="*/ 70 w 132"/>
                    <a:gd name="T31" fmla="*/ 130 h 130"/>
                    <a:gd name="T32" fmla="*/ 75 w 132"/>
                    <a:gd name="T33" fmla="*/ 123 h 130"/>
                    <a:gd name="T34" fmla="*/ 93 w 132"/>
                    <a:gd name="T35" fmla="*/ 108 h 130"/>
                    <a:gd name="T36" fmla="*/ 102 w 132"/>
                    <a:gd name="T37" fmla="*/ 116 h 130"/>
                    <a:gd name="T38" fmla="*/ 109 w 132"/>
                    <a:gd name="T39" fmla="*/ 114 h 130"/>
                    <a:gd name="T40" fmla="*/ 117 w 132"/>
                    <a:gd name="T41" fmla="*/ 106 h 130"/>
                    <a:gd name="T42" fmla="*/ 121 w 132"/>
                    <a:gd name="T43" fmla="*/ 98 h 130"/>
                    <a:gd name="T44" fmla="*/ 115 w 132"/>
                    <a:gd name="T45" fmla="*/ 90 h 130"/>
                    <a:gd name="T46" fmla="*/ 121 w 132"/>
                    <a:gd name="T47" fmla="*/ 70 h 130"/>
                    <a:gd name="T48" fmla="*/ 132 w 132"/>
                    <a:gd name="T49" fmla="*/ 64 h 130"/>
                    <a:gd name="T50" fmla="*/ 131 w 132"/>
                    <a:gd name="T51" fmla="*/ 58 h 130"/>
                    <a:gd name="T52" fmla="*/ 130 w 132"/>
                    <a:gd name="T53" fmla="*/ 51 h 130"/>
                    <a:gd name="T54" fmla="*/ 129 w 132"/>
                    <a:gd name="T55" fmla="*/ 45 h 130"/>
                    <a:gd name="T56" fmla="*/ 127 w 132"/>
                    <a:gd name="T57" fmla="*/ 42 h 130"/>
                    <a:gd name="T58" fmla="*/ 113 w 132"/>
                    <a:gd name="T59" fmla="*/ 43 h 130"/>
                    <a:gd name="T60" fmla="*/ 108 w 132"/>
                    <a:gd name="T61" fmla="*/ 17 h 130"/>
                    <a:gd name="T62" fmla="*/ 106 w 132"/>
                    <a:gd name="T63" fmla="*/ 12 h 130"/>
                    <a:gd name="T64" fmla="*/ 97 w 132"/>
                    <a:gd name="T65" fmla="*/ 6 h 130"/>
                    <a:gd name="T66" fmla="*/ 90 w 132"/>
                    <a:gd name="T67" fmla="*/ 3 h 130"/>
                    <a:gd name="T68" fmla="*/ 87 w 132"/>
                    <a:gd name="T69" fmla="*/ 2 h 130"/>
                    <a:gd name="T70" fmla="*/ 78 w 132"/>
                    <a:gd name="T71" fmla="*/ 14 h 130"/>
                    <a:gd name="T72" fmla="*/ 56 w 132"/>
                    <a:gd name="T73" fmla="*/ 2 h 130"/>
                    <a:gd name="T74" fmla="*/ 51 w 132"/>
                    <a:gd name="T75" fmla="*/ 0 h 130"/>
                    <a:gd name="T76" fmla="*/ 45 w 132"/>
                    <a:gd name="T77" fmla="*/ 2 h 130"/>
                    <a:gd name="T78" fmla="*/ 35 w 132"/>
                    <a:gd name="T79" fmla="*/ 6 h 130"/>
                    <a:gd name="T80" fmla="*/ 30 w 132"/>
                    <a:gd name="T81" fmla="*/ 9 h 130"/>
                    <a:gd name="T82" fmla="*/ 34 w 132"/>
                    <a:gd name="T83" fmla="*/ 23 h 130"/>
                    <a:gd name="T84" fmla="*/ 14 w 132"/>
                    <a:gd name="T85" fmla="*/ 34 h 130"/>
                    <a:gd name="T86" fmla="*/ 40 w 132"/>
                    <a:gd name="T87" fmla="*/ 41 h 130"/>
                    <a:gd name="T88" fmla="*/ 42 w 132"/>
                    <a:gd name="T89" fmla="*/ 91 h 1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32" h="130">
                      <a:moveTo>
                        <a:pt x="8" y="33"/>
                      </a:moveTo>
                      <a:cubicBezTo>
                        <a:pt x="8" y="34"/>
                        <a:pt x="7" y="35"/>
                        <a:pt x="6" y="36"/>
                      </a:cubicBezTo>
                      <a:cubicBezTo>
                        <a:pt x="6" y="36"/>
                        <a:pt x="6" y="36"/>
                        <a:pt x="6" y="36"/>
                      </a:cubicBezTo>
                      <a:cubicBezTo>
                        <a:pt x="6" y="37"/>
                        <a:pt x="5" y="38"/>
                        <a:pt x="5" y="38"/>
                      </a:cubicBezTo>
                      <a:cubicBezTo>
                        <a:pt x="5" y="39"/>
                        <a:pt x="4" y="40"/>
                        <a:pt x="4" y="41"/>
                      </a:cubicBezTo>
                      <a:cubicBezTo>
                        <a:pt x="4" y="42"/>
                        <a:pt x="3" y="44"/>
                        <a:pt x="3" y="45"/>
                      </a:cubicBezTo>
                      <a:cubicBezTo>
                        <a:pt x="2" y="46"/>
                        <a:pt x="2" y="47"/>
                        <a:pt x="2" y="48"/>
                      </a:cubicBezTo>
                      <a:cubicBezTo>
                        <a:pt x="1" y="50"/>
                        <a:pt x="1" y="51"/>
                        <a:pt x="1" y="52"/>
                      </a:cubicBezTo>
                      <a:cubicBezTo>
                        <a:pt x="1" y="53"/>
                        <a:pt x="1" y="53"/>
                        <a:pt x="1" y="54"/>
                      </a:cubicBezTo>
                      <a:cubicBezTo>
                        <a:pt x="1" y="54"/>
                        <a:pt x="1" y="54"/>
                        <a:pt x="1" y="54"/>
                      </a:cubicBezTo>
                      <a:cubicBezTo>
                        <a:pt x="1" y="55"/>
                        <a:pt x="1" y="55"/>
                        <a:pt x="1" y="55"/>
                      </a:cubicBezTo>
                      <a:cubicBezTo>
                        <a:pt x="0" y="56"/>
                        <a:pt x="1" y="57"/>
                        <a:pt x="1" y="58"/>
                      </a:cubicBezTo>
                      <a:cubicBezTo>
                        <a:pt x="1" y="58"/>
                        <a:pt x="2" y="59"/>
                        <a:pt x="3" y="59"/>
                      </a:cubicBezTo>
                      <a:cubicBezTo>
                        <a:pt x="3" y="59"/>
                        <a:pt x="4" y="60"/>
                        <a:pt x="6" y="60"/>
                      </a:cubicBezTo>
                      <a:cubicBezTo>
                        <a:pt x="8" y="61"/>
                        <a:pt x="11" y="62"/>
                        <a:pt x="14" y="63"/>
                      </a:cubicBezTo>
                      <a:cubicBezTo>
                        <a:pt x="14" y="69"/>
                        <a:pt x="15" y="75"/>
                        <a:pt x="17" y="81"/>
                      </a:cubicBezTo>
                      <a:cubicBezTo>
                        <a:pt x="14" y="82"/>
                        <a:pt x="12" y="84"/>
                        <a:pt x="10" y="85"/>
                      </a:cubicBezTo>
                      <a:cubicBezTo>
                        <a:pt x="8" y="87"/>
                        <a:pt x="7" y="88"/>
                        <a:pt x="7" y="88"/>
                      </a:cubicBezTo>
                      <a:cubicBezTo>
                        <a:pt x="6" y="88"/>
                        <a:pt x="6" y="89"/>
                        <a:pt x="6" y="90"/>
                      </a:cubicBezTo>
                      <a:cubicBezTo>
                        <a:pt x="6" y="90"/>
                        <a:pt x="6" y="91"/>
                        <a:pt x="6" y="91"/>
                      </a:cubicBezTo>
                      <a:cubicBezTo>
                        <a:pt x="6" y="92"/>
                        <a:pt x="6" y="92"/>
                        <a:pt x="6" y="93"/>
                      </a:cubicBezTo>
                      <a:cubicBezTo>
                        <a:pt x="6" y="93"/>
                        <a:pt x="7" y="93"/>
                        <a:pt x="7" y="93"/>
                      </a:cubicBezTo>
                      <a:cubicBezTo>
                        <a:pt x="7" y="94"/>
                        <a:pt x="7" y="95"/>
                        <a:pt x="8" y="95"/>
                      </a:cubicBezTo>
                      <a:cubicBezTo>
                        <a:pt x="8" y="96"/>
                        <a:pt x="9" y="97"/>
                        <a:pt x="9" y="98"/>
                      </a:cubicBezTo>
                      <a:cubicBezTo>
                        <a:pt x="10" y="99"/>
                        <a:pt x="10" y="99"/>
                        <a:pt x="10" y="100"/>
                      </a:cubicBezTo>
                      <a:cubicBezTo>
                        <a:pt x="11" y="100"/>
                        <a:pt x="11" y="101"/>
                        <a:pt x="11" y="101"/>
                      </a:cubicBezTo>
                      <a:cubicBezTo>
                        <a:pt x="13" y="103"/>
                        <a:pt x="14" y="105"/>
                        <a:pt x="16" y="107"/>
                      </a:cubicBezTo>
                      <a:cubicBezTo>
                        <a:pt x="16" y="108"/>
                        <a:pt x="17" y="108"/>
                        <a:pt x="17" y="109"/>
                      </a:cubicBezTo>
                      <a:cubicBezTo>
                        <a:pt x="18" y="109"/>
                        <a:pt x="18" y="109"/>
                        <a:pt x="18" y="109"/>
                      </a:cubicBezTo>
                      <a:cubicBezTo>
                        <a:pt x="18" y="110"/>
                        <a:pt x="19" y="111"/>
                        <a:pt x="20" y="111"/>
                      </a:cubicBezTo>
                      <a:cubicBezTo>
                        <a:pt x="21" y="111"/>
                        <a:pt x="22" y="111"/>
                        <a:pt x="22" y="110"/>
                      </a:cubicBezTo>
                      <a:cubicBezTo>
                        <a:pt x="22" y="110"/>
                        <a:pt x="24" y="110"/>
                        <a:pt x="26" y="108"/>
                      </a:cubicBezTo>
                      <a:cubicBezTo>
                        <a:pt x="28" y="107"/>
                        <a:pt x="30" y="106"/>
                        <a:pt x="33" y="104"/>
                      </a:cubicBezTo>
                      <a:cubicBezTo>
                        <a:pt x="37" y="108"/>
                        <a:pt x="43" y="111"/>
                        <a:pt x="48" y="113"/>
                      </a:cubicBezTo>
                      <a:cubicBezTo>
                        <a:pt x="48" y="116"/>
                        <a:pt x="48" y="119"/>
                        <a:pt x="48" y="121"/>
                      </a:cubicBezTo>
                      <a:cubicBezTo>
                        <a:pt x="48" y="123"/>
                        <a:pt x="48" y="125"/>
                        <a:pt x="48" y="125"/>
                      </a:cubicBezTo>
                      <a:cubicBezTo>
                        <a:pt x="48" y="126"/>
                        <a:pt x="48" y="126"/>
                        <a:pt x="49" y="127"/>
                      </a:cubicBezTo>
                      <a:cubicBezTo>
                        <a:pt x="49" y="127"/>
                        <a:pt x="49" y="128"/>
                        <a:pt x="50" y="128"/>
                      </a:cubicBezTo>
                      <a:cubicBezTo>
                        <a:pt x="50" y="128"/>
                        <a:pt x="51" y="128"/>
                        <a:pt x="51" y="128"/>
                      </a:cubicBezTo>
                      <a:cubicBezTo>
                        <a:pt x="51" y="128"/>
                        <a:pt x="51" y="128"/>
                        <a:pt x="52" y="129"/>
                      </a:cubicBezTo>
                      <a:cubicBezTo>
                        <a:pt x="52" y="129"/>
                        <a:pt x="53" y="129"/>
                        <a:pt x="54" y="129"/>
                      </a:cubicBezTo>
                      <a:cubicBezTo>
                        <a:pt x="55" y="129"/>
                        <a:pt x="55" y="129"/>
                        <a:pt x="56" y="129"/>
                      </a:cubicBezTo>
                      <a:cubicBezTo>
                        <a:pt x="56" y="129"/>
                        <a:pt x="57" y="129"/>
                        <a:pt x="57" y="129"/>
                      </a:cubicBezTo>
                      <a:cubicBezTo>
                        <a:pt x="58" y="130"/>
                        <a:pt x="59" y="130"/>
                        <a:pt x="59" y="130"/>
                      </a:cubicBezTo>
                      <a:cubicBezTo>
                        <a:pt x="60" y="130"/>
                        <a:pt x="60" y="130"/>
                        <a:pt x="61" y="130"/>
                      </a:cubicBezTo>
                      <a:cubicBezTo>
                        <a:pt x="62" y="130"/>
                        <a:pt x="64" y="130"/>
                        <a:pt x="65" y="130"/>
                      </a:cubicBezTo>
                      <a:cubicBezTo>
                        <a:pt x="66" y="130"/>
                        <a:pt x="67" y="130"/>
                        <a:pt x="68" y="130"/>
                      </a:cubicBezTo>
                      <a:cubicBezTo>
                        <a:pt x="69" y="130"/>
                        <a:pt x="70" y="130"/>
                        <a:pt x="70" y="130"/>
                      </a:cubicBezTo>
                      <a:cubicBezTo>
                        <a:pt x="71" y="130"/>
                        <a:pt x="71" y="130"/>
                        <a:pt x="71" y="130"/>
                      </a:cubicBezTo>
                      <a:cubicBezTo>
                        <a:pt x="73" y="130"/>
                        <a:pt x="75" y="128"/>
                        <a:pt x="75" y="127"/>
                      </a:cubicBezTo>
                      <a:cubicBezTo>
                        <a:pt x="75" y="127"/>
                        <a:pt x="75" y="125"/>
                        <a:pt x="75" y="123"/>
                      </a:cubicBezTo>
                      <a:cubicBezTo>
                        <a:pt x="76" y="122"/>
                        <a:pt x="76" y="120"/>
                        <a:pt x="76" y="119"/>
                      </a:cubicBezTo>
                      <a:cubicBezTo>
                        <a:pt x="76" y="118"/>
                        <a:pt x="76" y="116"/>
                        <a:pt x="76" y="115"/>
                      </a:cubicBezTo>
                      <a:cubicBezTo>
                        <a:pt x="82" y="114"/>
                        <a:pt x="88" y="111"/>
                        <a:pt x="93" y="108"/>
                      </a:cubicBezTo>
                      <a:cubicBezTo>
                        <a:pt x="94" y="109"/>
                        <a:pt x="95" y="110"/>
                        <a:pt x="96" y="111"/>
                      </a:cubicBezTo>
                      <a:cubicBezTo>
                        <a:pt x="97" y="112"/>
                        <a:pt x="98" y="113"/>
                        <a:pt x="99" y="114"/>
                      </a:cubicBezTo>
                      <a:cubicBezTo>
                        <a:pt x="101" y="115"/>
                        <a:pt x="102" y="116"/>
                        <a:pt x="102" y="116"/>
                      </a:cubicBezTo>
                      <a:cubicBezTo>
                        <a:pt x="102" y="117"/>
                        <a:pt x="103" y="117"/>
                        <a:pt x="104" y="117"/>
                      </a:cubicBezTo>
                      <a:cubicBezTo>
                        <a:pt x="105" y="117"/>
                        <a:pt x="106" y="116"/>
                        <a:pt x="107" y="116"/>
                      </a:cubicBezTo>
                      <a:cubicBezTo>
                        <a:pt x="107" y="116"/>
                        <a:pt x="108" y="115"/>
                        <a:pt x="109" y="114"/>
                      </a:cubicBezTo>
                      <a:cubicBezTo>
                        <a:pt x="110" y="113"/>
                        <a:pt x="111" y="112"/>
                        <a:pt x="112" y="111"/>
                      </a:cubicBezTo>
                      <a:cubicBezTo>
                        <a:pt x="112" y="111"/>
                        <a:pt x="113" y="110"/>
                        <a:pt x="114" y="109"/>
                      </a:cubicBezTo>
                      <a:cubicBezTo>
                        <a:pt x="115" y="108"/>
                        <a:pt x="116" y="107"/>
                        <a:pt x="117" y="106"/>
                      </a:cubicBezTo>
                      <a:cubicBezTo>
                        <a:pt x="117" y="105"/>
                        <a:pt x="118" y="104"/>
                        <a:pt x="119" y="104"/>
                      </a:cubicBezTo>
                      <a:cubicBezTo>
                        <a:pt x="120" y="102"/>
                        <a:pt x="120" y="101"/>
                        <a:pt x="120" y="101"/>
                      </a:cubicBezTo>
                      <a:cubicBezTo>
                        <a:pt x="121" y="100"/>
                        <a:pt x="121" y="99"/>
                        <a:pt x="121" y="98"/>
                      </a:cubicBezTo>
                      <a:cubicBezTo>
                        <a:pt x="121" y="97"/>
                        <a:pt x="121" y="97"/>
                        <a:pt x="120" y="96"/>
                      </a:cubicBezTo>
                      <a:cubicBezTo>
                        <a:pt x="120" y="96"/>
                        <a:pt x="119" y="95"/>
                        <a:pt x="118" y="93"/>
                      </a:cubicBezTo>
                      <a:cubicBezTo>
                        <a:pt x="117" y="92"/>
                        <a:pt x="116" y="91"/>
                        <a:pt x="115" y="90"/>
                      </a:cubicBezTo>
                      <a:cubicBezTo>
                        <a:pt x="114" y="90"/>
                        <a:pt x="113" y="89"/>
                        <a:pt x="112" y="88"/>
                      </a:cubicBezTo>
                      <a:cubicBezTo>
                        <a:pt x="115" y="82"/>
                        <a:pt x="116" y="76"/>
                        <a:pt x="117" y="71"/>
                      </a:cubicBezTo>
                      <a:cubicBezTo>
                        <a:pt x="118" y="70"/>
                        <a:pt x="120" y="70"/>
                        <a:pt x="121" y="70"/>
                      </a:cubicBezTo>
                      <a:cubicBezTo>
                        <a:pt x="123" y="70"/>
                        <a:pt x="124" y="69"/>
                        <a:pt x="125" y="69"/>
                      </a:cubicBezTo>
                      <a:cubicBezTo>
                        <a:pt x="127" y="69"/>
                        <a:pt x="129" y="68"/>
                        <a:pt x="129" y="68"/>
                      </a:cubicBezTo>
                      <a:cubicBezTo>
                        <a:pt x="130" y="68"/>
                        <a:pt x="132" y="66"/>
                        <a:pt x="132" y="64"/>
                      </a:cubicBezTo>
                      <a:cubicBezTo>
                        <a:pt x="132" y="64"/>
                        <a:pt x="132" y="64"/>
                        <a:pt x="132" y="63"/>
                      </a:cubicBezTo>
                      <a:cubicBezTo>
                        <a:pt x="132" y="63"/>
                        <a:pt x="132" y="62"/>
                        <a:pt x="132" y="61"/>
                      </a:cubicBezTo>
                      <a:cubicBezTo>
                        <a:pt x="131" y="60"/>
                        <a:pt x="131" y="59"/>
                        <a:pt x="131" y="58"/>
                      </a:cubicBezTo>
                      <a:cubicBezTo>
                        <a:pt x="131" y="57"/>
                        <a:pt x="131" y="55"/>
                        <a:pt x="131" y="54"/>
                      </a:cubicBezTo>
                      <a:cubicBezTo>
                        <a:pt x="131" y="54"/>
                        <a:pt x="131" y="53"/>
                        <a:pt x="131" y="52"/>
                      </a:cubicBezTo>
                      <a:cubicBezTo>
                        <a:pt x="130" y="52"/>
                        <a:pt x="130" y="51"/>
                        <a:pt x="130" y="51"/>
                      </a:cubicBezTo>
                      <a:cubicBezTo>
                        <a:pt x="130" y="50"/>
                        <a:pt x="130" y="49"/>
                        <a:pt x="130" y="49"/>
                      </a:cubicBezTo>
                      <a:cubicBezTo>
                        <a:pt x="130" y="48"/>
                        <a:pt x="130" y="48"/>
                        <a:pt x="129" y="47"/>
                      </a:cubicBezTo>
                      <a:cubicBezTo>
                        <a:pt x="129" y="46"/>
                        <a:pt x="129" y="46"/>
                        <a:pt x="129" y="45"/>
                      </a:cubicBezTo>
                      <a:cubicBezTo>
                        <a:pt x="129" y="45"/>
                        <a:pt x="129" y="44"/>
                        <a:pt x="129" y="44"/>
                      </a:cubicBezTo>
                      <a:cubicBezTo>
                        <a:pt x="128" y="44"/>
                        <a:pt x="128" y="43"/>
                        <a:pt x="128" y="43"/>
                      </a:cubicBezTo>
                      <a:cubicBezTo>
                        <a:pt x="128" y="43"/>
                        <a:pt x="127" y="42"/>
                        <a:pt x="127" y="42"/>
                      </a:cubicBezTo>
                      <a:cubicBezTo>
                        <a:pt x="126" y="41"/>
                        <a:pt x="126" y="41"/>
                        <a:pt x="125" y="41"/>
                      </a:cubicBezTo>
                      <a:cubicBezTo>
                        <a:pt x="125" y="41"/>
                        <a:pt x="123" y="41"/>
                        <a:pt x="121" y="42"/>
                      </a:cubicBezTo>
                      <a:cubicBezTo>
                        <a:pt x="119" y="42"/>
                        <a:pt x="116" y="42"/>
                        <a:pt x="113" y="43"/>
                      </a:cubicBezTo>
                      <a:cubicBezTo>
                        <a:pt x="110" y="37"/>
                        <a:pt x="107" y="32"/>
                        <a:pt x="103" y="28"/>
                      </a:cubicBezTo>
                      <a:cubicBezTo>
                        <a:pt x="104" y="25"/>
                        <a:pt x="106" y="23"/>
                        <a:pt x="107" y="21"/>
                      </a:cubicBezTo>
                      <a:cubicBezTo>
                        <a:pt x="108" y="19"/>
                        <a:pt x="108" y="17"/>
                        <a:pt x="108" y="17"/>
                      </a:cubicBezTo>
                      <a:cubicBezTo>
                        <a:pt x="109" y="17"/>
                        <a:pt x="109" y="16"/>
                        <a:pt x="109" y="15"/>
                      </a:cubicBezTo>
                      <a:cubicBezTo>
                        <a:pt x="108" y="14"/>
                        <a:pt x="108" y="13"/>
                        <a:pt x="107" y="13"/>
                      </a:cubicBezTo>
                      <a:cubicBezTo>
                        <a:pt x="107" y="13"/>
                        <a:pt x="107" y="13"/>
                        <a:pt x="106" y="12"/>
                      </a:cubicBezTo>
                      <a:cubicBezTo>
                        <a:pt x="106" y="12"/>
                        <a:pt x="105" y="11"/>
                        <a:pt x="104" y="11"/>
                      </a:cubicBezTo>
                      <a:cubicBezTo>
                        <a:pt x="103" y="10"/>
                        <a:pt x="101" y="8"/>
                        <a:pt x="99" y="7"/>
                      </a:cubicBezTo>
                      <a:cubicBezTo>
                        <a:pt x="98" y="7"/>
                        <a:pt x="97" y="6"/>
                        <a:pt x="97" y="6"/>
                      </a:cubicBezTo>
                      <a:cubicBezTo>
                        <a:pt x="96" y="6"/>
                        <a:pt x="96" y="6"/>
                        <a:pt x="95" y="5"/>
                      </a:cubicBezTo>
                      <a:cubicBezTo>
                        <a:pt x="94" y="5"/>
                        <a:pt x="93" y="4"/>
                        <a:pt x="92" y="4"/>
                      </a:cubicBezTo>
                      <a:cubicBezTo>
                        <a:pt x="92" y="4"/>
                        <a:pt x="91" y="3"/>
                        <a:pt x="90" y="3"/>
                      </a:cubicBezTo>
                      <a:cubicBezTo>
                        <a:pt x="90" y="3"/>
                        <a:pt x="89" y="3"/>
                        <a:pt x="89" y="3"/>
                      </a:cubicBezTo>
                      <a:cubicBezTo>
                        <a:pt x="89" y="2"/>
                        <a:pt x="88" y="2"/>
                        <a:pt x="88" y="2"/>
                      </a:cubicBezTo>
                      <a:cubicBezTo>
                        <a:pt x="87" y="2"/>
                        <a:pt x="87" y="2"/>
                        <a:pt x="87" y="2"/>
                      </a:cubicBezTo>
                      <a:cubicBezTo>
                        <a:pt x="86" y="3"/>
                        <a:pt x="85" y="3"/>
                        <a:pt x="85" y="4"/>
                      </a:cubicBezTo>
                      <a:cubicBezTo>
                        <a:pt x="85" y="4"/>
                        <a:pt x="84" y="5"/>
                        <a:pt x="83" y="7"/>
                      </a:cubicBezTo>
                      <a:cubicBezTo>
                        <a:pt x="81" y="9"/>
                        <a:pt x="80" y="11"/>
                        <a:pt x="78" y="14"/>
                      </a:cubicBezTo>
                      <a:cubicBezTo>
                        <a:pt x="72" y="13"/>
                        <a:pt x="66" y="12"/>
                        <a:pt x="61" y="13"/>
                      </a:cubicBezTo>
                      <a:cubicBezTo>
                        <a:pt x="59" y="10"/>
                        <a:pt x="58" y="7"/>
                        <a:pt x="57" y="5"/>
                      </a:cubicBezTo>
                      <a:cubicBezTo>
                        <a:pt x="56" y="3"/>
                        <a:pt x="56" y="2"/>
                        <a:pt x="56" y="2"/>
                      </a:cubicBezTo>
                      <a:cubicBezTo>
                        <a:pt x="55" y="1"/>
                        <a:pt x="55" y="0"/>
                        <a:pt x="54" y="0"/>
                      </a:cubicBezTo>
                      <a:cubicBezTo>
                        <a:pt x="53" y="0"/>
                        <a:pt x="52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0" y="0"/>
                      </a:cubicBezTo>
                      <a:cubicBezTo>
                        <a:pt x="50" y="0"/>
                        <a:pt x="49" y="0"/>
                        <a:pt x="48" y="1"/>
                      </a:cubicBezTo>
                      <a:cubicBezTo>
                        <a:pt x="47" y="1"/>
                        <a:pt x="46" y="1"/>
                        <a:pt x="45" y="2"/>
                      </a:cubicBezTo>
                      <a:cubicBezTo>
                        <a:pt x="44" y="2"/>
                        <a:pt x="43" y="2"/>
                        <a:pt x="42" y="3"/>
                      </a:cubicBezTo>
                      <a:cubicBezTo>
                        <a:pt x="40" y="3"/>
                        <a:pt x="39" y="4"/>
                        <a:pt x="38" y="4"/>
                      </a:cubicBezTo>
                      <a:cubicBezTo>
                        <a:pt x="37" y="5"/>
                        <a:pt x="36" y="5"/>
                        <a:pt x="35" y="6"/>
                      </a:cubicBezTo>
                      <a:cubicBezTo>
                        <a:pt x="34" y="6"/>
                        <a:pt x="34" y="7"/>
                        <a:pt x="33" y="7"/>
                      </a:cubicBezTo>
                      <a:cubicBezTo>
                        <a:pt x="33" y="7"/>
                        <a:pt x="32" y="7"/>
                        <a:pt x="32" y="7"/>
                      </a:cubicBezTo>
                      <a:cubicBezTo>
                        <a:pt x="32" y="8"/>
                        <a:pt x="31" y="9"/>
                        <a:pt x="30" y="9"/>
                      </a:cubicBezTo>
                      <a:cubicBezTo>
                        <a:pt x="30" y="10"/>
                        <a:pt x="30" y="11"/>
                        <a:pt x="30" y="12"/>
                      </a:cubicBezTo>
                      <a:cubicBezTo>
                        <a:pt x="30" y="12"/>
                        <a:pt x="31" y="13"/>
                        <a:pt x="31" y="15"/>
                      </a:cubicBezTo>
                      <a:cubicBezTo>
                        <a:pt x="32" y="17"/>
                        <a:pt x="33" y="20"/>
                        <a:pt x="34" y="23"/>
                      </a:cubicBezTo>
                      <a:cubicBezTo>
                        <a:pt x="32" y="25"/>
                        <a:pt x="30" y="27"/>
                        <a:pt x="28" y="29"/>
                      </a:cubicBezTo>
                      <a:cubicBezTo>
                        <a:pt x="26" y="31"/>
                        <a:pt x="24" y="34"/>
                        <a:pt x="22" y="36"/>
                      </a:cubicBezTo>
                      <a:cubicBezTo>
                        <a:pt x="19" y="35"/>
                        <a:pt x="17" y="34"/>
                        <a:pt x="14" y="34"/>
                      </a:cubicBezTo>
                      <a:cubicBezTo>
                        <a:pt x="12" y="33"/>
                        <a:pt x="11" y="33"/>
                        <a:pt x="11" y="33"/>
                      </a:cubicBezTo>
                      <a:cubicBezTo>
                        <a:pt x="10" y="33"/>
                        <a:pt x="9" y="33"/>
                        <a:pt x="8" y="33"/>
                      </a:cubicBezTo>
                      <a:close/>
                      <a:moveTo>
                        <a:pt x="40" y="41"/>
                      </a:moveTo>
                      <a:cubicBezTo>
                        <a:pt x="54" y="26"/>
                        <a:pt x="76" y="25"/>
                        <a:pt x="91" y="39"/>
                      </a:cubicBezTo>
                      <a:cubicBezTo>
                        <a:pt x="105" y="52"/>
                        <a:pt x="106" y="75"/>
                        <a:pt x="93" y="89"/>
                      </a:cubicBezTo>
                      <a:cubicBezTo>
                        <a:pt x="80" y="104"/>
                        <a:pt x="57" y="105"/>
                        <a:pt x="42" y="91"/>
                      </a:cubicBezTo>
                      <a:cubicBezTo>
                        <a:pt x="28" y="78"/>
                        <a:pt x="27" y="55"/>
                        <a:pt x="40" y="4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21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PH" sz="1795" b="0" i="0" u="none" strike="noStrike" kern="0" cap="none" spc="0" normalizeH="0" baseline="0" noProof="0">
                    <a:ln>
                      <a:noFill/>
                    </a:ln>
                    <a:solidFill>
                      <a:srgbClr val="1D1D1D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13" name="Freeform">
                  <a:extLst>
                    <a:ext uri="{FF2B5EF4-FFF2-40B4-BE49-F238E27FC236}">
                      <a16:creationId xmlns:a16="http://schemas.microsoft.com/office/drawing/2014/main" id="{9F80EF1E-B76F-48AA-8848-9B1AF2F077E3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 rot="949646">
                  <a:off x="5281504" y="-926405"/>
                  <a:ext cx="147334" cy="146566"/>
                </a:xfrm>
                <a:custGeom>
                  <a:avLst/>
                  <a:gdLst>
                    <a:gd name="T0" fmla="*/ 3 w 91"/>
                    <a:gd name="T1" fmla="*/ 25 h 91"/>
                    <a:gd name="T2" fmla="*/ 1 w 91"/>
                    <a:gd name="T3" fmla="*/ 31 h 91"/>
                    <a:gd name="T4" fmla="*/ 0 w 91"/>
                    <a:gd name="T5" fmla="*/ 38 h 91"/>
                    <a:gd name="T6" fmla="*/ 0 w 91"/>
                    <a:gd name="T7" fmla="*/ 40 h 91"/>
                    <a:gd name="T8" fmla="*/ 9 w 91"/>
                    <a:gd name="T9" fmla="*/ 44 h 91"/>
                    <a:gd name="T10" fmla="*/ 4 w 91"/>
                    <a:gd name="T11" fmla="*/ 61 h 91"/>
                    <a:gd name="T12" fmla="*/ 4 w 91"/>
                    <a:gd name="T13" fmla="*/ 65 h 91"/>
                    <a:gd name="T14" fmla="*/ 6 w 91"/>
                    <a:gd name="T15" fmla="*/ 69 h 91"/>
                    <a:gd name="T16" fmla="*/ 10 w 91"/>
                    <a:gd name="T17" fmla="*/ 75 h 91"/>
                    <a:gd name="T18" fmla="*/ 13 w 91"/>
                    <a:gd name="T19" fmla="*/ 77 h 91"/>
                    <a:gd name="T20" fmla="*/ 22 w 91"/>
                    <a:gd name="T21" fmla="*/ 73 h 91"/>
                    <a:gd name="T22" fmla="*/ 33 w 91"/>
                    <a:gd name="T23" fmla="*/ 87 h 91"/>
                    <a:gd name="T24" fmla="*/ 35 w 91"/>
                    <a:gd name="T25" fmla="*/ 90 h 91"/>
                    <a:gd name="T26" fmla="*/ 38 w 91"/>
                    <a:gd name="T27" fmla="*/ 90 h 91"/>
                    <a:gd name="T28" fmla="*/ 42 w 91"/>
                    <a:gd name="T29" fmla="*/ 91 h 91"/>
                    <a:gd name="T30" fmla="*/ 48 w 91"/>
                    <a:gd name="T31" fmla="*/ 91 h 91"/>
                    <a:gd name="T32" fmla="*/ 52 w 91"/>
                    <a:gd name="T33" fmla="*/ 86 h 91"/>
                    <a:gd name="T34" fmla="*/ 64 w 91"/>
                    <a:gd name="T35" fmla="*/ 76 h 91"/>
                    <a:gd name="T36" fmla="*/ 71 w 91"/>
                    <a:gd name="T37" fmla="*/ 81 h 91"/>
                    <a:gd name="T38" fmla="*/ 76 w 91"/>
                    <a:gd name="T39" fmla="*/ 79 h 91"/>
                    <a:gd name="T40" fmla="*/ 81 w 91"/>
                    <a:gd name="T41" fmla="*/ 74 h 91"/>
                    <a:gd name="T42" fmla="*/ 84 w 91"/>
                    <a:gd name="T43" fmla="*/ 69 h 91"/>
                    <a:gd name="T44" fmla="*/ 80 w 91"/>
                    <a:gd name="T45" fmla="*/ 63 h 91"/>
                    <a:gd name="T46" fmla="*/ 84 w 91"/>
                    <a:gd name="T47" fmla="*/ 49 h 91"/>
                    <a:gd name="T48" fmla="*/ 91 w 91"/>
                    <a:gd name="T49" fmla="*/ 45 h 91"/>
                    <a:gd name="T50" fmla="*/ 91 w 91"/>
                    <a:gd name="T51" fmla="*/ 40 h 91"/>
                    <a:gd name="T52" fmla="*/ 90 w 91"/>
                    <a:gd name="T53" fmla="*/ 35 h 91"/>
                    <a:gd name="T54" fmla="*/ 89 w 91"/>
                    <a:gd name="T55" fmla="*/ 32 h 91"/>
                    <a:gd name="T56" fmla="*/ 88 w 91"/>
                    <a:gd name="T57" fmla="*/ 29 h 91"/>
                    <a:gd name="T58" fmla="*/ 78 w 91"/>
                    <a:gd name="T59" fmla="*/ 30 h 91"/>
                    <a:gd name="T60" fmla="*/ 75 w 91"/>
                    <a:gd name="T61" fmla="*/ 12 h 91"/>
                    <a:gd name="T62" fmla="*/ 74 w 91"/>
                    <a:gd name="T63" fmla="*/ 8 h 91"/>
                    <a:gd name="T64" fmla="*/ 67 w 91"/>
                    <a:gd name="T65" fmla="*/ 4 h 91"/>
                    <a:gd name="T66" fmla="*/ 62 w 91"/>
                    <a:gd name="T67" fmla="*/ 2 h 91"/>
                    <a:gd name="T68" fmla="*/ 60 w 91"/>
                    <a:gd name="T69" fmla="*/ 2 h 91"/>
                    <a:gd name="T70" fmla="*/ 54 w 91"/>
                    <a:gd name="T71" fmla="*/ 10 h 91"/>
                    <a:gd name="T72" fmla="*/ 38 w 91"/>
                    <a:gd name="T73" fmla="*/ 1 h 91"/>
                    <a:gd name="T74" fmla="*/ 35 w 91"/>
                    <a:gd name="T75" fmla="*/ 0 h 91"/>
                    <a:gd name="T76" fmla="*/ 31 w 91"/>
                    <a:gd name="T77" fmla="*/ 1 h 91"/>
                    <a:gd name="T78" fmla="*/ 24 w 91"/>
                    <a:gd name="T79" fmla="*/ 4 h 91"/>
                    <a:gd name="T80" fmla="*/ 21 w 91"/>
                    <a:gd name="T81" fmla="*/ 6 h 91"/>
                    <a:gd name="T82" fmla="*/ 23 w 91"/>
                    <a:gd name="T83" fmla="*/ 16 h 91"/>
                    <a:gd name="T84" fmla="*/ 9 w 91"/>
                    <a:gd name="T85" fmla="*/ 24 h 91"/>
                    <a:gd name="T86" fmla="*/ 28 w 91"/>
                    <a:gd name="T87" fmla="*/ 28 h 91"/>
                    <a:gd name="T88" fmla="*/ 29 w 91"/>
                    <a:gd name="T89" fmla="*/ 64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91" h="91">
                      <a:moveTo>
                        <a:pt x="5" y="23"/>
                      </a:moveTo>
                      <a:cubicBezTo>
                        <a:pt x="5" y="24"/>
                        <a:pt x="4" y="24"/>
                        <a:pt x="4" y="25"/>
                      </a:cubicBezTo>
                      <a:cubicBezTo>
                        <a:pt x="4" y="25"/>
                        <a:pt x="4" y="25"/>
                        <a:pt x="3" y="25"/>
                      </a:cubicBezTo>
                      <a:cubicBezTo>
                        <a:pt x="3" y="26"/>
                        <a:pt x="3" y="26"/>
                        <a:pt x="3" y="27"/>
                      </a:cubicBezTo>
                      <a:cubicBezTo>
                        <a:pt x="3" y="27"/>
                        <a:pt x="2" y="28"/>
                        <a:pt x="2" y="29"/>
                      </a:cubicBezTo>
                      <a:cubicBezTo>
                        <a:pt x="2" y="30"/>
                        <a:pt x="1" y="30"/>
                        <a:pt x="1" y="31"/>
                      </a:cubicBezTo>
                      <a:cubicBezTo>
                        <a:pt x="1" y="32"/>
                        <a:pt x="1" y="33"/>
                        <a:pt x="0" y="34"/>
                      </a:cubicBezTo>
                      <a:cubicBezTo>
                        <a:pt x="0" y="35"/>
                        <a:pt x="0" y="35"/>
                        <a:pt x="0" y="36"/>
                      </a:cubicBezTo>
                      <a:cubicBezTo>
                        <a:pt x="0" y="37"/>
                        <a:pt x="0" y="37"/>
                        <a:pt x="0" y="38"/>
                      </a:cubicBezTo>
                      <a:cubicBezTo>
                        <a:pt x="0" y="38"/>
                        <a:pt x="0" y="38"/>
                        <a:pt x="0" y="38"/>
                      </a:cubicBezTo>
                      <a:cubicBezTo>
                        <a:pt x="0" y="38"/>
                        <a:pt x="0" y="38"/>
                        <a:pt x="0" y="38"/>
                      </a:cubicBezTo>
                      <a:cubicBezTo>
                        <a:pt x="0" y="39"/>
                        <a:pt x="0" y="40"/>
                        <a:pt x="0" y="40"/>
                      </a:cubicBezTo>
                      <a:cubicBezTo>
                        <a:pt x="0" y="41"/>
                        <a:pt x="1" y="41"/>
                        <a:pt x="1" y="41"/>
                      </a:cubicBezTo>
                      <a:cubicBezTo>
                        <a:pt x="1" y="41"/>
                        <a:pt x="2" y="42"/>
                        <a:pt x="4" y="42"/>
                      </a:cubicBezTo>
                      <a:cubicBezTo>
                        <a:pt x="5" y="43"/>
                        <a:pt x="7" y="43"/>
                        <a:pt x="9" y="44"/>
                      </a:cubicBezTo>
                      <a:cubicBezTo>
                        <a:pt x="9" y="48"/>
                        <a:pt x="10" y="52"/>
                        <a:pt x="11" y="56"/>
                      </a:cubicBezTo>
                      <a:cubicBezTo>
                        <a:pt x="9" y="58"/>
                        <a:pt x="8" y="59"/>
                        <a:pt x="6" y="60"/>
                      </a:cubicBezTo>
                      <a:cubicBezTo>
                        <a:pt x="5" y="61"/>
                        <a:pt x="4" y="61"/>
                        <a:pt x="4" y="61"/>
                      </a:cubicBezTo>
                      <a:cubicBezTo>
                        <a:pt x="4" y="62"/>
                        <a:pt x="3" y="62"/>
                        <a:pt x="3" y="63"/>
                      </a:cubicBezTo>
                      <a:cubicBezTo>
                        <a:pt x="3" y="63"/>
                        <a:pt x="3" y="63"/>
                        <a:pt x="3" y="64"/>
                      </a:cubicBezTo>
                      <a:cubicBezTo>
                        <a:pt x="3" y="64"/>
                        <a:pt x="4" y="64"/>
                        <a:pt x="4" y="65"/>
                      </a:cubicBezTo>
                      <a:cubicBezTo>
                        <a:pt x="4" y="65"/>
                        <a:pt x="4" y="65"/>
                        <a:pt x="4" y="65"/>
                      </a:cubicBezTo>
                      <a:cubicBezTo>
                        <a:pt x="4" y="66"/>
                        <a:pt x="4" y="66"/>
                        <a:pt x="5" y="67"/>
                      </a:cubicBezTo>
                      <a:cubicBezTo>
                        <a:pt x="5" y="67"/>
                        <a:pt x="5" y="68"/>
                        <a:pt x="6" y="69"/>
                      </a:cubicBezTo>
                      <a:cubicBezTo>
                        <a:pt x="6" y="69"/>
                        <a:pt x="6" y="69"/>
                        <a:pt x="7" y="70"/>
                      </a:cubicBezTo>
                      <a:cubicBezTo>
                        <a:pt x="7" y="70"/>
                        <a:pt x="7" y="71"/>
                        <a:pt x="7" y="71"/>
                      </a:cubicBezTo>
                      <a:cubicBezTo>
                        <a:pt x="8" y="72"/>
                        <a:pt x="9" y="74"/>
                        <a:pt x="10" y="75"/>
                      </a:cubicBezTo>
                      <a:cubicBezTo>
                        <a:pt x="11" y="75"/>
                        <a:pt x="11" y="76"/>
                        <a:pt x="11" y="76"/>
                      </a:cubicBezTo>
                      <a:cubicBezTo>
                        <a:pt x="12" y="76"/>
                        <a:pt x="12" y="76"/>
                        <a:pt x="12" y="76"/>
                      </a:cubicBezTo>
                      <a:cubicBezTo>
                        <a:pt x="12" y="77"/>
                        <a:pt x="13" y="77"/>
                        <a:pt x="13" y="77"/>
                      </a:cubicBezTo>
                      <a:cubicBezTo>
                        <a:pt x="14" y="78"/>
                        <a:pt x="15" y="77"/>
                        <a:pt x="15" y="77"/>
                      </a:cubicBezTo>
                      <a:cubicBezTo>
                        <a:pt x="15" y="77"/>
                        <a:pt x="16" y="77"/>
                        <a:pt x="17" y="76"/>
                      </a:cubicBezTo>
                      <a:cubicBezTo>
                        <a:pt x="19" y="75"/>
                        <a:pt x="20" y="74"/>
                        <a:pt x="22" y="73"/>
                      </a:cubicBezTo>
                      <a:cubicBezTo>
                        <a:pt x="25" y="75"/>
                        <a:pt x="29" y="77"/>
                        <a:pt x="33" y="79"/>
                      </a:cubicBezTo>
                      <a:cubicBezTo>
                        <a:pt x="33" y="81"/>
                        <a:pt x="33" y="83"/>
                        <a:pt x="33" y="85"/>
                      </a:cubicBezTo>
                      <a:cubicBezTo>
                        <a:pt x="33" y="86"/>
                        <a:pt x="33" y="87"/>
                        <a:pt x="33" y="87"/>
                      </a:cubicBezTo>
                      <a:cubicBezTo>
                        <a:pt x="33" y="88"/>
                        <a:pt x="33" y="88"/>
                        <a:pt x="33" y="89"/>
                      </a:cubicBezTo>
                      <a:cubicBezTo>
                        <a:pt x="33" y="89"/>
                        <a:pt x="34" y="89"/>
                        <a:pt x="34" y="89"/>
                      </a:cubicBezTo>
                      <a:cubicBezTo>
                        <a:pt x="34" y="90"/>
                        <a:pt x="35" y="90"/>
                        <a:pt x="35" y="90"/>
                      </a:cubicBezTo>
                      <a:cubicBezTo>
                        <a:pt x="35" y="90"/>
                        <a:pt x="35" y="90"/>
                        <a:pt x="36" y="90"/>
                      </a:cubicBezTo>
                      <a:cubicBezTo>
                        <a:pt x="36" y="90"/>
                        <a:pt x="36" y="90"/>
                        <a:pt x="37" y="90"/>
                      </a:cubicBezTo>
                      <a:cubicBezTo>
                        <a:pt x="37" y="90"/>
                        <a:pt x="38" y="90"/>
                        <a:pt x="38" y="90"/>
                      </a:cubicBezTo>
                      <a:cubicBezTo>
                        <a:pt x="39" y="90"/>
                        <a:pt x="39" y="90"/>
                        <a:pt x="39" y="91"/>
                      </a:cubicBezTo>
                      <a:cubicBezTo>
                        <a:pt x="40" y="91"/>
                        <a:pt x="40" y="91"/>
                        <a:pt x="41" y="91"/>
                      </a:cubicBezTo>
                      <a:cubicBezTo>
                        <a:pt x="41" y="91"/>
                        <a:pt x="41" y="91"/>
                        <a:pt x="42" y="91"/>
                      </a:cubicBezTo>
                      <a:cubicBezTo>
                        <a:pt x="43" y="91"/>
                        <a:pt x="44" y="91"/>
                        <a:pt x="45" y="91"/>
                      </a:cubicBezTo>
                      <a:cubicBezTo>
                        <a:pt x="45" y="91"/>
                        <a:pt x="46" y="91"/>
                        <a:pt x="47" y="91"/>
                      </a:cubicBezTo>
                      <a:cubicBezTo>
                        <a:pt x="47" y="91"/>
                        <a:pt x="48" y="91"/>
                        <a:pt x="48" y="91"/>
                      </a:cubicBezTo>
                      <a:cubicBezTo>
                        <a:pt x="49" y="91"/>
                        <a:pt x="49" y="91"/>
                        <a:pt x="49" y="91"/>
                      </a:cubicBezTo>
                      <a:cubicBezTo>
                        <a:pt x="50" y="91"/>
                        <a:pt x="52" y="90"/>
                        <a:pt x="52" y="89"/>
                      </a:cubicBezTo>
                      <a:cubicBezTo>
                        <a:pt x="52" y="89"/>
                        <a:pt x="52" y="88"/>
                        <a:pt x="52" y="86"/>
                      </a:cubicBezTo>
                      <a:cubicBezTo>
                        <a:pt x="52" y="85"/>
                        <a:pt x="52" y="84"/>
                        <a:pt x="52" y="83"/>
                      </a:cubicBezTo>
                      <a:cubicBezTo>
                        <a:pt x="52" y="82"/>
                        <a:pt x="52" y="81"/>
                        <a:pt x="53" y="80"/>
                      </a:cubicBezTo>
                      <a:cubicBezTo>
                        <a:pt x="57" y="79"/>
                        <a:pt x="61" y="78"/>
                        <a:pt x="64" y="76"/>
                      </a:cubicBezTo>
                      <a:cubicBezTo>
                        <a:pt x="65" y="76"/>
                        <a:pt x="66" y="77"/>
                        <a:pt x="66" y="78"/>
                      </a:cubicBezTo>
                      <a:cubicBezTo>
                        <a:pt x="67" y="78"/>
                        <a:pt x="68" y="79"/>
                        <a:pt x="68" y="79"/>
                      </a:cubicBezTo>
                      <a:cubicBezTo>
                        <a:pt x="70" y="80"/>
                        <a:pt x="71" y="81"/>
                        <a:pt x="71" y="81"/>
                      </a:cubicBezTo>
                      <a:cubicBezTo>
                        <a:pt x="71" y="82"/>
                        <a:pt x="72" y="82"/>
                        <a:pt x="72" y="82"/>
                      </a:cubicBezTo>
                      <a:cubicBezTo>
                        <a:pt x="73" y="82"/>
                        <a:pt x="73" y="81"/>
                        <a:pt x="74" y="81"/>
                      </a:cubicBezTo>
                      <a:cubicBezTo>
                        <a:pt x="74" y="81"/>
                        <a:pt x="75" y="80"/>
                        <a:pt x="76" y="79"/>
                      </a:cubicBezTo>
                      <a:cubicBezTo>
                        <a:pt x="76" y="79"/>
                        <a:pt x="77" y="78"/>
                        <a:pt x="77" y="78"/>
                      </a:cubicBezTo>
                      <a:cubicBezTo>
                        <a:pt x="78" y="77"/>
                        <a:pt x="79" y="77"/>
                        <a:pt x="79" y="76"/>
                      </a:cubicBezTo>
                      <a:cubicBezTo>
                        <a:pt x="80" y="75"/>
                        <a:pt x="80" y="75"/>
                        <a:pt x="81" y="74"/>
                      </a:cubicBezTo>
                      <a:cubicBezTo>
                        <a:pt x="81" y="73"/>
                        <a:pt x="82" y="73"/>
                        <a:pt x="82" y="72"/>
                      </a:cubicBezTo>
                      <a:cubicBezTo>
                        <a:pt x="83" y="71"/>
                        <a:pt x="83" y="71"/>
                        <a:pt x="83" y="71"/>
                      </a:cubicBezTo>
                      <a:cubicBezTo>
                        <a:pt x="84" y="70"/>
                        <a:pt x="84" y="69"/>
                        <a:pt x="84" y="69"/>
                      </a:cubicBezTo>
                      <a:cubicBezTo>
                        <a:pt x="84" y="68"/>
                        <a:pt x="84" y="68"/>
                        <a:pt x="84" y="67"/>
                      </a:cubicBezTo>
                      <a:cubicBezTo>
                        <a:pt x="84" y="67"/>
                        <a:pt x="83" y="66"/>
                        <a:pt x="82" y="65"/>
                      </a:cubicBezTo>
                      <a:cubicBezTo>
                        <a:pt x="81" y="65"/>
                        <a:pt x="80" y="64"/>
                        <a:pt x="80" y="63"/>
                      </a:cubicBezTo>
                      <a:cubicBezTo>
                        <a:pt x="79" y="63"/>
                        <a:pt x="78" y="62"/>
                        <a:pt x="78" y="61"/>
                      </a:cubicBezTo>
                      <a:cubicBezTo>
                        <a:pt x="79" y="57"/>
                        <a:pt x="81" y="53"/>
                        <a:pt x="81" y="49"/>
                      </a:cubicBezTo>
                      <a:cubicBezTo>
                        <a:pt x="82" y="49"/>
                        <a:pt x="83" y="49"/>
                        <a:pt x="84" y="49"/>
                      </a:cubicBezTo>
                      <a:cubicBezTo>
                        <a:pt x="85" y="49"/>
                        <a:pt x="86" y="48"/>
                        <a:pt x="87" y="48"/>
                      </a:cubicBezTo>
                      <a:cubicBezTo>
                        <a:pt x="88" y="48"/>
                        <a:pt x="89" y="48"/>
                        <a:pt x="89" y="48"/>
                      </a:cubicBezTo>
                      <a:cubicBezTo>
                        <a:pt x="91" y="48"/>
                        <a:pt x="91" y="46"/>
                        <a:pt x="91" y="45"/>
                      </a:cubicBezTo>
                      <a:cubicBezTo>
                        <a:pt x="91" y="45"/>
                        <a:pt x="91" y="45"/>
                        <a:pt x="91" y="44"/>
                      </a:cubicBezTo>
                      <a:cubicBezTo>
                        <a:pt x="91" y="44"/>
                        <a:pt x="91" y="43"/>
                        <a:pt x="91" y="43"/>
                      </a:cubicBezTo>
                      <a:cubicBezTo>
                        <a:pt x="91" y="42"/>
                        <a:pt x="91" y="41"/>
                        <a:pt x="91" y="40"/>
                      </a:cubicBezTo>
                      <a:cubicBezTo>
                        <a:pt x="91" y="40"/>
                        <a:pt x="91" y="39"/>
                        <a:pt x="91" y="38"/>
                      </a:cubicBezTo>
                      <a:cubicBezTo>
                        <a:pt x="91" y="37"/>
                        <a:pt x="91" y="37"/>
                        <a:pt x="91" y="37"/>
                      </a:cubicBezTo>
                      <a:cubicBezTo>
                        <a:pt x="91" y="36"/>
                        <a:pt x="90" y="36"/>
                        <a:pt x="90" y="35"/>
                      </a:cubicBezTo>
                      <a:cubicBezTo>
                        <a:pt x="90" y="35"/>
                        <a:pt x="90" y="34"/>
                        <a:pt x="90" y="34"/>
                      </a:cubicBezTo>
                      <a:cubicBezTo>
                        <a:pt x="90" y="34"/>
                        <a:pt x="90" y="33"/>
                        <a:pt x="90" y="33"/>
                      </a:cubicBezTo>
                      <a:cubicBezTo>
                        <a:pt x="90" y="32"/>
                        <a:pt x="90" y="32"/>
                        <a:pt x="89" y="32"/>
                      </a:cubicBezTo>
                      <a:cubicBezTo>
                        <a:pt x="89" y="31"/>
                        <a:pt x="89" y="31"/>
                        <a:pt x="89" y="31"/>
                      </a:cubicBezTo>
                      <a:cubicBezTo>
                        <a:pt x="89" y="31"/>
                        <a:pt x="89" y="30"/>
                        <a:pt x="89" y="30"/>
                      </a:cubicBezTo>
                      <a:cubicBezTo>
                        <a:pt x="89" y="30"/>
                        <a:pt x="88" y="29"/>
                        <a:pt x="88" y="29"/>
                      </a:cubicBezTo>
                      <a:cubicBezTo>
                        <a:pt x="88" y="29"/>
                        <a:pt x="87" y="29"/>
                        <a:pt x="87" y="29"/>
                      </a:cubicBezTo>
                      <a:cubicBezTo>
                        <a:pt x="87" y="29"/>
                        <a:pt x="86" y="29"/>
                        <a:pt x="84" y="29"/>
                      </a:cubicBezTo>
                      <a:cubicBezTo>
                        <a:pt x="82" y="29"/>
                        <a:pt x="80" y="29"/>
                        <a:pt x="78" y="30"/>
                      </a:cubicBezTo>
                      <a:cubicBezTo>
                        <a:pt x="76" y="26"/>
                        <a:pt x="74" y="23"/>
                        <a:pt x="71" y="20"/>
                      </a:cubicBezTo>
                      <a:cubicBezTo>
                        <a:pt x="72" y="18"/>
                        <a:pt x="73" y="16"/>
                        <a:pt x="74" y="14"/>
                      </a:cubicBezTo>
                      <a:cubicBezTo>
                        <a:pt x="75" y="13"/>
                        <a:pt x="75" y="12"/>
                        <a:pt x="75" y="12"/>
                      </a:cubicBezTo>
                      <a:cubicBezTo>
                        <a:pt x="75" y="12"/>
                        <a:pt x="75" y="11"/>
                        <a:pt x="75" y="10"/>
                      </a:cubicBezTo>
                      <a:cubicBezTo>
                        <a:pt x="75" y="10"/>
                        <a:pt x="75" y="9"/>
                        <a:pt x="74" y="9"/>
                      </a:cubicBezTo>
                      <a:cubicBezTo>
                        <a:pt x="74" y="9"/>
                        <a:pt x="74" y="9"/>
                        <a:pt x="74" y="8"/>
                      </a:cubicBezTo>
                      <a:cubicBezTo>
                        <a:pt x="73" y="8"/>
                        <a:pt x="73" y="8"/>
                        <a:pt x="72" y="7"/>
                      </a:cubicBezTo>
                      <a:cubicBezTo>
                        <a:pt x="71" y="7"/>
                        <a:pt x="70" y="6"/>
                        <a:pt x="68" y="5"/>
                      </a:cubicBezTo>
                      <a:cubicBezTo>
                        <a:pt x="68" y="5"/>
                        <a:pt x="67" y="4"/>
                        <a:pt x="67" y="4"/>
                      </a:cubicBezTo>
                      <a:cubicBezTo>
                        <a:pt x="67" y="4"/>
                        <a:pt x="66" y="4"/>
                        <a:pt x="66" y="4"/>
                      </a:cubicBezTo>
                      <a:cubicBezTo>
                        <a:pt x="65" y="3"/>
                        <a:pt x="64" y="3"/>
                        <a:pt x="64" y="3"/>
                      </a:cubicBezTo>
                      <a:cubicBezTo>
                        <a:pt x="63" y="2"/>
                        <a:pt x="63" y="2"/>
                        <a:pt x="62" y="2"/>
                      </a:cubicBezTo>
                      <a:cubicBezTo>
                        <a:pt x="62" y="2"/>
                        <a:pt x="62" y="2"/>
                        <a:pt x="62" y="2"/>
                      </a:cubicBezTo>
                      <a:cubicBezTo>
                        <a:pt x="62" y="2"/>
                        <a:pt x="61" y="2"/>
                        <a:pt x="61" y="2"/>
                      </a:cubicBezTo>
                      <a:cubicBezTo>
                        <a:pt x="60" y="2"/>
                        <a:pt x="60" y="2"/>
                        <a:pt x="60" y="2"/>
                      </a:cubicBezTo>
                      <a:cubicBezTo>
                        <a:pt x="59" y="2"/>
                        <a:pt x="59" y="2"/>
                        <a:pt x="59" y="3"/>
                      </a:cubicBezTo>
                      <a:cubicBezTo>
                        <a:pt x="59" y="3"/>
                        <a:pt x="58" y="3"/>
                        <a:pt x="57" y="5"/>
                      </a:cubicBezTo>
                      <a:cubicBezTo>
                        <a:pt x="56" y="6"/>
                        <a:pt x="55" y="8"/>
                        <a:pt x="54" y="10"/>
                      </a:cubicBezTo>
                      <a:cubicBezTo>
                        <a:pt x="50" y="9"/>
                        <a:pt x="46" y="8"/>
                        <a:pt x="42" y="9"/>
                      </a:cubicBezTo>
                      <a:cubicBezTo>
                        <a:pt x="41" y="7"/>
                        <a:pt x="40" y="5"/>
                        <a:pt x="39" y="4"/>
                      </a:cubicBezTo>
                      <a:cubicBezTo>
                        <a:pt x="39" y="2"/>
                        <a:pt x="38" y="1"/>
                        <a:pt x="38" y="1"/>
                      </a:cubicBezTo>
                      <a:cubicBezTo>
                        <a:pt x="38" y="1"/>
                        <a:pt x="38" y="0"/>
                        <a:pt x="37" y="0"/>
                      </a:cubicBezTo>
                      <a:cubicBezTo>
                        <a:pt x="36" y="0"/>
                        <a:pt x="36" y="0"/>
                        <a:pt x="35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35" y="0"/>
                        <a:pt x="35" y="0"/>
                        <a:pt x="34" y="0"/>
                      </a:cubicBezTo>
                      <a:cubicBezTo>
                        <a:pt x="34" y="0"/>
                        <a:pt x="34" y="0"/>
                        <a:pt x="33" y="0"/>
                      </a:cubicBezTo>
                      <a:cubicBezTo>
                        <a:pt x="32" y="1"/>
                        <a:pt x="32" y="1"/>
                        <a:pt x="31" y="1"/>
                      </a:cubicBezTo>
                      <a:cubicBezTo>
                        <a:pt x="30" y="1"/>
                        <a:pt x="29" y="2"/>
                        <a:pt x="28" y="2"/>
                      </a:cubicBezTo>
                      <a:cubicBezTo>
                        <a:pt x="28" y="2"/>
                        <a:pt x="27" y="3"/>
                        <a:pt x="26" y="3"/>
                      </a:cubicBezTo>
                      <a:cubicBezTo>
                        <a:pt x="25" y="3"/>
                        <a:pt x="24" y="4"/>
                        <a:pt x="24" y="4"/>
                      </a:cubicBezTo>
                      <a:cubicBezTo>
                        <a:pt x="23" y="4"/>
                        <a:pt x="23" y="5"/>
                        <a:pt x="22" y="5"/>
                      </a:cubicBezTo>
                      <a:cubicBezTo>
                        <a:pt x="22" y="5"/>
                        <a:pt x="22" y="5"/>
                        <a:pt x="22" y="5"/>
                      </a:cubicBezTo>
                      <a:cubicBezTo>
                        <a:pt x="21" y="5"/>
                        <a:pt x="21" y="6"/>
                        <a:pt x="21" y="6"/>
                      </a:cubicBezTo>
                      <a:cubicBezTo>
                        <a:pt x="20" y="7"/>
                        <a:pt x="20" y="8"/>
                        <a:pt x="20" y="8"/>
                      </a:cubicBezTo>
                      <a:cubicBezTo>
                        <a:pt x="20" y="8"/>
                        <a:pt x="21" y="9"/>
                        <a:pt x="21" y="11"/>
                      </a:cubicBezTo>
                      <a:cubicBezTo>
                        <a:pt x="22" y="12"/>
                        <a:pt x="22" y="14"/>
                        <a:pt x="23" y="16"/>
                      </a:cubicBezTo>
                      <a:cubicBezTo>
                        <a:pt x="22" y="17"/>
                        <a:pt x="20" y="19"/>
                        <a:pt x="19" y="20"/>
                      </a:cubicBezTo>
                      <a:cubicBezTo>
                        <a:pt x="17" y="22"/>
                        <a:pt x="16" y="23"/>
                        <a:pt x="15" y="25"/>
                      </a:cubicBezTo>
                      <a:cubicBezTo>
                        <a:pt x="13" y="25"/>
                        <a:pt x="11" y="24"/>
                        <a:pt x="9" y="24"/>
                      </a:cubicBezTo>
                      <a:cubicBezTo>
                        <a:pt x="8" y="23"/>
                        <a:pt x="7" y="23"/>
                        <a:pt x="7" y="23"/>
                      </a:cubicBezTo>
                      <a:cubicBezTo>
                        <a:pt x="6" y="23"/>
                        <a:pt x="6" y="23"/>
                        <a:pt x="5" y="23"/>
                      </a:cubicBezTo>
                      <a:close/>
                      <a:moveTo>
                        <a:pt x="28" y="28"/>
                      </a:moveTo>
                      <a:cubicBezTo>
                        <a:pt x="37" y="18"/>
                        <a:pt x="53" y="18"/>
                        <a:pt x="63" y="27"/>
                      </a:cubicBezTo>
                      <a:cubicBezTo>
                        <a:pt x="73" y="36"/>
                        <a:pt x="74" y="52"/>
                        <a:pt x="64" y="62"/>
                      </a:cubicBezTo>
                      <a:cubicBezTo>
                        <a:pt x="55" y="73"/>
                        <a:pt x="39" y="73"/>
                        <a:pt x="29" y="64"/>
                      </a:cubicBezTo>
                      <a:cubicBezTo>
                        <a:pt x="19" y="54"/>
                        <a:pt x="18" y="39"/>
                        <a:pt x="28" y="2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21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PH" sz="1795" b="0" i="0" u="none" strike="noStrike" kern="0" cap="none" spc="0" normalizeH="0" baseline="0" noProof="0">
                    <a:ln>
                      <a:noFill/>
                    </a:ln>
                    <a:solidFill>
                      <a:srgbClr val="1D1D1D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14" name="Freeform">
                  <a:extLst>
                    <a:ext uri="{FF2B5EF4-FFF2-40B4-BE49-F238E27FC236}">
                      <a16:creationId xmlns:a16="http://schemas.microsoft.com/office/drawing/2014/main" id="{0BDEBA00-D4F3-48D9-9AD4-2ADF826BA834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5291657" y="-782654"/>
                  <a:ext cx="193410" cy="190627"/>
                </a:xfrm>
                <a:custGeom>
                  <a:avLst/>
                  <a:gdLst>
                    <a:gd name="T0" fmla="*/ 6 w 132"/>
                    <a:gd name="T1" fmla="*/ 36 h 130"/>
                    <a:gd name="T2" fmla="*/ 3 w 132"/>
                    <a:gd name="T3" fmla="*/ 45 h 130"/>
                    <a:gd name="T4" fmla="*/ 1 w 132"/>
                    <a:gd name="T5" fmla="*/ 54 h 130"/>
                    <a:gd name="T6" fmla="*/ 1 w 132"/>
                    <a:gd name="T7" fmla="*/ 58 h 130"/>
                    <a:gd name="T8" fmla="*/ 14 w 132"/>
                    <a:gd name="T9" fmla="*/ 63 h 130"/>
                    <a:gd name="T10" fmla="*/ 7 w 132"/>
                    <a:gd name="T11" fmla="*/ 88 h 130"/>
                    <a:gd name="T12" fmla="*/ 6 w 132"/>
                    <a:gd name="T13" fmla="*/ 93 h 130"/>
                    <a:gd name="T14" fmla="*/ 9 w 132"/>
                    <a:gd name="T15" fmla="*/ 98 h 130"/>
                    <a:gd name="T16" fmla="*/ 16 w 132"/>
                    <a:gd name="T17" fmla="*/ 107 h 130"/>
                    <a:gd name="T18" fmla="*/ 20 w 132"/>
                    <a:gd name="T19" fmla="*/ 111 h 130"/>
                    <a:gd name="T20" fmla="*/ 33 w 132"/>
                    <a:gd name="T21" fmla="*/ 104 h 130"/>
                    <a:gd name="T22" fmla="*/ 48 w 132"/>
                    <a:gd name="T23" fmla="*/ 125 h 130"/>
                    <a:gd name="T24" fmla="*/ 51 w 132"/>
                    <a:gd name="T25" fmla="*/ 128 h 130"/>
                    <a:gd name="T26" fmla="*/ 56 w 132"/>
                    <a:gd name="T27" fmla="*/ 129 h 130"/>
                    <a:gd name="T28" fmla="*/ 61 w 132"/>
                    <a:gd name="T29" fmla="*/ 130 h 130"/>
                    <a:gd name="T30" fmla="*/ 70 w 132"/>
                    <a:gd name="T31" fmla="*/ 130 h 130"/>
                    <a:gd name="T32" fmla="*/ 75 w 132"/>
                    <a:gd name="T33" fmla="*/ 123 h 130"/>
                    <a:gd name="T34" fmla="*/ 93 w 132"/>
                    <a:gd name="T35" fmla="*/ 108 h 130"/>
                    <a:gd name="T36" fmla="*/ 102 w 132"/>
                    <a:gd name="T37" fmla="*/ 116 h 130"/>
                    <a:gd name="T38" fmla="*/ 109 w 132"/>
                    <a:gd name="T39" fmla="*/ 114 h 130"/>
                    <a:gd name="T40" fmla="*/ 117 w 132"/>
                    <a:gd name="T41" fmla="*/ 106 h 130"/>
                    <a:gd name="T42" fmla="*/ 121 w 132"/>
                    <a:gd name="T43" fmla="*/ 98 h 130"/>
                    <a:gd name="T44" fmla="*/ 115 w 132"/>
                    <a:gd name="T45" fmla="*/ 90 h 130"/>
                    <a:gd name="T46" fmla="*/ 121 w 132"/>
                    <a:gd name="T47" fmla="*/ 70 h 130"/>
                    <a:gd name="T48" fmla="*/ 132 w 132"/>
                    <a:gd name="T49" fmla="*/ 64 h 130"/>
                    <a:gd name="T50" fmla="*/ 131 w 132"/>
                    <a:gd name="T51" fmla="*/ 58 h 130"/>
                    <a:gd name="T52" fmla="*/ 130 w 132"/>
                    <a:gd name="T53" fmla="*/ 51 h 130"/>
                    <a:gd name="T54" fmla="*/ 129 w 132"/>
                    <a:gd name="T55" fmla="*/ 45 h 130"/>
                    <a:gd name="T56" fmla="*/ 127 w 132"/>
                    <a:gd name="T57" fmla="*/ 42 h 130"/>
                    <a:gd name="T58" fmla="*/ 113 w 132"/>
                    <a:gd name="T59" fmla="*/ 43 h 130"/>
                    <a:gd name="T60" fmla="*/ 108 w 132"/>
                    <a:gd name="T61" fmla="*/ 17 h 130"/>
                    <a:gd name="T62" fmla="*/ 106 w 132"/>
                    <a:gd name="T63" fmla="*/ 12 h 130"/>
                    <a:gd name="T64" fmla="*/ 97 w 132"/>
                    <a:gd name="T65" fmla="*/ 6 h 130"/>
                    <a:gd name="T66" fmla="*/ 90 w 132"/>
                    <a:gd name="T67" fmla="*/ 3 h 130"/>
                    <a:gd name="T68" fmla="*/ 87 w 132"/>
                    <a:gd name="T69" fmla="*/ 2 h 130"/>
                    <a:gd name="T70" fmla="*/ 78 w 132"/>
                    <a:gd name="T71" fmla="*/ 14 h 130"/>
                    <a:gd name="T72" fmla="*/ 56 w 132"/>
                    <a:gd name="T73" fmla="*/ 2 h 130"/>
                    <a:gd name="T74" fmla="*/ 51 w 132"/>
                    <a:gd name="T75" fmla="*/ 0 h 130"/>
                    <a:gd name="T76" fmla="*/ 45 w 132"/>
                    <a:gd name="T77" fmla="*/ 2 h 130"/>
                    <a:gd name="T78" fmla="*/ 35 w 132"/>
                    <a:gd name="T79" fmla="*/ 6 h 130"/>
                    <a:gd name="T80" fmla="*/ 30 w 132"/>
                    <a:gd name="T81" fmla="*/ 9 h 130"/>
                    <a:gd name="T82" fmla="*/ 34 w 132"/>
                    <a:gd name="T83" fmla="*/ 23 h 130"/>
                    <a:gd name="T84" fmla="*/ 14 w 132"/>
                    <a:gd name="T85" fmla="*/ 34 h 130"/>
                    <a:gd name="T86" fmla="*/ 40 w 132"/>
                    <a:gd name="T87" fmla="*/ 41 h 130"/>
                    <a:gd name="T88" fmla="*/ 42 w 132"/>
                    <a:gd name="T89" fmla="*/ 91 h 1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32" h="130">
                      <a:moveTo>
                        <a:pt x="8" y="33"/>
                      </a:moveTo>
                      <a:cubicBezTo>
                        <a:pt x="8" y="34"/>
                        <a:pt x="7" y="35"/>
                        <a:pt x="6" y="36"/>
                      </a:cubicBezTo>
                      <a:cubicBezTo>
                        <a:pt x="6" y="36"/>
                        <a:pt x="6" y="36"/>
                        <a:pt x="6" y="36"/>
                      </a:cubicBezTo>
                      <a:cubicBezTo>
                        <a:pt x="6" y="37"/>
                        <a:pt x="5" y="38"/>
                        <a:pt x="5" y="38"/>
                      </a:cubicBezTo>
                      <a:cubicBezTo>
                        <a:pt x="5" y="39"/>
                        <a:pt x="4" y="40"/>
                        <a:pt x="4" y="41"/>
                      </a:cubicBezTo>
                      <a:cubicBezTo>
                        <a:pt x="4" y="42"/>
                        <a:pt x="3" y="44"/>
                        <a:pt x="3" y="45"/>
                      </a:cubicBezTo>
                      <a:cubicBezTo>
                        <a:pt x="2" y="46"/>
                        <a:pt x="2" y="47"/>
                        <a:pt x="2" y="48"/>
                      </a:cubicBezTo>
                      <a:cubicBezTo>
                        <a:pt x="1" y="50"/>
                        <a:pt x="1" y="51"/>
                        <a:pt x="1" y="52"/>
                      </a:cubicBezTo>
                      <a:cubicBezTo>
                        <a:pt x="1" y="53"/>
                        <a:pt x="1" y="53"/>
                        <a:pt x="1" y="54"/>
                      </a:cubicBezTo>
                      <a:cubicBezTo>
                        <a:pt x="1" y="54"/>
                        <a:pt x="1" y="54"/>
                        <a:pt x="1" y="54"/>
                      </a:cubicBezTo>
                      <a:cubicBezTo>
                        <a:pt x="1" y="55"/>
                        <a:pt x="1" y="55"/>
                        <a:pt x="1" y="55"/>
                      </a:cubicBezTo>
                      <a:cubicBezTo>
                        <a:pt x="0" y="56"/>
                        <a:pt x="1" y="57"/>
                        <a:pt x="1" y="58"/>
                      </a:cubicBezTo>
                      <a:cubicBezTo>
                        <a:pt x="1" y="58"/>
                        <a:pt x="2" y="59"/>
                        <a:pt x="3" y="59"/>
                      </a:cubicBezTo>
                      <a:cubicBezTo>
                        <a:pt x="3" y="59"/>
                        <a:pt x="4" y="60"/>
                        <a:pt x="6" y="60"/>
                      </a:cubicBezTo>
                      <a:cubicBezTo>
                        <a:pt x="8" y="61"/>
                        <a:pt x="11" y="62"/>
                        <a:pt x="14" y="63"/>
                      </a:cubicBezTo>
                      <a:cubicBezTo>
                        <a:pt x="14" y="69"/>
                        <a:pt x="15" y="75"/>
                        <a:pt x="17" y="81"/>
                      </a:cubicBezTo>
                      <a:cubicBezTo>
                        <a:pt x="14" y="82"/>
                        <a:pt x="12" y="84"/>
                        <a:pt x="10" y="85"/>
                      </a:cubicBezTo>
                      <a:cubicBezTo>
                        <a:pt x="8" y="87"/>
                        <a:pt x="7" y="88"/>
                        <a:pt x="7" y="88"/>
                      </a:cubicBezTo>
                      <a:cubicBezTo>
                        <a:pt x="6" y="88"/>
                        <a:pt x="6" y="89"/>
                        <a:pt x="6" y="90"/>
                      </a:cubicBezTo>
                      <a:cubicBezTo>
                        <a:pt x="6" y="90"/>
                        <a:pt x="6" y="91"/>
                        <a:pt x="6" y="91"/>
                      </a:cubicBezTo>
                      <a:cubicBezTo>
                        <a:pt x="6" y="92"/>
                        <a:pt x="6" y="92"/>
                        <a:pt x="6" y="93"/>
                      </a:cubicBezTo>
                      <a:cubicBezTo>
                        <a:pt x="6" y="93"/>
                        <a:pt x="7" y="93"/>
                        <a:pt x="7" y="93"/>
                      </a:cubicBezTo>
                      <a:cubicBezTo>
                        <a:pt x="7" y="94"/>
                        <a:pt x="7" y="95"/>
                        <a:pt x="8" y="95"/>
                      </a:cubicBezTo>
                      <a:cubicBezTo>
                        <a:pt x="8" y="96"/>
                        <a:pt x="9" y="97"/>
                        <a:pt x="9" y="98"/>
                      </a:cubicBezTo>
                      <a:cubicBezTo>
                        <a:pt x="10" y="99"/>
                        <a:pt x="10" y="99"/>
                        <a:pt x="10" y="100"/>
                      </a:cubicBezTo>
                      <a:cubicBezTo>
                        <a:pt x="11" y="100"/>
                        <a:pt x="11" y="101"/>
                        <a:pt x="11" y="101"/>
                      </a:cubicBezTo>
                      <a:cubicBezTo>
                        <a:pt x="13" y="103"/>
                        <a:pt x="14" y="105"/>
                        <a:pt x="16" y="107"/>
                      </a:cubicBezTo>
                      <a:cubicBezTo>
                        <a:pt x="16" y="108"/>
                        <a:pt x="17" y="108"/>
                        <a:pt x="17" y="109"/>
                      </a:cubicBezTo>
                      <a:cubicBezTo>
                        <a:pt x="18" y="109"/>
                        <a:pt x="18" y="109"/>
                        <a:pt x="18" y="109"/>
                      </a:cubicBezTo>
                      <a:cubicBezTo>
                        <a:pt x="18" y="110"/>
                        <a:pt x="19" y="111"/>
                        <a:pt x="20" y="111"/>
                      </a:cubicBezTo>
                      <a:cubicBezTo>
                        <a:pt x="21" y="111"/>
                        <a:pt x="22" y="111"/>
                        <a:pt x="22" y="110"/>
                      </a:cubicBezTo>
                      <a:cubicBezTo>
                        <a:pt x="22" y="110"/>
                        <a:pt x="24" y="110"/>
                        <a:pt x="26" y="108"/>
                      </a:cubicBezTo>
                      <a:cubicBezTo>
                        <a:pt x="28" y="107"/>
                        <a:pt x="30" y="106"/>
                        <a:pt x="33" y="104"/>
                      </a:cubicBezTo>
                      <a:cubicBezTo>
                        <a:pt x="37" y="108"/>
                        <a:pt x="43" y="111"/>
                        <a:pt x="48" y="113"/>
                      </a:cubicBezTo>
                      <a:cubicBezTo>
                        <a:pt x="48" y="116"/>
                        <a:pt x="48" y="119"/>
                        <a:pt x="48" y="121"/>
                      </a:cubicBezTo>
                      <a:cubicBezTo>
                        <a:pt x="48" y="123"/>
                        <a:pt x="48" y="125"/>
                        <a:pt x="48" y="125"/>
                      </a:cubicBezTo>
                      <a:cubicBezTo>
                        <a:pt x="48" y="126"/>
                        <a:pt x="48" y="126"/>
                        <a:pt x="49" y="127"/>
                      </a:cubicBezTo>
                      <a:cubicBezTo>
                        <a:pt x="49" y="127"/>
                        <a:pt x="49" y="128"/>
                        <a:pt x="50" y="128"/>
                      </a:cubicBezTo>
                      <a:cubicBezTo>
                        <a:pt x="50" y="128"/>
                        <a:pt x="51" y="128"/>
                        <a:pt x="51" y="128"/>
                      </a:cubicBezTo>
                      <a:cubicBezTo>
                        <a:pt x="51" y="128"/>
                        <a:pt x="51" y="128"/>
                        <a:pt x="52" y="129"/>
                      </a:cubicBezTo>
                      <a:cubicBezTo>
                        <a:pt x="52" y="129"/>
                        <a:pt x="53" y="129"/>
                        <a:pt x="54" y="129"/>
                      </a:cubicBezTo>
                      <a:cubicBezTo>
                        <a:pt x="55" y="129"/>
                        <a:pt x="55" y="129"/>
                        <a:pt x="56" y="129"/>
                      </a:cubicBezTo>
                      <a:cubicBezTo>
                        <a:pt x="56" y="129"/>
                        <a:pt x="57" y="129"/>
                        <a:pt x="57" y="129"/>
                      </a:cubicBezTo>
                      <a:cubicBezTo>
                        <a:pt x="58" y="130"/>
                        <a:pt x="59" y="130"/>
                        <a:pt x="59" y="130"/>
                      </a:cubicBezTo>
                      <a:cubicBezTo>
                        <a:pt x="60" y="130"/>
                        <a:pt x="60" y="130"/>
                        <a:pt x="61" y="130"/>
                      </a:cubicBezTo>
                      <a:cubicBezTo>
                        <a:pt x="62" y="130"/>
                        <a:pt x="64" y="130"/>
                        <a:pt x="65" y="130"/>
                      </a:cubicBezTo>
                      <a:cubicBezTo>
                        <a:pt x="66" y="130"/>
                        <a:pt x="67" y="130"/>
                        <a:pt x="68" y="130"/>
                      </a:cubicBezTo>
                      <a:cubicBezTo>
                        <a:pt x="69" y="130"/>
                        <a:pt x="70" y="130"/>
                        <a:pt x="70" y="130"/>
                      </a:cubicBezTo>
                      <a:cubicBezTo>
                        <a:pt x="71" y="130"/>
                        <a:pt x="71" y="130"/>
                        <a:pt x="71" y="130"/>
                      </a:cubicBezTo>
                      <a:cubicBezTo>
                        <a:pt x="73" y="130"/>
                        <a:pt x="75" y="128"/>
                        <a:pt x="75" y="127"/>
                      </a:cubicBezTo>
                      <a:cubicBezTo>
                        <a:pt x="75" y="127"/>
                        <a:pt x="75" y="125"/>
                        <a:pt x="75" y="123"/>
                      </a:cubicBezTo>
                      <a:cubicBezTo>
                        <a:pt x="76" y="122"/>
                        <a:pt x="76" y="120"/>
                        <a:pt x="76" y="119"/>
                      </a:cubicBezTo>
                      <a:cubicBezTo>
                        <a:pt x="76" y="118"/>
                        <a:pt x="76" y="116"/>
                        <a:pt x="76" y="115"/>
                      </a:cubicBezTo>
                      <a:cubicBezTo>
                        <a:pt x="82" y="114"/>
                        <a:pt x="88" y="111"/>
                        <a:pt x="93" y="108"/>
                      </a:cubicBezTo>
                      <a:cubicBezTo>
                        <a:pt x="94" y="109"/>
                        <a:pt x="95" y="110"/>
                        <a:pt x="96" y="111"/>
                      </a:cubicBezTo>
                      <a:cubicBezTo>
                        <a:pt x="97" y="112"/>
                        <a:pt x="98" y="113"/>
                        <a:pt x="99" y="114"/>
                      </a:cubicBezTo>
                      <a:cubicBezTo>
                        <a:pt x="101" y="115"/>
                        <a:pt x="102" y="116"/>
                        <a:pt x="102" y="116"/>
                      </a:cubicBezTo>
                      <a:cubicBezTo>
                        <a:pt x="102" y="117"/>
                        <a:pt x="103" y="117"/>
                        <a:pt x="104" y="117"/>
                      </a:cubicBezTo>
                      <a:cubicBezTo>
                        <a:pt x="105" y="117"/>
                        <a:pt x="106" y="116"/>
                        <a:pt x="107" y="116"/>
                      </a:cubicBezTo>
                      <a:cubicBezTo>
                        <a:pt x="107" y="116"/>
                        <a:pt x="108" y="115"/>
                        <a:pt x="109" y="114"/>
                      </a:cubicBezTo>
                      <a:cubicBezTo>
                        <a:pt x="110" y="113"/>
                        <a:pt x="111" y="112"/>
                        <a:pt x="112" y="111"/>
                      </a:cubicBezTo>
                      <a:cubicBezTo>
                        <a:pt x="112" y="111"/>
                        <a:pt x="113" y="110"/>
                        <a:pt x="114" y="109"/>
                      </a:cubicBezTo>
                      <a:cubicBezTo>
                        <a:pt x="115" y="108"/>
                        <a:pt x="116" y="107"/>
                        <a:pt x="117" y="106"/>
                      </a:cubicBezTo>
                      <a:cubicBezTo>
                        <a:pt x="117" y="105"/>
                        <a:pt x="118" y="104"/>
                        <a:pt x="119" y="104"/>
                      </a:cubicBezTo>
                      <a:cubicBezTo>
                        <a:pt x="120" y="102"/>
                        <a:pt x="120" y="101"/>
                        <a:pt x="120" y="101"/>
                      </a:cubicBezTo>
                      <a:cubicBezTo>
                        <a:pt x="121" y="100"/>
                        <a:pt x="121" y="99"/>
                        <a:pt x="121" y="98"/>
                      </a:cubicBezTo>
                      <a:cubicBezTo>
                        <a:pt x="121" y="97"/>
                        <a:pt x="121" y="97"/>
                        <a:pt x="120" y="96"/>
                      </a:cubicBezTo>
                      <a:cubicBezTo>
                        <a:pt x="120" y="96"/>
                        <a:pt x="119" y="95"/>
                        <a:pt x="118" y="93"/>
                      </a:cubicBezTo>
                      <a:cubicBezTo>
                        <a:pt x="117" y="92"/>
                        <a:pt x="116" y="91"/>
                        <a:pt x="115" y="90"/>
                      </a:cubicBezTo>
                      <a:cubicBezTo>
                        <a:pt x="114" y="90"/>
                        <a:pt x="113" y="89"/>
                        <a:pt x="112" y="88"/>
                      </a:cubicBezTo>
                      <a:cubicBezTo>
                        <a:pt x="115" y="82"/>
                        <a:pt x="116" y="76"/>
                        <a:pt x="117" y="71"/>
                      </a:cubicBezTo>
                      <a:cubicBezTo>
                        <a:pt x="118" y="70"/>
                        <a:pt x="120" y="70"/>
                        <a:pt x="121" y="70"/>
                      </a:cubicBezTo>
                      <a:cubicBezTo>
                        <a:pt x="123" y="70"/>
                        <a:pt x="124" y="69"/>
                        <a:pt x="125" y="69"/>
                      </a:cubicBezTo>
                      <a:cubicBezTo>
                        <a:pt x="127" y="69"/>
                        <a:pt x="129" y="68"/>
                        <a:pt x="129" y="68"/>
                      </a:cubicBezTo>
                      <a:cubicBezTo>
                        <a:pt x="130" y="68"/>
                        <a:pt x="132" y="66"/>
                        <a:pt x="132" y="64"/>
                      </a:cubicBezTo>
                      <a:cubicBezTo>
                        <a:pt x="132" y="64"/>
                        <a:pt x="132" y="64"/>
                        <a:pt x="132" y="63"/>
                      </a:cubicBezTo>
                      <a:cubicBezTo>
                        <a:pt x="132" y="63"/>
                        <a:pt x="132" y="62"/>
                        <a:pt x="132" y="61"/>
                      </a:cubicBezTo>
                      <a:cubicBezTo>
                        <a:pt x="131" y="60"/>
                        <a:pt x="131" y="59"/>
                        <a:pt x="131" y="58"/>
                      </a:cubicBezTo>
                      <a:cubicBezTo>
                        <a:pt x="131" y="57"/>
                        <a:pt x="131" y="55"/>
                        <a:pt x="131" y="54"/>
                      </a:cubicBezTo>
                      <a:cubicBezTo>
                        <a:pt x="131" y="54"/>
                        <a:pt x="131" y="53"/>
                        <a:pt x="131" y="52"/>
                      </a:cubicBezTo>
                      <a:cubicBezTo>
                        <a:pt x="130" y="52"/>
                        <a:pt x="130" y="51"/>
                        <a:pt x="130" y="51"/>
                      </a:cubicBezTo>
                      <a:cubicBezTo>
                        <a:pt x="130" y="50"/>
                        <a:pt x="130" y="49"/>
                        <a:pt x="130" y="49"/>
                      </a:cubicBezTo>
                      <a:cubicBezTo>
                        <a:pt x="130" y="48"/>
                        <a:pt x="130" y="48"/>
                        <a:pt x="129" y="47"/>
                      </a:cubicBezTo>
                      <a:cubicBezTo>
                        <a:pt x="129" y="46"/>
                        <a:pt x="129" y="46"/>
                        <a:pt x="129" y="45"/>
                      </a:cubicBezTo>
                      <a:cubicBezTo>
                        <a:pt x="129" y="45"/>
                        <a:pt x="129" y="44"/>
                        <a:pt x="129" y="44"/>
                      </a:cubicBezTo>
                      <a:cubicBezTo>
                        <a:pt x="128" y="44"/>
                        <a:pt x="128" y="43"/>
                        <a:pt x="128" y="43"/>
                      </a:cubicBezTo>
                      <a:cubicBezTo>
                        <a:pt x="128" y="43"/>
                        <a:pt x="127" y="42"/>
                        <a:pt x="127" y="42"/>
                      </a:cubicBezTo>
                      <a:cubicBezTo>
                        <a:pt x="126" y="41"/>
                        <a:pt x="126" y="41"/>
                        <a:pt x="125" y="41"/>
                      </a:cubicBezTo>
                      <a:cubicBezTo>
                        <a:pt x="125" y="41"/>
                        <a:pt x="123" y="41"/>
                        <a:pt x="121" y="42"/>
                      </a:cubicBezTo>
                      <a:cubicBezTo>
                        <a:pt x="119" y="42"/>
                        <a:pt x="116" y="42"/>
                        <a:pt x="113" y="43"/>
                      </a:cubicBezTo>
                      <a:cubicBezTo>
                        <a:pt x="110" y="37"/>
                        <a:pt x="107" y="32"/>
                        <a:pt x="103" y="28"/>
                      </a:cubicBezTo>
                      <a:cubicBezTo>
                        <a:pt x="104" y="25"/>
                        <a:pt x="106" y="23"/>
                        <a:pt x="107" y="21"/>
                      </a:cubicBezTo>
                      <a:cubicBezTo>
                        <a:pt x="108" y="19"/>
                        <a:pt x="108" y="17"/>
                        <a:pt x="108" y="17"/>
                      </a:cubicBezTo>
                      <a:cubicBezTo>
                        <a:pt x="109" y="17"/>
                        <a:pt x="109" y="16"/>
                        <a:pt x="109" y="15"/>
                      </a:cubicBezTo>
                      <a:cubicBezTo>
                        <a:pt x="108" y="14"/>
                        <a:pt x="108" y="13"/>
                        <a:pt x="107" y="13"/>
                      </a:cubicBezTo>
                      <a:cubicBezTo>
                        <a:pt x="107" y="13"/>
                        <a:pt x="107" y="13"/>
                        <a:pt x="106" y="12"/>
                      </a:cubicBezTo>
                      <a:cubicBezTo>
                        <a:pt x="106" y="12"/>
                        <a:pt x="105" y="11"/>
                        <a:pt x="104" y="11"/>
                      </a:cubicBezTo>
                      <a:cubicBezTo>
                        <a:pt x="103" y="10"/>
                        <a:pt x="101" y="8"/>
                        <a:pt x="99" y="7"/>
                      </a:cubicBezTo>
                      <a:cubicBezTo>
                        <a:pt x="98" y="7"/>
                        <a:pt x="97" y="6"/>
                        <a:pt x="97" y="6"/>
                      </a:cubicBezTo>
                      <a:cubicBezTo>
                        <a:pt x="96" y="6"/>
                        <a:pt x="96" y="6"/>
                        <a:pt x="95" y="5"/>
                      </a:cubicBezTo>
                      <a:cubicBezTo>
                        <a:pt x="94" y="5"/>
                        <a:pt x="93" y="4"/>
                        <a:pt x="92" y="4"/>
                      </a:cubicBezTo>
                      <a:cubicBezTo>
                        <a:pt x="92" y="4"/>
                        <a:pt x="91" y="3"/>
                        <a:pt x="90" y="3"/>
                      </a:cubicBezTo>
                      <a:cubicBezTo>
                        <a:pt x="90" y="3"/>
                        <a:pt x="89" y="3"/>
                        <a:pt x="89" y="3"/>
                      </a:cubicBezTo>
                      <a:cubicBezTo>
                        <a:pt x="89" y="2"/>
                        <a:pt x="88" y="2"/>
                        <a:pt x="88" y="2"/>
                      </a:cubicBezTo>
                      <a:cubicBezTo>
                        <a:pt x="87" y="2"/>
                        <a:pt x="87" y="2"/>
                        <a:pt x="87" y="2"/>
                      </a:cubicBezTo>
                      <a:cubicBezTo>
                        <a:pt x="86" y="3"/>
                        <a:pt x="85" y="3"/>
                        <a:pt x="85" y="4"/>
                      </a:cubicBezTo>
                      <a:cubicBezTo>
                        <a:pt x="85" y="4"/>
                        <a:pt x="84" y="5"/>
                        <a:pt x="83" y="7"/>
                      </a:cubicBezTo>
                      <a:cubicBezTo>
                        <a:pt x="81" y="9"/>
                        <a:pt x="80" y="11"/>
                        <a:pt x="78" y="14"/>
                      </a:cubicBezTo>
                      <a:cubicBezTo>
                        <a:pt x="72" y="13"/>
                        <a:pt x="66" y="12"/>
                        <a:pt x="61" y="13"/>
                      </a:cubicBezTo>
                      <a:cubicBezTo>
                        <a:pt x="59" y="10"/>
                        <a:pt x="58" y="7"/>
                        <a:pt x="57" y="5"/>
                      </a:cubicBezTo>
                      <a:cubicBezTo>
                        <a:pt x="56" y="3"/>
                        <a:pt x="56" y="2"/>
                        <a:pt x="56" y="2"/>
                      </a:cubicBezTo>
                      <a:cubicBezTo>
                        <a:pt x="55" y="1"/>
                        <a:pt x="55" y="0"/>
                        <a:pt x="54" y="0"/>
                      </a:cubicBezTo>
                      <a:cubicBezTo>
                        <a:pt x="53" y="0"/>
                        <a:pt x="52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0" y="0"/>
                      </a:cubicBezTo>
                      <a:cubicBezTo>
                        <a:pt x="50" y="0"/>
                        <a:pt x="49" y="0"/>
                        <a:pt x="48" y="1"/>
                      </a:cubicBezTo>
                      <a:cubicBezTo>
                        <a:pt x="47" y="1"/>
                        <a:pt x="46" y="1"/>
                        <a:pt x="45" y="2"/>
                      </a:cubicBezTo>
                      <a:cubicBezTo>
                        <a:pt x="44" y="2"/>
                        <a:pt x="43" y="2"/>
                        <a:pt x="42" y="3"/>
                      </a:cubicBezTo>
                      <a:cubicBezTo>
                        <a:pt x="40" y="3"/>
                        <a:pt x="39" y="4"/>
                        <a:pt x="38" y="4"/>
                      </a:cubicBezTo>
                      <a:cubicBezTo>
                        <a:pt x="37" y="5"/>
                        <a:pt x="36" y="5"/>
                        <a:pt x="35" y="6"/>
                      </a:cubicBezTo>
                      <a:cubicBezTo>
                        <a:pt x="34" y="6"/>
                        <a:pt x="34" y="7"/>
                        <a:pt x="33" y="7"/>
                      </a:cubicBezTo>
                      <a:cubicBezTo>
                        <a:pt x="33" y="7"/>
                        <a:pt x="32" y="7"/>
                        <a:pt x="32" y="7"/>
                      </a:cubicBezTo>
                      <a:cubicBezTo>
                        <a:pt x="32" y="8"/>
                        <a:pt x="31" y="9"/>
                        <a:pt x="30" y="9"/>
                      </a:cubicBezTo>
                      <a:cubicBezTo>
                        <a:pt x="30" y="10"/>
                        <a:pt x="30" y="11"/>
                        <a:pt x="30" y="12"/>
                      </a:cubicBezTo>
                      <a:cubicBezTo>
                        <a:pt x="30" y="12"/>
                        <a:pt x="31" y="13"/>
                        <a:pt x="31" y="15"/>
                      </a:cubicBezTo>
                      <a:cubicBezTo>
                        <a:pt x="32" y="17"/>
                        <a:pt x="33" y="20"/>
                        <a:pt x="34" y="23"/>
                      </a:cubicBezTo>
                      <a:cubicBezTo>
                        <a:pt x="32" y="25"/>
                        <a:pt x="30" y="27"/>
                        <a:pt x="28" y="29"/>
                      </a:cubicBezTo>
                      <a:cubicBezTo>
                        <a:pt x="26" y="31"/>
                        <a:pt x="24" y="34"/>
                        <a:pt x="22" y="36"/>
                      </a:cubicBezTo>
                      <a:cubicBezTo>
                        <a:pt x="19" y="35"/>
                        <a:pt x="17" y="34"/>
                        <a:pt x="14" y="34"/>
                      </a:cubicBezTo>
                      <a:cubicBezTo>
                        <a:pt x="12" y="33"/>
                        <a:pt x="11" y="33"/>
                        <a:pt x="11" y="33"/>
                      </a:cubicBezTo>
                      <a:cubicBezTo>
                        <a:pt x="10" y="33"/>
                        <a:pt x="9" y="33"/>
                        <a:pt x="8" y="33"/>
                      </a:cubicBezTo>
                      <a:close/>
                      <a:moveTo>
                        <a:pt x="40" y="41"/>
                      </a:moveTo>
                      <a:cubicBezTo>
                        <a:pt x="54" y="26"/>
                        <a:pt x="76" y="25"/>
                        <a:pt x="91" y="39"/>
                      </a:cubicBezTo>
                      <a:cubicBezTo>
                        <a:pt x="105" y="52"/>
                        <a:pt x="106" y="75"/>
                        <a:pt x="93" y="89"/>
                      </a:cubicBezTo>
                      <a:cubicBezTo>
                        <a:pt x="80" y="104"/>
                        <a:pt x="57" y="105"/>
                        <a:pt x="42" y="91"/>
                      </a:cubicBezTo>
                      <a:cubicBezTo>
                        <a:pt x="28" y="78"/>
                        <a:pt x="27" y="55"/>
                        <a:pt x="40" y="4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21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PH" sz="1795" b="0" i="0" u="none" strike="noStrike" kern="0" cap="none" spc="0" normalizeH="0" baseline="0" noProof="0">
                    <a:ln>
                      <a:noFill/>
                    </a:ln>
                    <a:solidFill>
                      <a:srgbClr val="1D1D1D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98" name="1_Wer wir sind">
              <a:extLst>
                <a:ext uri="{FF2B5EF4-FFF2-40B4-BE49-F238E27FC236}">
                  <a16:creationId xmlns:a16="http://schemas.microsoft.com/office/drawing/2014/main" id="{3395887E-3522-45DA-A6A0-5DCEF2089870}"/>
                </a:ext>
              </a:extLst>
            </p:cNvPr>
            <p:cNvGrpSpPr/>
            <p:nvPr/>
          </p:nvGrpSpPr>
          <p:grpSpPr>
            <a:xfrm>
              <a:off x="457599" y="4548932"/>
              <a:ext cx="3090756" cy="1356324"/>
              <a:chOff x="457599" y="4548932"/>
              <a:chExt cx="3090756" cy="1356324"/>
            </a:xfrm>
          </p:grpSpPr>
          <p:sp>
            <p:nvSpPr>
              <p:cNvPr id="99" name="1_Box">
                <a:extLst>
                  <a:ext uri="{FF2B5EF4-FFF2-40B4-BE49-F238E27FC236}">
                    <a16:creationId xmlns:a16="http://schemas.microsoft.com/office/drawing/2014/main" id="{FB56AF34-FC05-413E-ADFA-7B0607431B91}"/>
                  </a:ext>
                </a:extLst>
              </p:cNvPr>
              <p:cNvSpPr/>
              <p:nvPr/>
            </p:nvSpPr>
            <p:spPr>
              <a:xfrm>
                <a:off x="457599" y="4548932"/>
                <a:ext cx="3090756" cy="1356324"/>
              </a:xfrm>
              <a:custGeom>
                <a:avLst/>
                <a:gdLst/>
                <a:ahLst/>
                <a:cxnLst/>
                <a:rect l="l" t="t" r="r" b="b"/>
                <a:pathLst>
                  <a:path w="2268220" h="1080135">
                    <a:moveTo>
                      <a:pt x="0" y="1079995"/>
                    </a:moveTo>
                    <a:lnTo>
                      <a:pt x="2268004" y="1079995"/>
                    </a:lnTo>
                    <a:lnTo>
                      <a:pt x="2268004" y="0"/>
                    </a:lnTo>
                    <a:lnTo>
                      <a:pt x="0" y="0"/>
                    </a:lnTo>
                    <a:lnTo>
                      <a:pt x="0" y="1079995"/>
                    </a:lnTo>
                    <a:close/>
                  </a:path>
                </a:pathLst>
              </a:custGeom>
              <a:solidFill>
                <a:schemeClr val="tx1">
                  <a:alpha val="80000"/>
                </a:schemeClr>
              </a:solidFill>
            </p:spPr>
            <p:txBody>
              <a:bodyPr wrap="square" lIns="0" tIns="0" rIns="0" bIns="0" rtlCol="0"/>
              <a:lstStyle/>
              <a:p>
                <a:pPr marL="0" marR="0" lvl="0" indent="0" algn="l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795" b="0" i="0" u="none" strike="noStrike" kern="0" cap="none" spc="0" normalizeH="0" baseline="0" noProof="0">
                  <a:ln>
                    <a:noFill/>
                  </a:ln>
                  <a:solidFill>
                    <a:srgbClr val="1D1D1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0" name="1_Text">
                <a:extLst>
                  <a:ext uri="{FF2B5EF4-FFF2-40B4-BE49-F238E27FC236}">
                    <a16:creationId xmlns:a16="http://schemas.microsoft.com/office/drawing/2014/main" id="{D7F50BED-ABA3-49F2-B58A-A7527EACA294}"/>
                  </a:ext>
                </a:extLst>
              </p:cNvPr>
              <p:cNvSpPr txBox="1"/>
              <p:nvPr/>
            </p:nvSpPr>
            <p:spPr>
              <a:xfrm>
                <a:off x="1490510" y="4698867"/>
                <a:ext cx="2057845" cy="1138773"/>
              </a:xfrm>
              <a:prstGeom prst="rect">
                <a:avLst/>
              </a:prstGeom>
              <a:noFill/>
            </p:spPr>
            <p:txBody>
              <a:bodyPr wrap="square" lIns="0" tIns="0" rIns="108000" bIns="0" rtlCol="0">
                <a:spAutoFit/>
              </a:bodyPr>
              <a:lstStyle/>
              <a:p>
                <a:pPr marL="0" marR="0" lvl="0" indent="0" algn="r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2195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Black" panose="020B0A04020102020204" pitchFamily="34" charset="0"/>
                    <a:ea typeface="+mn-ea"/>
                    <a:cs typeface="+mn-cs"/>
                  </a:rPr>
                  <a:t>Wer </a:t>
                </a:r>
                <a:br>
                  <a:rPr kumimoji="0" lang="de-DE" sz="2195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Black" panose="020B0A04020102020204" pitchFamily="34" charset="0"/>
                    <a:ea typeface="+mn-ea"/>
                    <a:cs typeface="+mn-cs"/>
                  </a:rPr>
                </a:br>
                <a:r>
                  <a:rPr kumimoji="0" lang="de-DE" sz="2195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Black" panose="020B0A04020102020204" pitchFamily="34" charset="0"/>
                    <a:ea typeface="+mn-ea"/>
                    <a:cs typeface="+mn-cs"/>
                  </a:rPr>
                  <a:t>wir sind</a:t>
                </a:r>
              </a:p>
              <a:p>
                <a:pPr marL="0" marR="0" lvl="0" indent="0" algn="r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br>
                  <a:rPr kumimoji="0" lang="de-DE" sz="1995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Black" panose="020B0A04020102020204" pitchFamily="34" charset="0"/>
                    <a:ea typeface="+mn-ea"/>
                    <a:cs typeface="+mn-cs"/>
                  </a:rPr>
                </a:br>
                <a:r>
                  <a:rPr kumimoji="0" lang="da-DK" sz="998" b="0" i="0" u="none" strike="noStrike" kern="0" cap="none" spc="0" normalizeH="0" baseline="0" noProof="0">
                    <a:ln>
                      <a:noFill/>
                    </a:ln>
                    <a:solidFill>
                      <a:srgbClr val="1D1D1D">
                        <a:lumMod val="10000"/>
                        <a:lumOff val="9000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rcadis Kurzvorstellung</a:t>
                </a:r>
                <a:endParaRPr kumimoji="0" lang="de-DE" sz="1995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1_Line">
                <a:extLst>
                  <a:ext uri="{FF2B5EF4-FFF2-40B4-BE49-F238E27FC236}">
                    <a16:creationId xmlns:a16="http://schemas.microsoft.com/office/drawing/2014/main" id="{046841D5-FAB9-46B4-96FD-BA2B1D8E9FF2}"/>
                  </a:ext>
                </a:extLst>
              </p:cNvPr>
              <p:cNvSpPr/>
              <p:nvPr/>
            </p:nvSpPr>
            <p:spPr>
              <a:xfrm>
                <a:off x="457599" y="4548932"/>
                <a:ext cx="3090756" cy="31895"/>
              </a:xfrm>
              <a:custGeom>
                <a:avLst/>
                <a:gdLst/>
                <a:ahLst/>
                <a:cxnLst/>
                <a:rect l="l" t="t" r="r" b="b"/>
                <a:pathLst>
                  <a:path w="2268220" h="25400">
                    <a:moveTo>
                      <a:pt x="0" y="25400"/>
                    </a:moveTo>
                    <a:lnTo>
                      <a:pt x="2268004" y="25400"/>
                    </a:lnTo>
                    <a:lnTo>
                      <a:pt x="2268004" y="0"/>
                    </a:lnTo>
                    <a:lnTo>
                      <a:pt x="0" y="0"/>
                    </a:lnTo>
                    <a:lnTo>
                      <a:pt x="0" y="25400"/>
                    </a:lnTo>
                    <a:close/>
                  </a:path>
                </a:pathLst>
              </a:custGeom>
              <a:solidFill>
                <a:srgbClr val="E4610F"/>
              </a:solidFill>
              <a:ln>
                <a:noFill/>
              </a:ln>
            </p:spPr>
            <p:txBody>
              <a:bodyPr wrap="square" lIns="0" tIns="0" rIns="0" bIns="0" rtlCol="0"/>
              <a:lstStyle/>
              <a:p>
                <a:pPr marL="0" marR="0" lvl="0" indent="0" algn="l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795" b="0" i="0" u="none" strike="noStrike" kern="0" cap="none" spc="0" normalizeH="0" baseline="0" noProof="0">
                  <a:ln>
                    <a:noFill/>
                  </a:ln>
                  <a:solidFill>
                    <a:srgbClr val="1D1D1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102" name="Arrows" hidden="1">
                <a:extLst>
                  <a:ext uri="{FF2B5EF4-FFF2-40B4-BE49-F238E27FC236}">
                    <a16:creationId xmlns:a16="http://schemas.microsoft.com/office/drawing/2014/main" id="{E7860558-C98E-449A-A8C6-3AACA9BFBCDF}"/>
                  </a:ext>
                </a:extLst>
              </p:cNvPr>
              <p:cNvGrpSpPr/>
              <p:nvPr/>
            </p:nvGrpSpPr>
            <p:grpSpPr>
              <a:xfrm>
                <a:off x="3167413" y="5529733"/>
                <a:ext cx="212406" cy="227765"/>
                <a:chOff x="7032319" y="186110"/>
                <a:chExt cx="169153" cy="181385"/>
              </a:xfrm>
            </p:grpSpPr>
            <p:sp>
              <p:nvSpPr>
                <p:cNvPr id="104" name="Freeform">
                  <a:extLst>
                    <a:ext uri="{FF2B5EF4-FFF2-40B4-BE49-F238E27FC236}">
                      <a16:creationId xmlns:a16="http://schemas.microsoft.com/office/drawing/2014/main" id="{F311D2B8-A4CF-4D59-9194-F72C52EF1C34}"/>
                    </a:ext>
                  </a:extLst>
                </p:cNvPr>
                <p:cNvSpPr/>
                <p:nvPr userDrawn="1"/>
              </p:nvSpPr>
              <p:spPr>
                <a:xfrm>
                  <a:off x="7116311" y="186110"/>
                  <a:ext cx="85161" cy="1813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8764" h="560704">
                      <a:moveTo>
                        <a:pt x="0" y="560234"/>
                      </a:moveTo>
                      <a:lnTo>
                        <a:pt x="278453" y="280112"/>
                      </a:lnTo>
                      <a:lnTo>
                        <a:pt x="0" y="0"/>
                      </a:lnTo>
                    </a:path>
                  </a:pathLst>
                </a:custGeom>
                <a:ln w="19456">
                  <a:solidFill>
                    <a:srgbClr val="FFFFFF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9121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816" b="0" i="0" u="none" strike="noStrike" kern="0" cap="none" spc="0" normalizeH="0" baseline="0" noProof="0">
                    <a:ln>
                      <a:noFill/>
                    </a:ln>
                    <a:solidFill>
                      <a:srgbClr val="1D1D1D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05" name="Freeform">
                  <a:extLst>
                    <a:ext uri="{FF2B5EF4-FFF2-40B4-BE49-F238E27FC236}">
                      <a16:creationId xmlns:a16="http://schemas.microsoft.com/office/drawing/2014/main" id="{9722D87E-E2FD-4D9B-9A51-5F55D0F6BF9D}"/>
                    </a:ext>
                  </a:extLst>
                </p:cNvPr>
                <p:cNvSpPr/>
                <p:nvPr userDrawn="1"/>
              </p:nvSpPr>
              <p:spPr>
                <a:xfrm>
                  <a:off x="7074315" y="186110"/>
                  <a:ext cx="85161" cy="1813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8764" h="560704">
                      <a:moveTo>
                        <a:pt x="0" y="560234"/>
                      </a:moveTo>
                      <a:lnTo>
                        <a:pt x="278453" y="280112"/>
                      </a:lnTo>
                      <a:lnTo>
                        <a:pt x="0" y="0"/>
                      </a:lnTo>
                    </a:path>
                  </a:pathLst>
                </a:custGeom>
                <a:ln w="19456">
                  <a:solidFill>
                    <a:srgbClr val="FFFFFF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9121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816" b="0" i="0" u="none" strike="noStrike" kern="0" cap="none" spc="0" normalizeH="0" baseline="0" noProof="0">
                    <a:ln>
                      <a:noFill/>
                    </a:ln>
                    <a:solidFill>
                      <a:srgbClr val="1D1D1D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06" name="Freeform">
                  <a:extLst>
                    <a:ext uri="{FF2B5EF4-FFF2-40B4-BE49-F238E27FC236}">
                      <a16:creationId xmlns:a16="http://schemas.microsoft.com/office/drawing/2014/main" id="{D1C0646D-5574-46F2-8E84-A514D790D7C9}"/>
                    </a:ext>
                  </a:extLst>
                </p:cNvPr>
                <p:cNvSpPr/>
                <p:nvPr userDrawn="1"/>
              </p:nvSpPr>
              <p:spPr>
                <a:xfrm>
                  <a:off x="7032319" y="186110"/>
                  <a:ext cx="85160" cy="1813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8764" h="560704">
                      <a:moveTo>
                        <a:pt x="0" y="560234"/>
                      </a:moveTo>
                      <a:lnTo>
                        <a:pt x="278453" y="280112"/>
                      </a:lnTo>
                      <a:lnTo>
                        <a:pt x="0" y="0"/>
                      </a:lnTo>
                    </a:path>
                  </a:pathLst>
                </a:custGeom>
                <a:ln w="19456">
                  <a:solidFill>
                    <a:srgbClr val="FFFFFF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9121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816" b="0" i="0" u="none" strike="noStrike" kern="0" cap="none" spc="0" normalizeH="0" baseline="0" noProof="0">
                    <a:ln>
                      <a:noFill/>
                    </a:ln>
                    <a:solidFill>
                      <a:srgbClr val="1D1D1D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03" name="Icon: Arcadis">
                <a:extLst>
                  <a:ext uri="{FF2B5EF4-FFF2-40B4-BE49-F238E27FC236}">
                    <a16:creationId xmlns:a16="http://schemas.microsoft.com/office/drawing/2014/main" id="{BECA3DDC-92E2-46B6-AC03-E5E284D351F7}"/>
                  </a:ext>
                </a:extLst>
              </p:cNvPr>
              <p:cNvSpPr>
                <a:spLocks noChangeAspect="1"/>
              </p:cNvSpPr>
              <p:nvPr/>
            </p:nvSpPr>
            <p:spPr>
              <a:xfrm flipV="1">
                <a:off x="611614" y="4759706"/>
                <a:ext cx="694408" cy="622061"/>
              </a:xfrm>
              <a:custGeom>
                <a:avLst/>
                <a:gdLst>
                  <a:gd name="connsiteX0" fmla="*/ 464997 w 861091"/>
                  <a:gd name="connsiteY0" fmla="*/ 770962 h 771380"/>
                  <a:gd name="connsiteX1" fmla="*/ 48522 w 861091"/>
                  <a:gd name="connsiteY1" fmla="*/ -288 h 771380"/>
                  <a:gd name="connsiteX2" fmla="*/ 563070 w 861091"/>
                  <a:gd name="connsiteY2" fmla="*/ 217194 h 771380"/>
                  <a:gd name="connsiteX3" fmla="*/ 563978 w 861091"/>
                  <a:gd name="connsiteY3" fmla="*/ 217194 h 771380"/>
                  <a:gd name="connsiteX4" fmla="*/ 738537 w 861091"/>
                  <a:gd name="connsiteY4" fmla="*/ -149 h 771380"/>
                  <a:gd name="connsiteX5" fmla="*/ 827179 w 861091"/>
                  <a:gd name="connsiteY5" fmla="*/ 500190 h 771380"/>
                  <a:gd name="connsiteX6" fmla="*/ 574291 w 861091"/>
                  <a:gd name="connsiteY6" fmla="*/ 655040 h 771380"/>
                  <a:gd name="connsiteX7" fmla="*/ 451825 w 861091"/>
                  <a:gd name="connsiteY7" fmla="*/ 630603 h 771380"/>
                  <a:gd name="connsiteX8" fmla="*/ 361284 w 861091"/>
                  <a:gd name="connsiteY8" fmla="*/ 462279 h 771380"/>
                  <a:gd name="connsiteX9" fmla="*/ 436005 w 861091"/>
                  <a:gd name="connsiteY9" fmla="*/ 417645 h 771380"/>
                  <a:gd name="connsiteX10" fmla="*/ 451825 w 861091"/>
                  <a:gd name="connsiteY10" fmla="*/ 418896 h 771380"/>
                  <a:gd name="connsiteX11" fmla="*/ 612277 w 861091"/>
                  <a:gd name="connsiteY11" fmla="*/ 479548 h 771380"/>
                  <a:gd name="connsiteX12" fmla="*/ 620993 w 861091"/>
                  <a:gd name="connsiteY12" fmla="*/ 476596 h 771380"/>
                  <a:gd name="connsiteX13" fmla="*/ 496260 w 861091"/>
                  <a:gd name="connsiteY13" fmla="*/ 369033 h 771380"/>
                  <a:gd name="connsiteX14" fmla="*/ 355558 w 861091"/>
                  <a:gd name="connsiteY14" fmla="*/ 342577 h 771380"/>
                  <a:gd name="connsiteX15" fmla="*/ 207549 w 861091"/>
                  <a:gd name="connsiteY15" fmla="*/ 426381 h 771380"/>
                  <a:gd name="connsiteX16" fmla="*/ 520986 w 861091"/>
                  <a:gd name="connsiteY16" fmla="*/ 706212 h 771380"/>
                  <a:gd name="connsiteX17" fmla="*/ 556441 w 861091"/>
                  <a:gd name="connsiteY17" fmla="*/ 707617 h 771380"/>
                  <a:gd name="connsiteX18" fmla="*/ 779514 w 861091"/>
                  <a:gd name="connsiteY18" fmla="*/ 627066 h 771380"/>
                  <a:gd name="connsiteX19" fmla="*/ 494365 w 861091"/>
                  <a:gd name="connsiteY19" fmla="*/ 770828 h 771380"/>
                  <a:gd name="connsiteX20" fmla="*/ 464997 w 861091"/>
                  <a:gd name="connsiteY20" fmla="*/ 770962 h 771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861091" h="771380">
                    <a:moveTo>
                      <a:pt x="464997" y="770962"/>
                    </a:moveTo>
                    <a:cubicBezTo>
                      <a:pt x="-210558" y="741177"/>
                      <a:pt x="48522" y="-288"/>
                      <a:pt x="48522" y="-288"/>
                    </a:cubicBezTo>
                    <a:cubicBezTo>
                      <a:pt x="107562" y="63594"/>
                      <a:pt x="297188" y="216128"/>
                      <a:pt x="563070" y="217194"/>
                    </a:cubicBezTo>
                    <a:cubicBezTo>
                      <a:pt x="563367" y="217194"/>
                      <a:pt x="563679" y="217194"/>
                      <a:pt x="563978" y="217194"/>
                    </a:cubicBezTo>
                    <a:cubicBezTo>
                      <a:pt x="692073" y="217194"/>
                      <a:pt x="767618" y="108233"/>
                      <a:pt x="738537" y="-149"/>
                    </a:cubicBezTo>
                    <a:cubicBezTo>
                      <a:pt x="738537" y="-149"/>
                      <a:pt x="938244" y="233724"/>
                      <a:pt x="827179" y="500190"/>
                    </a:cubicBezTo>
                    <a:cubicBezTo>
                      <a:pt x="790181" y="588966"/>
                      <a:pt x="690754" y="655040"/>
                      <a:pt x="574291" y="655040"/>
                    </a:cubicBezTo>
                    <a:cubicBezTo>
                      <a:pt x="534831" y="655040"/>
                      <a:pt x="493423" y="647460"/>
                      <a:pt x="451825" y="630603"/>
                    </a:cubicBezTo>
                    <a:cubicBezTo>
                      <a:pt x="354437" y="591149"/>
                      <a:pt x="341346" y="503052"/>
                      <a:pt x="361284" y="462279"/>
                    </a:cubicBezTo>
                    <a:cubicBezTo>
                      <a:pt x="375859" y="432453"/>
                      <a:pt x="404820" y="417645"/>
                      <a:pt x="436005" y="417645"/>
                    </a:cubicBezTo>
                    <a:cubicBezTo>
                      <a:pt x="441234" y="417645"/>
                      <a:pt x="446527" y="418061"/>
                      <a:pt x="451825" y="418896"/>
                    </a:cubicBezTo>
                    <a:cubicBezTo>
                      <a:pt x="549749" y="434254"/>
                      <a:pt x="589620" y="479548"/>
                      <a:pt x="612277" y="479548"/>
                    </a:cubicBezTo>
                    <a:cubicBezTo>
                      <a:pt x="615486" y="479548"/>
                      <a:pt x="618354" y="478635"/>
                      <a:pt x="620993" y="476596"/>
                    </a:cubicBezTo>
                    <a:cubicBezTo>
                      <a:pt x="635439" y="465434"/>
                      <a:pt x="621594" y="419476"/>
                      <a:pt x="496260" y="369033"/>
                    </a:cubicBezTo>
                    <a:cubicBezTo>
                      <a:pt x="465939" y="356830"/>
                      <a:pt x="410402" y="342577"/>
                      <a:pt x="355558" y="342577"/>
                    </a:cubicBezTo>
                    <a:cubicBezTo>
                      <a:pt x="291652" y="342577"/>
                      <a:pt x="228678" y="361915"/>
                      <a:pt x="207549" y="426381"/>
                    </a:cubicBezTo>
                    <a:cubicBezTo>
                      <a:pt x="168278" y="546172"/>
                      <a:pt x="309234" y="689608"/>
                      <a:pt x="520986" y="706212"/>
                    </a:cubicBezTo>
                    <a:cubicBezTo>
                      <a:pt x="531711" y="707165"/>
                      <a:pt x="546266" y="707617"/>
                      <a:pt x="556441" y="707617"/>
                    </a:cubicBezTo>
                    <a:cubicBezTo>
                      <a:pt x="664004" y="707617"/>
                      <a:pt x="741350" y="659212"/>
                      <a:pt x="779514" y="627066"/>
                    </a:cubicBezTo>
                    <a:cubicBezTo>
                      <a:pt x="735620" y="700601"/>
                      <a:pt x="643361" y="768254"/>
                      <a:pt x="494365" y="770828"/>
                    </a:cubicBezTo>
                    <a:cubicBezTo>
                      <a:pt x="494365" y="770828"/>
                      <a:pt x="482102" y="771320"/>
                      <a:pt x="464997" y="770962"/>
                    </a:cubicBezTo>
                  </a:path>
                </a:pathLst>
              </a:custGeom>
              <a:solidFill>
                <a:schemeClr val="bg1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9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26" name="ENG_Agenda: 3 x Boxes" hidden="1">
            <a:extLst>
              <a:ext uri="{FF2B5EF4-FFF2-40B4-BE49-F238E27FC236}">
                <a16:creationId xmlns:a16="http://schemas.microsoft.com/office/drawing/2014/main" id="{6BB5A0EF-621A-4337-A2E7-DB8C06F9A4F7}"/>
              </a:ext>
            </a:extLst>
          </p:cNvPr>
          <p:cNvGrpSpPr/>
          <p:nvPr userDrawn="1"/>
        </p:nvGrpSpPr>
        <p:grpSpPr>
          <a:xfrm>
            <a:off x="457599" y="4540960"/>
            <a:ext cx="11273800" cy="1388218"/>
            <a:chOff x="457599" y="4540960"/>
            <a:chExt cx="11273800" cy="1388218"/>
          </a:xfrm>
        </p:grpSpPr>
        <p:grpSp>
          <p:nvGrpSpPr>
            <p:cNvPr id="127" name="3_Was uns auszeichnet">
              <a:extLst>
                <a:ext uri="{FF2B5EF4-FFF2-40B4-BE49-F238E27FC236}">
                  <a16:creationId xmlns:a16="http://schemas.microsoft.com/office/drawing/2014/main" id="{4BDA8F36-8AEB-4EF9-A74B-0A203ADEF3EB}"/>
                </a:ext>
              </a:extLst>
            </p:cNvPr>
            <p:cNvGrpSpPr/>
            <p:nvPr/>
          </p:nvGrpSpPr>
          <p:grpSpPr>
            <a:xfrm>
              <a:off x="8626545" y="4540960"/>
              <a:ext cx="3104854" cy="1388218"/>
              <a:chOff x="6101079" y="4435584"/>
              <a:chExt cx="2472606" cy="1105534"/>
            </a:xfrm>
          </p:grpSpPr>
          <p:sp>
            <p:nvSpPr>
              <p:cNvPr id="149" name="3_Box">
                <a:extLst>
                  <a:ext uri="{FF2B5EF4-FFF2-40B4-BE49-F238E27FC236}">
                    <a16:creationId xmlns:a16="http://schemas.microsoft.com/office/drawing/2014/main" id="{B6D5CB45-2C12-4039-BFF3-3FFFB4776B3B}"/>
                  </a:ext>
                </a:extLst>
              </p:cNvPr>
              <p:cNvSpPr/>
              <p:nvPr/>
            </p:nvSpPr>
            <p:spPr>
              <a:xfrm>
                <a:off x="6112302" y="4460983"/>
                <a:ext cx="2461383" cy="1080135"/>
              </a:xfrm>
              <a:custGeom>
                <a:avLst/>
                <a:gdLst/>
                <a:ahLst/>
                <a:cxnLst/>
                <a:rect l="l" t="t" r="r" b="b"/>
                <a:pathLst>
                  <a:path w="2268220" h="1080135">
                    <a:moveTo>
                      <a:pt x="0" y="1079995"/>
                    </a:moveTo>
                    <a:lnTo>
                      <a:pt x="2268004" y="1079995"/>
                    </a:lnTo>
                    <a:lnTo>
                      <a:pt x="2268004" y="0"/>
                    </a:lnTo>
                    <a:lnTo>
                      <a:pt x="0" y="0"/>
                    </a:lnTo>
                    <a:lnTo>
                      <a:pt x="0" y="1079995"/>
                    </a:lnTo>
                    <a:close/>
                  </a:path>
                </a:pathLst>
              </a:custGeom>
              <a:solidFill>
                <a:schemeClr val="tx1">
                  <a:alpha val="80000"/>
                </a:schemeClr>
              </a:solidFill>
            </p:spPr>
            <p:txBody>
              <a:bodyPr wrap="square" lIns="0" tIns="0" rIns="0" bIns="0" rtlCol="0"/>
              <a:lstStyle/>
              <a:p>
                <a:pPr marL="0" marR="0" lvl="0" indent="0" algn="l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795" b="0" i="0" u="none" strike="noStrike" kern="0" cap="none" spc="0" normalizeH="0" baseline="0" noProof="0">
                  <a:ln>
                    <a:noFill/>
                  </a:ln>
                  <a:solidFill>
                    <a:srgbClr val="1D1D1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0" name="3_Text">
                <a:extLst>
                  <a:ext uri="{FF2B5EF4-FFF2-40B4-BE49-F238E27FC236}">
                    <a16:creationId xmlns:a16="http://schemas.microsoft.com/office/drawing/2014/main" id="{8215DAC6-1BC2-4C0A-9F9C-FF486001F762}"/>
                  </a:ext>
                </a:extLst>
              </p:cNvPr>
              <p:cNvSpPr txBox="1"/>
              <p:nvPr/>
            </p:nvSpPr>
            <p:spPr>
              <a:xfrm>
                <a:off x="6644645" y="4561336"/>
                <a:ext cx="1908862" cy="931394"/>
              </a:xfrm>
              <a:prstGeom prst="rect">
                <a:avLst/>
              </a:prstGeom>
              <a:noFill/>
            </p:spPr>
            <p:txBody>
              <a:bodyPr wrap="square" lIns="0" tIns="0" rIns="108000" bIns="0" rtlCol="0">
                <a:spAutoFit/>
              </a:bodyPr>
              <a:lstStyle/>
              <a:p>
                <a:pPr marL="0" marR="0" lvl="0" indent="0" algn="r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2195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Black" panose="020B0A04020102020204" pitchFamily="34" charset="0"/>
                    <a:ea typeface="+mn-ea"/>
                    <a:cs typeface="+mn-cs"/>
                  </a:rPr>
                  <a:t>WHERE</a:t>
                </a:r>
                <a:br>
                  <a:rPr kumimoji="0" lang="de-DE" sz="2195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Black" panose="020B0A04020102020204" pitchFamily="34" charset="0"/>
                    <a:ea typeface="+mn-ea"/>
                    <a:cs typeface="+mn-cs"/>
                  </a:rPr>
                </a:br>
                <a:r>
                  <a:rPr kumimoji="0" lang="de-DE" sz="2195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Black" panose="020B0A04020102020204" pitchFamily="34" charset="0"/>
                    <a:ea typeface="+mn-ea"/>
                    <a:cs typeface="+mn-cs"/>
                  </a:rPr>
                  <a:t>WE SHOW</a:t>
                </a:r>
                <a:br>
                  <a:rPr kumimoji="0" lang="de-DE" sz="2195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Black" panose="020B0A04020102020204" pitchFamily="34" charset="0"/>
                    <a:ea typeface="+mn-ea"/>
                    <a:cs typeface="+mn-cs"/>
                  </a:rPr>
                </a:br>
                <a:endParaRPr kumimoji="0" lang="de-DE" sz="2195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endParaRPr>
              </a:p>
              <a:p>
                <a:pPr marL="0" marR="0" lvl="0" indent="0" algn="r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a-DK" sz="998" kern="0">
                    <a:solidFill>
                      <a:srgbClr val="1D1D1D">
                        <a:lumMod val="10000"/>
                        <a:lumOff val="90000"/>
                      </a:srgbClr>
                    </a:solidFill>
                    <a:latin typeface="Arial"/>
                  </a:rPr>
                  <a:t>References</a:t>
                </a:r>
                <a:endParaRPr kumimoji="0" lang="de-DE" sz="1995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51" name="3_Line">
                <a:extLst>
                  <a:ext uri="{FF2B5EF4-FFF2-40B4-BE49-F238E27FC236}">
                    <a16:creationId xmlns:a16="http://schemas.microsoft.com/office/drawing/2014/main" id="{478B05B1-2A20-472A-B5E5-6CD95F79BCFA}"/>
                  </a:ext>
                </a:extLst>
              </p:cNvPr>
              <p:cNvSpPr/>
              <p:nvPr/>
            </p:nvSpPr>
            <p:spPr>
              <a:xfrm>
                <a:off x="6112302" y="4435584"/>
                <a:ext cx="2461379" cy="25400"/>
              </a:xfrm>
              <a:custGeom>
                <a:avLst/>
                <a:gdLst/>
                <a:ahLst/>
                <a:cxnLst/>
                <a:rect l="l" t="t" r="r" b="b"/>
                <a:pathLst>
                  <a:path w="2268220" h="25400">
                    <a:moveTo>
                      <a:pt x="0" y="25400"/>
                    </a:moveTo>
                    <a:lnTo>
                      <a:pt x="2268004" y="25400"/>
                    </a:lnTo>
                    <a:lnTo>
                      <a:pt x="2268004" y="0"/>
                    </a:lnTo>
                    <a:lnTo>
                      <a:pt x="0" y="0"/>
                    </a:lnTo>
                    <a:lnTo>
                      <a:pt x="0" y="25400"/>
                    </a:lnTo>
                    <a:close/>
                  </a:path>
                </a:pathLst>
              </a:custGeom>
              <a:solidFill>
                <a:srgbClr val="E4610F"/>
              </a:solidFill>
              <a:ln>
                <a:noFill/>
              </a:ln>
            </p:spPr>
            <p:txBody>
              <a:bodyPr wrap="square" lIns="0" tIns="0" rIns="0" bIns="0" rtlCol="0"/>
              <a:lstStyle/>
              <a:p>
                <a:pPr marL="0" marR="0" lvl="0" indent="0" algn="l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795" b="0" i="0" u="none" strike="noStrike" kern="0" cap="none" spc="0" normalizeH="0" baseline="0" noProof="0">
                  <a:ln>
                    <a:noFill/>
                  </a:ln>
                  <a:solidFill>
                    <a:srgbClr val="1D1D1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152" name="Arrows" hidden="1">
                <a:extLst>
                  <a:ext uri="{FF2B5EF4-FFF2-40B4-BE49-F238E27FC236}">
                    <a16:creationId xmlns:a16="http://schemas.microsoft.com/office/drawing/2014/main" id="{6999DD95-5C59-4E05-A30E-2EB14CE74506}"/>
                  </a:ext>
                </a:extLst>
              </p:cNvPr>
              <p:cNvGrpSpPr/>
              <p:nvPr/>
            </p:nvGrpSpPr>
            <p:grpSpPr>
              <a:xfrm>
                <a:off x="8243959" y="5223012"/>
                <a:ext cx="169153" cy="181385"/>
                <a:chOff x="7032319" y="186110"/>
                <a:chExt cx="169153" cy="181385"/>
              </a:xfrm>
            </p:grpSpPr>
            <p:sp>
              <p:nvSpPr>
                <p:cNvPr id="154" name="Freeform">
                  <a:extLst>
                    <a:ext uri="{FF2B5EF4-FFF2-40B4-BE49-F238E27FC236}">
                      <a16:creationId xmlns:a16="http://schemas.microsoft.com/office/drawing/2014/main" id="{DD7EAB70-5FFF-4F31-ADF8-A0F01ADE46EE}"/>
                    </a:ext>
                  </a:extLst>
                </p:cNvPr>
                <p:cNvSpPr/>
                <p:nvPr userDrawn="1"/>
              </p:nvSpPr>
              <p:spPr>
                <a:xfrm>
                  <a:off x="7116311" y="186110"/>
                  <a:ext cx="85161" cy="1813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8764" h="560704">
                      <a:moveTo>
                        <a:pt x="0" y="560234"/>
                      </a:moveTo>
                      <a:lnTo>
                        <a:pt x="278453" y="280112"/>
                      </a:lnTo>
                      <a:lnTo>
                        <a:pt x="0" y="0"/>
                      </a:lnTo>
                    </a:path>
                  </a:pathLst>
                </a:custGeom>
                <a:ln w="19456">
                  <a:solidFill>
                    <a:srgbClr val="FFFFFF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9121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816" b="0" i="0" u="none" strike="noStrike" kern="0" cap="none" spc="0" normalizeH="0" baseline="0" noProof="0">
                    <a:ln>
                      <a:noFill/>
                    </a:ln>
                    <a:solidFill>
                      <a:srgbClr val="1D1D1D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5" name="Freeform">
                  <a:extLst>
                    <a:ext uri="{FF2B5EF4-FFF2-40B4-BE49-F238E27FC236}">
                      <a16:creationId xmlns:a16="http://schemas.microsoft.com/office/drawing/2014/main" id="{C6080698-3E60-495C-9E4A-B916DA9CF217}"/>
                    </a:ext>
                  </a:extLst>
                </p:cNvPr>
                <p:cNvSpPr/>
                <p:nvPr userDrawn="1"/>
              </p:nvSpPr>
              <p:spPr>
                <a:xfrm>
                  <a:off x="7074315" y="186110"/>
                  <a:ext cx="85161" cy="1813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8764" h="560704">
                      <a:moveTo>
                        <a:pt x="0" y="560234"/>
                      </a:moveTo>
                      <a:lnTo>
                        <a:pt x="278453" y="280112"/>
                      </a:lnTo>
                      <a:lnTo>
                        <a:pt x="0" y="0"/>
                      </a:lnTo>
                    </a:path>
                  </a:pathLst>
                </a:custGeom>
                <a:ln w="19456">
                  <a:solidFill>
                    <a:srgbClr val="FFFFFF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9121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816" b="0" i="0" u="none" strike="noStrike" kern="0" cap="none" spc="0" normalizeH="0" baseline="0" noProof="0">
                    <a:ln>
                      <a:noFill/>
                    </a:ln>
                    <a:solidFill>
                      <a:srgbClr val="1D1D1D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6" name="Freeform">
                  <a:extLst>
                    <a:ext uri="{FF2B5EF4-FFF2-40B4-BE49-F238E27FC236}">
                      <a16:creationId xmlns:a16="http://schemas.microsoft.com/office/drawing/2014/main" id="{E8A48F2F-1827-4A08-9241-D262B25E2B57}"/>
                    </a:ext>
                  </a:extLst>
                </p:cNvPr>
                <p:cNvSpPr/>
                <p:nvPr userDrawn="1"/>
              </p:nvSpPr>
              <p:spPr>
                <a:xfrm>
                  <a:off x="7032319" y="186110"/>
                  <a:ext cx="85160" cy="1813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8764" h="560704">
                      <a:moveTo>
                        <a:pt x="0" y="560234"/>
                      </a:moveTo>
                      <a:lnTo>
                        <a:pt x="278453" y="280112"/>
                      </a:lnTo>
                      <a:lnTo>
                        <a:pt x="0" y="0"/>
                      </a:lnTo>
                    </a:path>
                  </a:pathLst>
                </a:custGeom>
                <a:ln w="19456">
                  <a:solidFill>
                    <a:srgbClr val="FFFFFF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9121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816" b="0" i="0" u="none" strike="noStrike" kern="0" cap="none" spc="0" normalizeH="0" baseline="0" noProof="0">
                    <a:ln>
                      <a:noFill/>
                    </a:ln>
                    <a:solidFill>
                      <a:srgbClr val="1D1D1D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153" name="Icon: Reference" descr="Schleife">
                <a:extLst>
                  <a:ext uri="{FF2B5EF4-FFF2-40B4-BE49-F238E27FC236}">
                    <a16:creationId xmlns:a16="http://schemas.microsoft.com/office/drawing/2014/main" id="{0B0E2595-0D73-4FDE-9A28-35CAB4C3D4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6101079" y="4573306"/>
                <a:ext cx="668717" cy="668717"/>
              </a:xfrm>
              <a:prstGeom prst="rect">
                <a:avLst/>
              </a:prstGeom>
            </p:spPr>
          </p:pic>
        </p:grpSp>
        <p:grpSp>
          <p:nvGrpSpPr>
            <p:cNvPr id="128" name="2_Was wir machen">
              <a:extLst>
                <a:ext uri="{FF2B5EF4-FFF2-40B4-BE49-F238E27FC236}">
                  <a16:creationId xmlns:a16="http://schemas.microsoft.com/office/drawing/2014/main" id="{6B869F8E-2092-455B-BDA6-800B1CECD1D3}"/>
                </a:ext>
              </a:extLst>
            </p:cNvPr>
            <p:cNvGrpSpPr/>
            <p:nvPr/>
          </p:nvGrpSpPr>
          <p:grpSpPr>
            <a:xfrm>
              <a:off x="4542070" y="4540960"/>
              <a:ext cx="3090761" cy="1364297"/>
              <a:chOff x="3329881" y="4435584"/>
              <a:chExt cx="2461383" cy="1086484"/>
            </a:xfrm>
          </p:grpSpPr>
          <p:sp>
            <p:nvSpPr>
              <p:cNvPr id="138" name="2_Box">
                <a:extLst>
                  <a:ext uri="{FF2B5EF4-FFF2-40B4-BE49-F238E27FC236}">
                    <a16:creationId xmlns:a16="http://schemas.microsoft.com/office/drawing/2014/main" id="{6825A9FF-A2E3-4728-B02B-D85C19BF1E91}"/>
                  </a:ext>
                </a:extLst>
              </p:cNvPr>
              <p:cNvSpPr/>
              <p:nvPr/>
            </p:nvSpPr>
            <p:spPr>
              <a:xfrm>
                <a:off x="3329881" y="4441933"/>
                <a:ext cx="2461383" cy="1080135"/>
              </a:xfrm>
              <a:custGeom>
                <a:avLst/>
                <a:gdLst/>
                <a:ahLst/>
                <a:cxnLst/>
                <a:rect l="l" t="t" r="r" b="b"/>
                <a:pathLst>
                  <a:path w="2268220" h="1080135">
                    <a:moveTo>
                      <a:pt x="0" y="1079995"/>
                    </a:moveTo>
                    <a:lnTo>
                      <a:pt x="2268004" y="1079995"/>
                    </a:lnTo>
                    <a:lnTo>
                      <a:pt x="2268004" y="0"/>
                    </a:lnTo>
                    <a:lnTo>
                      <a:pt x="0" y="0"/>
                    </a:lnTo>
                    <a:lnTo>
                      <a:pt x="0" y="1079995"/>
                    </a:lnTo>
                    <a:close/>
                  </a:path>
                </a:pathLst>
              </a:custGeom>
              <a:solidFill>
                <a:schemeClr val="tx1">
                  <a:alpha val="80000"/>
                </a:schemeClr>
              </a:solidFill>
            </p:spPr>
            <p:txBody>
              <a:bodyPr wrap="square" lIns="0" tIns="0" rIns="0" bIns="0" rtlCol="0"/>
              <a:lstStyle/>
              <a:p>
                <a:pPr marL="0" marR="0" lvl="0" indent="0" algn="l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795" b="0" i="0" u="none" strike="noStrike" kern="0" cap="none" spc="0" normalizeH="0" baseline="0" noProof="0">
                  <a:ln>
                    <a:noFill/>
                  </a:ln>
                  <a:solidFill>
                    <a:srgbClr val="1D1D1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9" name="2_Text">
                <a:extLst>
                  <a:ext uri="{FF2B5EF4-FFF2-40B4-BE49-F238E27FC236}">
                    <a16:creationId xmlns:a16="http://schemas.microsoft.com/office/drawing/2014/main" id="{C9847829-6502-41A0-90E9-71DBFF89287C}"/>
                  </a:ext>
                </a:extLst>
              </p:cNvPr>
              <p:cNvSpPr txBox="1"/>
              <p:nvPr/>
            </p:nvSpPr>
            <p:spPr>
              <a:xfrm>
                <a:off x="4152454" y="4561336"/>
                <a:ext cx="1638802" cy="906884"/>
              </a:xfrm>
              <a:prstGeom prst="rect">
                <a:avLst/>
              </a:prstGeom>
              <a:noFill/>
            </p:spPr>
            <p:txBody>
              <a:bodyPr wrap="square" lIns="0" tIns="0" rIns="108000" bIns="0" rtlCol="0">
                <a:spAutoFit/>
              </a:bodyPr>
              <a:lstStyle/>
              <a:p>
                <a:pPr marL="0" marR="0" lvl="0" indent="0" algn="r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2195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Black" panose="020B0A04020102020204" pitchFamily="34" charset="0"/>
                    <a:ea typeface="+mn-ea"/>
                    <a:cs typeface="+mn-cs"/>
                  </a:rPr>
                  <a:t>WHAT </a:t>
                </a:r>
                <a:br>
                  <a:rPr kumimoji="0" lang="de-DE" sz="2195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Black" panose="020B0A04020102020204" pitchFamily="34" charset="0"/>
                    <a:ea typeface="+mn-ea"/>
                    <a:cs typeface="+mn-cs"/>
                  </a:rPr>
                </a:br>
                <a:r>
                  <a:rPr kumimoji="0" lang="de-DE" sz="2195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Black" panose="020B0A04020102020204" pitchFamily="34" charset="0"/>
                    <a:ea typeface="+mn-ea"/>
                    <a:cs typeface="+mn-cs"/>
                  </a:rPr>
                  <a:t>WE DO</a:t>
                </a:r>
                <a:br>
                  <a:rPr kumimoji="0" lang="de-DE" sz="2195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Black" panose="020B0A04020102020204" pitchFamily="34" charset="0"/>
                    <a:ea typeface="+mn-ea"/>
                    <a:cs typeface="+mn-cs"/>
                  </a:rPr>
                </a:br>
                <a:br>
                  <a:rPr kumimoji="0" lang="de-DE" sz="1995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Black" panose="020B0A04020102020204" pitchFamily="34" charset="0"/>
                    <a:ea typeface="+mn-ea"/>
                    <a:cs typeface="+mn-cs"/>
                  </a:rPr>
                </a:br>
                <a:r>
                  <a:rPr kumimoji="0" lang="da-DK" sz="998" b="0" i="0" u="none" strike="noStrike" kern="0" cap="none" spc="0" normalizeH="0" baseline="0" noProof="0">
                    <a:ln>
                      <a:noFill/>
                    </a:ln>
                    <a:solidFill>
                      <a:srgbClr val="1D1D1D">
                        <a:lumMod val="10000"/>
                        <a:lumOff val="9000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ervices</a:t>
                </a:r>
                <a:endParaRPr kumimoji="0" lang="de-DE" sz="1995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40" name="2_Line">
                <a:extLst>
                  <a:ext uri="{FF2B5EF4-FFF2-40B4-BE49-F238E27FC236}">
                    <a16:creationId xmlns:a16="http://schemas.microsoft.com/office/drawing/2014/main" id="{C35FECD2-95DC-49F7-95B0-BAE8B3F78FFD}"/>
                  </a:ext>
                </a:extLst>
              </p:cNvPr>
              <p:cNvSpPr/>
              <p:nvPr/>
            </p:nvSpPr>
            <p:spPr>
              <a:xfrm>
                <a:off x="3329881" y="4435584"/>
                <a:ext cx="2461379" cy="25400"/>
              </a:xfrm>
              <a:custGeom>
                <a:avLst/>
                <a:gdLst/>
                <a:ahLst/>
                <a:cxnLst/>
                <a:rect l="l" t="t" r="r" b="b"/>
                <a:pathLst>
                  <a:path w="2268220" h="25400">
                    <a:moveTo>
                      <a:pt x="0" y="25400"/>
                    </a:moveTo>
                    <a:lnTo>
                      <a:pt x="2268004" y="25400"/>
                    </a:lnTo>
                    <a:lnTo>
                      <a:pt x="2268004" y="0"/>
                    </a:lnTo>
                    <a:lnTo>
                      <a:pt x="0" y="0"/>
                    </a:lnTo>
                    <a:lnTo>
                      <a:pt x="0" y="25400"/>
                    </a:lnTo>
                    <a:close/>
                  </a:path>
                </a:pathLst>
              </a:custGeom>
              <a:solidFill>
                <a:srgbClr val="E4610F"/>
              </a:solidFill>
              <a:ln>
                <a:noFill/>
              </a:ln>
            </p:spPr>
            <p:txBody>
              <a:bodyPr wrap="square" lIns="0" tIns="0" rIns="0" bIns="0" rtlCol="0"/>
              <a:lstStyle/>
              <a:p>
                <a:pPr marL="0" marR="0" lvl="0" indent="0" algn="l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795" b="0" i="0" u="none" strike="noStrike" kern="0" cap="none" spc="0" normalizeH="0" baseline="0" noProof="0">
                  <a:ln>
                    <a:noFill/>
                  </a:ln>
                  <a:solidFill>
                    <a:srgbClr val="1D1D1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141" name="Arrows" hidden="1">
                <a:extLst>
                  <a:ext uri="{FF2B5EF4-FFF2-40B4-BE49-F238E27FC236}">
                    <a16:creationId xmlns:a16="http://schemas.microsoft.com/office/drawing/2014/main" id="{64CC821D-0C51-420F-9055-16826E53B348}"/>
                  </a:ext>
                </a:extLst>
              </p:cNvPr>
              <p:cNvGrpSpPr/>
              <p:nvPr/>
            </p:nvGrpSpPr>
            <p:grpSpPr>
              <a:xfrm>
                <a:off x="5486726" y="5223012"/>
                <a:ext cx="169153" cy="181385"/>
                <a:chOff x="7032319" y="186110"/>
                <a:chExt cx="169153" cy="181385"/>
              </a:xfrm>
            </p:grpSpPr>
            <p:sp>
              <p:nvSpPr>
                <p:cNvPr id="146" name="Freeform">
                  <a:extLst>
                    <a:ext uri="{FF2B5EF4-FFF2-40B4-BE49-F238E27FC236}">
                      <a16:creationId xmlns:a16="http://schemas.microsoft.com/office/drawing/2014/main" id="{8B51699A-51CD-4C62-87B6-D538979F311A}"/>
                    </a:ext>
                  </a:extLst>
                </p:cNvPr>
                <p:cNvSpPr/>
                <p:nvPr userDrawn="1"/>
              </p:nvSpPr>
              <p:spPr>
                <a:xfrm>
                  <a:off x="7116311" y="186110"/>
                  <a:ext cx="85161" cy="1813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8764" h="560704">
                      <a:moveTo>
                        <a:pt x="0" y="560234"/>
                      </a:moveTo>
                      <a:lnTo>
                        <a:pt x="278453" y="280112"/>
                      </a:lnTo>
                      <a:lnTo>
                        <a:pt x="0" y="0"/>
                      </a:lnTo>
                    </a:path>
                  </a:pathLst>
                </a:custGeom>
                <a:ln w="19456">
                  <a:solidFill>
                    <a:srgbClr val="FFFFFF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9121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816" b="0" i="0" u="none" strike="noStrike" kern="0" cap="none" spc="0" normalizeH="0" baseline="0" noProof="0">
                    <a:ln>
                      <a:noFill/>
                    </a:ln>
                    <a:solidFill>
                      <a:srgbClr val="1D1D1D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7" name="Freeform">
                  <a:extLst>
                    <a:ext uri="{FF2B5EF4-FFF2-40B4-BE49-F238E27FC236}">
                      <a16:creationId xmlns:a16="http://schemas.microsoft.com/office/drawing/2014/main" id="{E7AE8C47-E818-4E8A-A895-53B648C3F8B7}"/>
                    </a:ext>
                  </a:extLst>
                </p:cNvPr>
                <p:cNvSpPr/>
                <p:nvPr userDrawn="1"/>
              </p:nvSpPr>
              <p:spPr>
                <a:xfrm>
                  <a:off x="7074315" y="186110"/>
                  <a:ext cx="85161" cy="1813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8764" h="560704">
                      <a:moveTo>
                        <a:pt x="0" y="560234"/>
                      </a:moveTo>
                      <a:lnTo>
                        <a:pt x="278453" y="280112"/>
                      </a:lnTo>
                      <a:lnTo>
                        <a:pt x="0" y="0"/>
                      </a:lnTo>
                    </a:path>
                  </a:pathLst>
                </a:custGeom>
                <a:ln w="19456">
                  <a:solidFill>
                    <a:srgbClr val="FFFFFF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9121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816" b="0" i="0" u="none" strike="noStrike" kern="0" cap="none" spc="0" normalizeH="0" baseline="0" noProof="0">
                    <a:ln>
                      <a:noFill/>
                    </a:ln>
                    <a:solidFill>
                      <a:srgbClr val="1D1D1D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8" name="Freeform">
                  <a:extLst>
                    <a:ext uri="{FF2B5EF4-FFF2-40B4-BE49-F238E27FC236}">
                      <a16:creationId xmlns:a16="http://schemas.microsoft.com/office/drawing/2014/main" id="{EB3DEBEB-CBC4-4A1A-BE34-3EF354531FC9}"/>
                    </a:ext>
                  </a:extLst>
                </p:cNvPr>
                <p:cNvSpPr/>
                <p:nvPr userDrawn="1"/>
              </p:nvSpPr>
              <p:spPr>
                <a:xfrm>
                  <a:off x="7032319" y="186110"/>
                  <a:ext cx="85160" cy="1813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8764" h="560704">
                      <a:moveTo>
                        <a:pt x="0" y="560234"/>
                      </a:moveTo>
                      <a:lnTo>
                        <a:pt x="278453" y="280112"/>
                      </a:lnTo>
                      <a:lnTo>
                        <a:pt x="0" y="0"/>
                      </a:lnTo>
                    </a:path>
                  </a:pathLst>
                </a:custGeom>
                <a:ln w="19456">
                  <a:solidFill>
                    <a:srgbClr val="FFFFFF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9121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816" b="0" i="0" u="none" strike="noStrike" kern="0" cap="none" spc="0" normalizeH="0" baseline="0" noProof="0">
                    <a:ln>
                      <a:noFill/>
                    </a:ln>
                    <a:solidFill>
                      <a:srgbClr val="1D1D1D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2" name="Icon: Process">
                <a:extLst>
                  <a:ext uri="{FF2B5EF4-FFF2-40B4-BE49-F238E27FC236}">
                    <a16:creationId xmlns:a16="http://schemas.microsoft.com/office/drawing/2014/main" id="{A8BCDCD5-239E-4145-9B0F-943386D56018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446969" y="4635632"/>
                <a:ext cx="621230" cy="534254"/>
                <a:chOff x="5096253" y="-926405"/>
                <a:chExt cx="388814" cy="334378"/>
              </a:xfrm>
              <a:solidFill>
                <a:srgbClr val="1D1D1D">
                  <a:lumMod val="10000"/>
                  <a:lumOff val="90000"/>
                </a:srgbClr>
              </a:solidFill>
            </p:grpSpPr>
            <p:sp>
              <p:nvSpPr>
                <p:cNvPr id="143" name="Freeform">
                  <a:extLst>
                    <a:ext uri="{FF2B5EF4-FFF2-40B4-BE49-F238E27FC236}">
                      <a16:creationId xmlns:a16="http://schemas.microsoft.com/office/drawing/2014/main" id="{94CD1B6D-68D6-4294-8C77-F8C1C40F39D1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5096253" y="-871232"/>
                  <a:ext cx="213327" cy="210257"/>
                </a:xfrm>
                <a:custGeom>
                  <a:avLst/>
                  <a:gdLst>
                    <a:gd name="T0" fmla="*/ 6 w 132"/>
                    <a:gd name="T1" fmla="*/ 36 h 130"/>
                    <a:gd name="T2" fmla="*/ 3 w 132"/>
                    <a:gd name="T3" fmla="*/ 45 h 130"/>
                    <a:gd name="T4" fmla="*/ 1 w 132"/>
                    <a:gd name="T5" fmla="*/ 54 h 130"/>
                    <a:gd name="T6" fmla="*/ 1 w 132"/>
                    <a:gd name="T7" fmla="*/ 58 h 130"/>
                    <a:gd name="T8" fmla="*/ 14 w 132"/>
                    <a:gd name="T9" fmla="*/ 63 h 130"/>
                    <a:gd name="T10" fmla="*/ 7 w 132"/>
                    <a:gd name="T11" fmla="*/ 88 h 130"/>
                    <a:gd name="T12" fmla="*/ 6 w 132"/>
                    <a:gd name="T13" fmla="*/ 93 h 130"/>
                    <a:gd name="T14" fmla="*/ 9 w 132"/>
                    <a:gd name="T15" fmla="*/ 98 h 130"/>
                    <a:gd name="T16" fmla="*/ 16 w 132"/>
                    <a:gd name="T17" fmla="*/ 107 h 130"/>
                    <a:gd name="T18" fmla="*/ 20 w 132"/>
                    <a:gd name="T19" fmla="*/ 111 h 130"/>
                    <a:gd name="T20" fmla="*/ 33 w 132"/>
                    <a:gd name="T21" fmla="*/ 104 h 130"/>
                    <a:gd name="T22" fmla="*/ 48 w 132"/>
                    <a:gd name="T23" fmla="*/ 125 h 130"/>
                    <a:gd name="T24" fmla="*/ 51 w 132"/>
                    <a:gd name="T25" fmla="*/ 128 h 130"/>
                    <a:gd name="T26" fmla="*/ 56 w 132"/>
                    <a:gd name="T27" fmla="*/ 129 h 130"/>
                    <a:gd name="T28" fmla="*/ 61 w 132"/>
                    <a:gd name="T29" fmla="*/ 130 h 130"/>
                    <a:gd name="T30" fmla="*/ 70 w 132"/>
                    <a:gd name="T31" fmla="*/ 130 h 130"/>
                    <a:gd name="T32" fmla="*/ 75 w 132"/>
                    <a:gd name="T33" fmla="*/ 123 h 130"/>
                    <a:gd name="T34" fmla="*/ 93 w 132"/>
                    <a:gd name="T35" fmla="*/ 108 h 130"/>
                    <a:gd name="T36" fmla="*/ 102 w 132"/>
                    <a:gd name="T37" fmla="*/ 116 h 130"/>
                    <a:gd name="T38" fmla="*/ 109 w 132"/>
                    <a:gd name="T39" fmla="*/ 114 h 130"/>
                    <a:gd name="T40" fmla="*/ 117 w 132"/>
                    <a:gd name="T41" fmla="*/ 106 h 130"/>
                    <a:gd name="T42" fmla="*/ 121 w 132"/>
                    <a:gd name="T43" fmla="*/ 98 h 130"/>
                    <a:gd name="T44" fmla="*/ 115 w 132"/>
                    <a:gd name="T45" fmla="*/ 90 h 130"/>
                    <a:gd name="T46" fmla="*/ 121 w 132"/>
                    <a:gd name="T47" fmla="*/ 70 h 130"/>
                    <a:gd name="T48" fmla="*/ 132 w 132"/>
                    <a:gd name="T49" fmla="*/ 64 h 130"/>
                    <a:gd name="T50" fmla="*/ 131 w 132"/>
                    <a:gd name="T51" fmla="*/ 58 h 130"/>
                    <a:gd name="T52" fmla="*/ 130 w 132"/>
                    <a:gd name="T53" fmla="*/ 51 h 130"/>
                    <a:gd name="T54" fmla="*/ 129 w 132"/>
                    <a:gd name="T55" fmla="*/ 45 h 130"/>
                    <a:gd name="T56" fmla="*/ 127 w 132"/>
                    <a:gd name="T57" fmla="*/ 42 h 130"/>
                    <a:gd name="T58" fmla="*/ 113 w 132"/>
                    <a:gd name="T59" fmla="*/ 43 h 130"/>
                    <a:gd name="T60" fmla="*/ 108 w 132"/>
                    <a:gd name="T61" fmla="*/ 17 h 130"/>
                    <a:gd name="T62" fmla="*/ 106 w 132"/>
                    <a:gd name="T63" fmla="*/ 12 h 130"/>
                    <a:gd name="T64" fmla="*/ 97 w 132"/>
                    <a:gd name="T65" fmla="*/ 6 h 130"/>
                    <a:gd name="T66" fmla="*/ 90 w 132"/>
                    <a:gd name="T67" fmla="*/ 3 h 130"/>
                    <a:gd name="T68" fmla="*/ 87 w 132"/>
                    <a:gd name="T69" fmla="*/ 2 h 130"/>
                    <a:gd name="T70" fmla="*/ 78 w 132"/>
                    <a:gd name="T71" fmla="*/ 14 h 130"/>
                    <a:gd name="T72" fmla="*/ 56 w 132"/>
                    <a:gd name="T73" fmla="*/ 2 h 130"/>
                    <a:gd name="T74" fmla="*/ 51 w 132"/>
                    <a:gd name="T75" fmla="*/ 0 h 130"/>
                    <a:gd name="T76" fmla="*/ 45 w 132"/>
                    <a:gd name="T77" fmla="*/ 2 h 130"/>
                    <a:gd name="T78" fmla="*/ 35 w 132"/>
                    <a:gd name="T79" fmla="*/ 6 h 130"/>
                    <a:gd name="T80" fmla="*/ 30 w 132"/>
                    <a:gd name="T81" fmla="*/ 9 h 130"/>
                    <a:gd name="T82" fmla="*/ 34 w 132"/>
                    <a:gd name="T83" fmla="*/ 23 h 130"/>
                    <a:gd name="T84" fmla="*/ 14 w 132"/>
                    <a:gd name="T85" fmla="*/ 34 h 130"/>
                    <a:gd name="T86" fmla="*/ 40 w 132"/>
                    <a:gd name="T87" fmla="*/ 41 h 130"/>
                    <a:gd name="T88" fmla="*/ 42 w 132"/>
                    <a:gd name="T89" fmla="*/ 91 h 1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32" h="130">
                      <a:moveTo>
                        <a:pt x="8" y="33"/>
                      </a:moveTo>
                      <a:cubicBezTo>
                        <a:pt x="8" y="34"/>
                        <a:pt x="7" y="35"/>
                        <a:pt x="6" y="36"/>
                      </a:cubicBezTo>
                      <a:cubicBezTo>
                        <a:pt x="6" y="36"/>
                        <a:pt x="6" y="36"/>
                        <a:pt x="6" y="36"/>
                      </a:cubicBezTo>
                      <a:cubicBezTo>
                        <a:pt x="6" y="37"/>
                        <a:pt x="5" y="38"/>
                        <a:pt x="5" y="38"/>
                      </a:cubicBezTo>
                      <a:cubicBezTo>
                        <a:pt x="5" y="39"/>
                        <a:pt x="4" y="40"/>
                        <a:pt x="4" y="41"/>
                      </a:cubicBezTo>
                      <a:cubicBezTo>
                        <a:pt x="4" y="42"/>
                        <a:pt x="3" y="44"/>
                        <a:pt x="3" y="45"/>
                      </a:cubicBezTo>
                      <a:cubicBezTo>
                        <a:pt x="2" y="46"/>
                        <a:pt x="2" y="47"/>
                        <a:pt x="2" y="48"/>
                      </a:cubicBezTo>
                      <a:cubicBezTo>
                        <a:pt x="1" y="50"/>
                        <a:pt x="1" y="51"/>
                        <a:pt x="1" y="52"/>
                      </a:cubicBezTo>
                      <a:cubicBezTo>
                        <a:pt x="1" y="53"/>
                        <a:pt x="1" y="53"/>
                        <a:pt x="1" y="54"/>
                      </a:cubicBezTo>
                      <a:cubicBezTo>
                        <a:pt x="1" y="54"/>
                        <a:pt x="1" y="54"/>
                        <a:pt x="1" y="54"/>
                      </a:cubicBezTo>
                      <a:cubicBezTo>
                        <a:pt x="1" y="55"/>
                        <a:pt x="1" y="55"/>
                        <a:pt x="1" y="55"/>
                      </a:cubicBezTo>
                      <a:cubicBezTo>
                        <a:pt x="0" y="56"/>
                        <a:pt x="1" y="57"/>
                        <a:pt x="1" y="58"/>
                      </a:cubicBezTo>
                      <a:cubicBezTo>
                        <a:pt x="1" y="58"/>
                        <a:pt x="2" y="59"/>
                        <a:pt x="3" y="59"/>
                      </a:cubicBezTo>
                      <a:cubicBezTo>
                        <a:pt x="3" y="59"/>
                        <a:pt x="4" y="60"/>
                        <a:pt x="6" y="60"/>
                      </a:cubicBezTo>
                      <a:cubicBezTo>
                        <a:pt x="8" y="61"/>
                        <a:pt x="11" y="62"/>
                        <a:pt x="14" y="63"/>
                      </a:cubicBezTo>
                      <a:cubicBezTo>
                        <a:pt x="14" y="69"/>
                        <a:pt x="15" y="75"/>
                        <a:pt x="17" y="81"/>
                      </a:cubicBezTo>
                      <a:cubicBezTo>
                        <a:pt x="14" y="82"/>
                        <a:pt x="12" y="84"/>
                        <a:pt x="10" y="85"/>
                      </a:cubicBezTo>
                      <a:cubicBezTo>
                        <a:pt x="8" y="87"/>
                        <a:pt x="7" y="88"/>
                        <a:pt x="7" y="88"/>
                      </a:cubicBezTo>
                      <a:cubicBezTo>
                        <a:pt x="6" y="88"/>
                        <a:pt x="6" y="89"/>
                        <a:pt x="6" y="90"/>
                      </a:cubicBezTo>
                      <a:cubicBezTo>
                        <a:pt x="6" y="90"/>
                        <a:pt x="6" y="91"/>
                        <a:pt x="6" y="91"/>
                      </a:cubicBezTo>
                      <a:cubicBezTo>
                        <a:pt x="6" y="92"/>
                        <a:pt x="6" y="92"/>
                        <a:pt x="6" y="93"/>
                      </a:cubicBezTo>
                      <a:cubicBezTo>
                        <a:pt x="6" y="93"/>
                        <a:pt x="7" y="93"/>
                        <a:pt x="7" y="93"/>
                      </a:cubicBezTo>
                      <a:cubicBezTo>
                        <a:pt x="7" y="94"/>
                        <a:pt x="7" y="95"/>
                        <a:pt x="8" y="95"/>
                      </a:cubicBezTo>
                      <a:cubicBezTo>
                        <a:pt x="8" y="96"/>
                        <a:pt x="9" y="97"/>
                        <a:pt x="9" y="98"/>
                      </a:cubicBezTo>
                      <a:cubicBezTo>
                        <a:pt x="10" y="99"/>
                        <a:pt x="10" y="99"/>
                        <a:pt x="10" y="100"/>
                      </a:cubicBezTo>
                      <a:cubicBezTo>
                        <a:pt x="11" y="100"/>
                        <a:pt x="11" y="101"/>
                        <a:pt x="11" y="101"/>
                      </a:cubicBezTo>
                      <a:cubicBezTo>
                        <a:pt x="13" y="103"/>
                        <a:pt x="14" y="105"/>
                        <a:pt x="16" y="107"/>
                      </a:cubicBezTo>
                      <a:cubicBezTo>
                        <a:pt x="16" y="108"/>
                        <a:pt x="17" y="108"/>
                        <a:pt x="17" y="109"/>
                      </a:cubicBezTo>
                      <a:cubicBezTo>
                        <a:pt x="18" y="109"/>
                        <a:pt x="18" y="109"/>
                        <a:pt x="18" y="109"/>
                      </a:cubicBezTo>
                      <a:cubicBezTo>
                        <a:pt x="18" y="110"/>
                        <a:pt x="19" y="111"/>
                        <a:pt x="20" y="111"/>
                      </a:cubicBezTo>
                      <a:cubicBezTo>
                        <a:pt x="21" y="111"/>
                        <a:pt x="22" y="111"/>
                        <a:pt x="22" y="110"/>
                      </a:cubicBezTo>
                      <a:cubicBezTo>
                        <a:pt x="22" y="110"/>
                        <a:pt x="24" y="110"/>
                        <a:pt x="26" y="108"/>
                      </a:cubicBezTo>
                      <a:cubicBezTo>
                        <a:pt x="28" y="107"/>
                        <a:pt x="30" y="106"/>
                        <a:pt x="33" y="104"/>
                      </a:cubicBezTo>
                      <a:cubicBezTo>
                        <a:pt x="37" y="108"/>
                        <a:pt x="43" y="111"/>
                        <a:pt x="48" y="113"/>
                      </a:cubicBezTo>
                      <a:cubicBezTo>
                        <a:pt x="48" y="116"/>
                        <a:pt x="48" y="119"/>
                        <a:pt x="48" y="121"/>
                      </a:cubicBezTo>
                      <a:cubicBezTo>
                        <a:pt x="48" y="123"/>
                        <a:pt x="48" y="125"/>
                        <a:pt x="48" y="125"/>
                      </a:cubicBezTo>
                      <a:cubicBezTo>
                        <a:pt x="48" y="126"/>
                        <a:pt x="48" y="126"/>
                        <a:pt x="49" y="127"/>
                      </a:cubicBezTo>
                      <a:cubicBezTo>
                        <a:pt x="49" y="127"/>
                        <a:pt x="49" y="128"/>
                        <a:pt x="50" y="128"/>
                      </a:cubicBezTo>
                      <a:cubicBezTo>
                        <a:pt x="50" y="128"/>
                        <a:pt x="51" y="128"/>
                        <a:pt x="51" y="128"/>
                      </a:cubicBezTo>
                      <a:cubicBezTo>
                        <a:pt x="51" y="128"/>
                        <a:pt x="51" y="128"/>
                        <a:pt x="52" y="129"/>
                      </a:cubicBezTo>
                      <a:cubicBezTo>
                        <a:pt x="52" y="129"/>
                        <a:pt x="53" y="129"/>
                        <a:pt x="54" y="129"/>
                      </a:cubicBezTo>
                      <a:cubicBezTo>
                        <a:pt x="55" y="129"/>
                        <a:pt x="55" y="129"/>
                        <a:pt x="56" y="129"/>
                      </a:cubicBezTo>
                      <a:cubicBezTo>
                        <a:pt x="56" y="129"/>
                        <a:pt x="57" y="129"/>
                        <a:pt x="57" y="129"/>
                      </a:cubicBezTo>
                      <a:cubicBezTo>
                        <a:pt x="58" y="130"/>
                        <a:pt x="59" y="130"/>
                        <a:pt x="59" y="130"/>
                      </a:cubicBezTo>
                      <a:cubicBezTo>
                        <a:pt x="60" y="130"/>
                        <a:pt x="60" y="130"/>
                        <a:pt x="61" y="130"/>
                      </a:cubicBezTo>
                      <a:cubicBezTo>
                        <a:pt x="62" y="130"/>
                        <a:pt x="64" y="130"/>
                        <a:pt x="65" y="130"/>
                      </a:cubicBezTo>
                      <a:cubicBezTo>
                        <a:pt x="66" y="130"/>
                        <a:pt x="67" y="130"/>
                        <a:pt x="68" y="130"/>
                      </a:cubicBezTo>
                      <a:cubicBezTo>
                        <a:pt x="69" y="130"/>
                        <a:pt x="70" y="130"/>
                        <a:pt x="70" y="130"/>
                      </a:cubicBezTo>
                      <a:cubicBezTo>
                        <a:pt x="71" y="130"/>
                        <a:pt x="71" y="130"/>
                        <a:pt x="71" y="130"/>
                      </a:cubicBezTo>
                      <a:cubicBezTo>
                        <a:pt x="73" y="130"/>
                        <a:pt x="75" y="128"/>
                        <a:pt x="75" y="127"/>
                      </a:cubicBezTo>
                      <a:cubicBezTo>
                        <a:pt x="75" y="127"/>
                        <a:pt x="75" y="125"/>
                        <a:pt x="75" y="123"/>
                      </a:cubicBezTo>
                      <a:cubicBezTo>
                        <a:pt x="76" y="122"/>
                        <a:pt x="76" y="120"/>
                        <a:pt x="76" y="119"/>
                      </a:cubicBezTo>
                      <a:cubicBezTo>
                        <a:pt x="76" y="118"/>
                        <a:pt x="76" y="116"/>
                        <a:pt x="76" y="115"/>
                      </a:cubicBezTo>
                      <a:cubicBezTo>
                        <a:pt x="82" y="114"/>
                        <a:pt x="88" y="111"/>
                        <a:pt x="93" y="108"/>
                      </a:cubicBezTo>
                      <a:cubicBezTo>
                        <a:pt x="94" y="109"/>
                        <a:pt x="95" y="110"/>
                        <a:pt x="96" y="111"/>
                      </a:cubicBezTo>
                      <a:cubicBezTo>
                        <a:pt x="97" y="112"/>
                        <a:pt x="98" y="113"/>
                        <a:pt x="99" y="114"/>
                      </a:cubicBezTo>
                      <a:cubicBezTo>
                        <a:pt x="101" y="115"/>
                        <a:pt x="102" y="116"/>
                        <a:pt x="102" y="116"/>
                      </a:cubicBezTo>
                      <a:cubicBezTo>
                        <a:pt x="102" y="117"/>
                        <a:pt x="103" y="117"/>
                        <a:pt x="104" y="117"/>
                      </a:cubicBezTo>
                      <a:cubicBezTo>
                        <a:pt x="105" y="117"/>
                        <a:pt x="106" y="116"/>
                        <a:pt x="107" y="116"/>
                      </a:cubicBezTo>
                      <a:cubicBezTo>
                        <a:pt x="107" y="116"/>
                        <a:pt x="108" y="115"/>
                        <a:pt x="109" y="114"/>
                      </a:cubicBezTo>
                      <a:cubicBezTo>
                        <a:pt x="110" y="113"/>
                        <a:pt x="111" y="112"/>
                        <a:pt x="112" y="111"/>
                      </a:cubicBezTo>
                      <a:cubicBezTo>
                        <a:pt x="112" y="111"/>
                        <a:pt x="113" y="110"/>
                        <a:pt x="114" y="109"/>
                      </a:cubicBezTo>
                      <a:cubicBezTo>
                        <a:pt x="115" y="108"/>
                        <a:pt x="116" y="107"/>
                        <a:pt x="117" y="106"/>
                      </a:cubicBezTo>
                      <a:cubicBezTo>
                        <a:pt x="117" y="105"/>
                        <a:pt x="118" y="104"/>
                        <a:pt x="119" y="104"/>
                      </a:cubicBezTo>
                      <a:cubicBezTo>
                        <a:pt x="120" y="102"/>
                        <a:pt x="120" y="101"/>
                        <a:pt x="120" y="101"/>
                      </a:cubicBezTo>
                      <a:cubicBezTo>
                        <a:pt x="121" y="100"/>
                        <a:pt x="121" y="99"/>
                        <a:pt x="121" y="98"/>
                      </a:cubicBezTo>
                      <a:cubicBezTo>
                        <a:pt x="121" y="97"/>
                        <a:pt x="121" y="97"/>
                        <a:pt x="120" y="96"/>
                      </a:cubicBezTo>
                      <a:cubicBezTo>
                        <a:pt x="120" y="96"/>
                        <a:pt x="119" y="95"/>
                        <a:pt x="118" y="93"/>
                      </a:cubicBezTo>
                      <a:cubicBezTo>
                        <a:pt x="117" y="92"/>
                        <a:pt x="116" y="91"/>
                        <a:pt x="115" y="90"/>
                      </a:cubicBezTo>
                      <a:cubicBezTo>
                        <a:pt x="114" y="90"/>
                        <a:pt x="113" y="89"/>
                        <a:pt x="112" y="88"/>
                      </a:cubicBezTo>
                      <a:cubicBezTo>
                        <a:pt x="115" y="82"/>
                        <a:pt x="116" y="76"/>
                        <a:pt x="117" y="71"/>
                      </a:cubicBezTo>
                      <a:cubicBezTo>
                        <a:pt x="118" y="70"/>
                        <a:pt x="120" y="70"/>
                        <a:pt x="121" y="70"/>
                      </a:cubicBezTo>
                      <a:cubicBezTo>
                        <a:pt x="123" y="70"/>
                        <a:pt x="124" y="69"/>
                        <a:pt x="125" y="69"/>
                      </a:cubicBezTo>
                      <a:cubicBezTo>
                        <a:pt x="127" y="69"/>
                        <a:pt x="129" y="68"/>
                        <a:pt x="129" y="68"/>
                      </a:cubicBezTo>
                      <a:cubicBezTo>
                        <a:pt x="130" y="68"/>
                        <a:pt x="132" y="66"/>
                        <a:pt x="132" y="64"/>
                      </a:cubicBezTo>
                      <a:cubicBezTo>
                        <a:pt x="132" y="64"/>
                        <a:pt x="132" y="64"/>
                        <a:pt x="132" y="63"/>
                      </a:cubicBezTo>
                      <a:cubicBezTo>
                        <a:pt x="132" y="63"/>
                        <a:pt x="132" y="62"/>
                        <a:pt x="132" y="61"/>
                      </a:cubicBezTo>
                      <a:cubicBezTo>
                        <a:pt x="131" y="60"/>
                        <a:pt x="131" y="59"/>
                        <a:pt x="131" y="58"/>
                      </a:cubicBezTo>
                      <a:cubicBezTo>
                        <a:pt x="131" y="57"/>
                        <a:pt x="131" y="55"/>
                        <a:pt x="131" y="54"/>
                      </a:cubicBezTo>
                      <a:cubicBezTo>
                        <a:pt x="131" y="54"/>
                        <a:pt x="131" y="53"/>
                        <a:pt x="131" y="52"/>
                      </a:cubicBezTo>
                      <a:cubicBezTo>
                        <a:pt x="130" y="52"/>
                        <a:pt x="130" y="51"/>
                        <a:pt x="130" y="51"/>
                      </a:cubicBezTo>
                      <a:cubicBezTo>
                        <a:pt x="130" y="50"/>
                        <a:pt x="130" y="49"/>
                        <a:pt x="130" y="49"/>
                      </a:cubicBezTo>
                      <a:cubicBezTo>
                        <a:pt x="130" y="48"/>
                        <a:pt x="130" y="48"/>
                        <a:pt x="129" y="47"/>
                      </a:cubicBezTo>
                      <a:cubicBezTo>
                        <a:pt x="129" y="46"/>
                        <a:pt x="129" y="46"/>
                        <a:pt x="129" y="45"/>
                      </a:cubicBezTo>
                      <a:cubicBezTo>
                        <a:pt x="129" y="45"/>
                        <a:pt x="129" y="44"/>
                        <a:pt x="129" y="44"/>
                      </a:cubicBezTo>
                      <a:cubicBezTo>
                        <a:pt x="128" y="44"/>
                        <a:pt x="128" y="43"/>
                        <a:pt x="128" y="43"/>
                      </a:cubicBezTo>
                      <a:cubicBezTo>
                        <a:pt x="128" y="43"/>
                        <a:pt x="127" y="42"/>
                        <a:pt x="127" y="42"/>
                      </a:cubicBezTo>
                      <a:cubicBezTo>
                        <a:pt x="126" y="41"/>
                        <a:pt x="126" y="41"/>
                        <a:pt x="125" y="41"/>
                      </a:cubicBezTo>
                      <a:cubicBezTo>
                        <a:pt x="125" y="41"/>
                        <a:pt x="123" y="41"/>
                        <a:pt x="121" y="42"/>
                      </a:cubicBezTo>
                      <a:cubicBezTo>
                        <a:pt x="119" y="42"/>
                        <a:pt x="116" y="42"/>
                        <a:pt x="113" y="43"/>
                      </a:cubicBezTo>
                      <a:cubicBezTo>
                        <a:pt x="110" y="37"/>
                        <a:pt x="107" y="32"/>
                        <a:pt x="103" y="28"/>
                      </a:cubicBezTo>
                      <a:cubicBezTo>
                        <a:pt x="104" y="25"/>
                        <a:pt x="106" y="23"/>
                        <a:pt x="107" y="21"/>
                      </a:cubicBezTo>
                      <a:cubicBezTo>
                        <a:pt x="108" y="19"/>
                        <a:pt x="108" y="17"/>
                        <a:pt x="108" y="17"/>
                      </a:cubicBezTo>
                      <a:cubicBezTo>
                        <a:pt x="109" y="17"/>
                        <a:pt x="109" y="16"/>
                        <a:pt x="109" y="15"/>
                      </a:cubicBezTo>
                      <a:cubicBezTo>
                        <a:pt x="108" y="14"/>
                        <a:pt x="108" y="13"/>
                        <a:pt x="107" y="13"/>
                      </a:cubicBezTo>
                      <a:cubicBezTo>
                        <a:pt x="107" y="13"/>
                        <a:pt x="107" y="13"/>
                        <a:pt x="106" y="12"/>
                      </a:cubicBezTo>
                      <a:cubicBezTo>
                        <a:pt x="106" y="12"/>
                        <a:pt x="105" y="11"/>
                        <a:pt x="104" y="11"/>
                      </a:cubicBezTo>
                      <a:cubicBezTo>
                        <a:pt x="103" y="10"/>
                        <a:pt x="101" y="8"/>
                        <a:pt x="99" y="7"/>
                      </a:cubicBezTo>
                      <a:cubicBezTo>
                        <a:pt x="98" y="7"/>
                        <a:pt x="97" y="6"/>
                        <a:pt x="97" y="6"/>
                      </a:cubicBezTo>
                      <a:cubicBezTo>
                        <a:pt x="96" y="6"/>
                        <a:pt x="96" y="6"/>
                        <a:pt x="95" y="5"/>
                      </a:cubicBezTo>
                      <a:cubicBezTo>
                        <a:pt x="94" y="5"/>
                        <a:pt x="93" y="4"/>
                        <a:pt x="92" y="4"/>
                      </a:cubicBezTo>
                      <a:cubicBezTo>
                        <a:pt x="92" y="4"/>
                        <a:pt x="91" y="3"/>
                        <a:pt x="90" y="3"/>
                      </a:cubicBezTo>
                      <a:cubicBezTo>
                        <a:pt x="90" y="3"/>
                        <a:pt x="89" y="3"/>
                        <a:pt x="89" y="3"/>
                      </a:cubicBezTo>
                      <a:cubicBezTo>
                        <a:pt x="89" y="2"/>
                        <a:pt x="88" y="2"/>
                        <a:pt x="88" y="2"/>
                      </a:cubicBezTo>
                      <a:cubicBezTo>
                        <a:pt x="87" y="2"/>
                        <a:pt x="87" y="2"/>
                        <a:pt x="87" y="2"/>
                      </a:cubicBezTo>
                      <a:cubicBezTo>
                        <a:pt x="86" y="3"/>
                        <a:pt x="85" y="3"/>
                        <a:pt x="85" y="4"/>
                      </a:cubicBezTo>
                      <a:cubicBezTo>
                        <a:pt x="85" y="4"/>
                        <a:pt x="84" y="5"/>
                        <a:pt x="83" y="7"/>
                      </a:cubicBezTo>
                      <a:cubicBezTo>
                        <a:pt x="81" y="9"/>
                        <a:pt x="80" y="11"/>
                        <a:pt x="78" y="14"/>
                      </a:cubicBezTo>
                      <a:cubicBezTo>
                        <a:pt x="72" y="13"/>
                        <a:pt x="66" y="12"/>
                        <a:pt x="61" y="13"/>
                      </a:cubicBezTo>
                      <a:cubicBezTo>
                        <a:pt x="59" y="10"/>
                        <a:pt x="58" y="7"/>
                        <a:pt x="57" y="5"/>
                      </a:cubicBezTo>
                      <a:cubicBezTo>
                        <a:pt x="56" y="3"/>
                        <a:pt x="56" y="2"/>
                        <a:pt x="56" y="2"/>
                      </a:cubicBezTo>
                      <a:cubicBezTo>
                        <a:pt x="55" y="1"/>
                        <a:pt x="55" y="0"/>
                        <a:pt x="54" y="0"/>
                      </a:cubicBezTo>
                      <a:cubicBezTo>
                        <a:pt x="53" y="0"/>
                        <a:pt x="52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0" y="0"/>
                      </a:cubicBezTo>
                      <a:cubicBezTo>
                        <a:pt x="50" y="0"/>
                        <a:pt x="49" y="0"/>
                        <a:pt x="48" y="1"/>
                      </a:cubicBezTo>
                      <a:cubicBezTo>
                        <a:pt x="47" y="1"/>
                        <a:pt x="46" y="1"/>
                        <a:pt x="45" y="2"/>
                      </a:cubicBezTo>
                      <a:cubicBezTo>
                        <a:pt x="44" y="2"/>
                        <a:pt x="43" y="2"/>
                        <a:pt x="42" y="3"/>
                      </a:cubicBezTo>
                      <a:cubicBezTo>
                        <a:pt x="40" y="3"/>
                        <a:pt x="39" y="4"/>
                        <a:pt x="38" y="4"/>
                      </a:cubicBezTo>
                      <a:cubicBezTo>
                        <a:pt x="37" y="5"/>
                        <a:pt x="36" y="5"/>
                        <a:pt x="35" y="6"/>
                      </a:cubicBezTo>
                      <a:cubicBezTo>
                        <a:pt x="34" y="6"/>
                        <a:pt x="34" y="7"/>
                        <a:pt x="33" y="7"/>
                      </a:cubicBezTo>
                      <a:cubicBezTo>
                        <a:pt x="33" y="7"/>
                        <a:pt x="32" y="7"/>
                        <a:pt x="32" y="7"/>
                      </a:cubicBezTo>
                      <a:cubicBezTo>
                        <a:pt x="32" y="8"/>
                        <a:pt x="31" y="9"/>
                        <a:pt x="30" y="9"/>
                      </a:cubicBezTo>
                      <a:cubicBezTo>
                        <a:pt x="30" y="10"/>
                        <a:pt x="30" y="11"/>
                        <a:pt x="30" y="12"/>
                      </a:cubicBezTo>
                      <a:cubicBezTo>
                        <a:pt x="30" y="12"/>
                        <a:pt x="31" y="13"/>
                        <a:pt x="31" y="15"/>
                      </a:cubicBezTo>
                      <a:cubicBezTo>
                        <a:pt x="32" y="17"/>
                        <a:pt x="33" y="20"/>
                        <a:pt x="34" y="23"/>
                      </a:cubicBezTo>
                      <a:cubicBezTo>
                        <a:pt x="32" y="25"/>
                        <a:pt x="30" y="27"/>
                        <a:pt x="28" y="29"/>
                      </a:cubicBezTo>
                      <a:cubicBezTo>
                        <a:pt x="26" y="31"/>
                        <a:pt x="24" y="34"/>
                        <a:pt x="22" y="36"/>
                      </a:cubicBezTo>
                      <a:cubicBezTo>
                        <a:pt x="19" y="35"/>
                        <a:pt x="17" y="34"/>
                        <a:pt x="14" y="34"/>
                      </a:cubicBezTo>
                      <a:cubicBezTo>
                        <a:pt x="12" y="33"/>
                        <a:pt x="11" y="33"/>
                        <a:pt x="11" y="33"/>
                      </a:cubicBezTo>
                      <a:cubicBezTo>
                        <a:pt x="10" y="33"/>
                        <a:pt x="9" y="33"/>
                        <a:pt x="8" y="33"/>
                      </a:cubicBezTo>
                      <a:close/>
                      <a:moveTo>
                        <a:pt x="40" y="41"/>
                      </a:moveTo>
                      <a:cubicBezTo>
                        <a:pt x="54" y="26"/>
                        <a:pt x="76" y="25"/>
                        <a:pt x="91" y="39"/>
                      </a:cubicBezTo>
                      <a:cubicBezTo>
                        <a:pt x="105" y="52"/>
                        <a:pt x="106" y="75"/>
                        <a:pt x="93" y="89"/>
                      </a:cubicBezTo>
                      <a:cubicBezTo>
                        <a:pt x="80" y="104"/>
                        <a:pt x="57" y="105"/>
                        <a:pt x="42" y="91"/>
                      </a:cubicBezTo>
                      <a:cubicBezTo>
                        <a:pt x="28" y="78"/>
                        <a:pt x="27" y="55"/>
                        <a:pt x="40" y="4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21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PH" sz="1795" b="0" i="0" u="none" strike="noStrike" kern="0" cap="none" spc="0" normalizeH="0" baseline="0" noProof="0">
                    <a:ln>
                      <a:noFill/>
                    </a:ln>
                    <a:solidFill>
                      <a:srgbClr val="1D1D1D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4" name="Freeform">
                  <a:extLst>
                    <a:ext uri="{FF2B5EF4-FFF2-40B4-BE49-F238E27FC236}">
                      <a16:creationId xmlns:a16="http://schemas.microsoft.com/office/drawing/2014/main" id="{19F57AC6-9D44-42F6-AD10-D448B6A1E0D1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 rot="949646">
                  <a:off x="5281504" y="-926405"/>
                  <a:ext cx="147334" cy="146566"/>
                </a:xfrm>
                <a:custGeom>
                  <a:avLst/>
                  <a:gdLst>
                    <a:gd name="T0" fmla="*/ 3 w 91"/>
                    <a:gd name="T1" fmla="*/ 25 h 91"/>
                    <a:gd name="T2" fmla="*/ 1 w 91"/>
                    <a:gd name="T3" fmla="*/ 31 h 91"/>
                    <a:gd name="T4" fmla="*/ 0 w 91"/>
                    <a:gd name="T5" fmla="*/ 38 h 91"/>
                    <a:gd name="T6" fmla="*/ 0 w 91"/>
                    <a:gd name="T7" fmla="*/ 40 h 91"/>
                    <a:gd name="T8" fmla="*/ 9 w 91"/>
                    <a:gd name="T9" fmla="*/ 44 h 91"/>
                    <a:gd name="T10" fmla="*/ 4 w 91"/>
                    <a:gd name="T11" fmla="*/ 61 h 91"/>
                    <a:gd name="T12" fmla="*/ 4 w 91"/>
                    <a:gd name="T13" fmla="*/ 65 h 91"/>
                    <a:gd name="T14" fmla="*/ 6 w 91"/>
                    <a:gd name="T15" fmla="*/ 69 h 91"/>
                    <a:gd name="T16" fmla="*/ 10 w 91"/>
                    <a:gd name="T17" fmla="*/ 75 h 91"/>
                    <a:gd name="T18" fmla="*/ 13 w 91"/>
                    <a:gd name="T19" fmla="*/ 77 h 91"/>
                    <a:gd name="T20" fmla="*/ 22 w 91"/>
                    <a:gd name="T21" fmla="*/ 73 h 91"/>
                    <a:gd name="T22" fmla="*/ 33 w 91"/>
                    <a:gd name="T23" fmla="*/ 87 h 91"/>
                    <a:gd name="T24" fmla="*/ 35 w 91"/>
                    <a:gd name="T25" fmla="*/ 90 h 91"/>
                    <a:gd name="T26" fmla="*/ 38 w 91"/>
                    <a:gd name="T27" fmla="*/ 90 h 91"/>
                    <a:gd name="T28" fmla="*/ 42 w 91"/>
                    <a:gd name="T29" fmla="*/ 91 h 91"/>
                    <a:gd name="T30" fmla="*/ 48 w 91"/>
                    <a:gd name="T31" fmla="*/ 91 h 91"/>
                    <a:gd name="T32" fmla="*/ 52 w 91"/>
                    <a:gd name="T33" fmla="*/ 86 h 91"/>
                    <a:gd name="T34" fmla="*/ 64 w 91"/>
                    <a:gd name="T35" fmla="*/ 76 h 91"/>
                    <a:gd name="T36" fmla="*/ 71 w 91"/>
                    <a:gd name="T37" fmla="*/ 81 h 91"/>
                    <a:gd name="T38" fmla="*/ 76 w 91"/>
                    <a:gd name="T39" fmla="*/ 79 h 91"/>
                    <a:gd name="T40" fmla="*/ 81 w 91"/>
                    <a:gd name="T41" fmla="*/ 74 h 91"/>
                    <a:gd name="T42" fmla="*/ 84 w 91"/>
                    <a:gd name="T43" fmla="*/ 69 h 91"/>
                    <a:gd name="T44" fmla="*/ 80 w 91"/>
                    <a:gd name="T45" fmla="*/ 63 h 91"/>
                    <a:gd name="T46" fmla="*/ 84 w 91"/>
                    <a:gd name="T47" fmla="*/ 49 h 91"/>
                    <a:gd name="T48" fmla="*/ 91 w 91"/>
                    <a:gd name="T49" fmla="*/ 45 h 91"/>
                    <a:gd name="T50" fmla="*/ 91 w 91"/>
                    <a:gd name="T51" fmla="*/ 40 h 91"/>
                    <a:gd name="T52" fmla="*/ 90 w 91"/>
                    <a:gd name="T53" fmla="*/ 35 h 91"/>
                    <a:gd name="T54" fmla="*/ 89 w 91"/>
                    <a:gd name="T55" fmla="*/ 32 h 91"/>
                    <a:gd name="T56" fmla="*/ 88 w 91"/>
                    <a:gd name="T57" fmla="*/ 29 h 91"/>
                    <a:gd name="T58" fmla="*/ 78 w 91"/>
                    <a:gd name="T59" fmla="*/ 30 h 91"/>
                    <a:gd name="T60" fmla="*/ 75 w 91"/>
                    <a:gd name="T61" fmla="*/ 12 h 91"/>
                    <a:gd name="T62" fmla="*/ 74 w 91"/>
                    <a:gd name="T63" fmla="*/ 8 h 91"/>
                    <a:gd name="T64" fmla="*/ 67 w 91"/>
                    <a:gd name="T65" fmla="*/ 4 h 91"/>
                    <a:gd name="T66" fmla="*/ 62 w 91"/>
                    <a:gd name="T67" fmla="*/ 2 h 91"/>
                    <a:gd name="T68" fmla="*/ 60 w 91"/>
                    <a:gd name="T69" fmla="*/ 2 h 91"/>
                    <a:gd name="T70" fmla="*/ 54 w 91"/>
                    <a:gd name="T71" fmla="*/ 10 h 91"/>
                    <a:gd name="T72" fmla="*/ 38 w 91"/>
                    <a:gd name="T73" fmla="*/ 1 h 91"/>
                    <a:gd name="T74" fmla="*/ 35 w 91"/>
                    <a:gd name="T75" fmla="*/ 0 h 91"/>
                    <a:gd name="T76" fmla="*/ 31 w 91"/>
                    <a:gd name="T77" fmla="*/ 1 h 91"/>
                    <a:gd name="T78" fmla="*/ 24 w 91"/>
                    <a:gd name="T79" fmla="*/ 4 h 91"/>
                    <a:gd name="T80" fmla="*/ 21 w 91"/>
                    <a:gd name="T81" fmla="*/ 6 h 91"/>
                    <a:gd name="T82" fmla="*/ 23 w 91"/>
                    <a:gd name="T83" fmla="*/ 16 h 91"/>
                    <a:gd name="T84" fmla="*/ 9 w 91"/>
                    <a:gd name="T85" fmla="*/ 24 h 91"/>
                    <a:gd name="T86" fmla="*/ 28 w 91"/>
                    <a:gd name="T87" fmla="*/ 28 h 91"/>
                    <a:gd name="T88" fmla="*/ 29 w 91"/>
                    <a:gd name="T89" fmla="*/ 64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91" h="91">
                      <a:moveTo>
                        <a:pt x="5" y="23"/>
                      </a:moveTo>
                      <a:cubicBezTo>
                        <a:pt x="5" y="24"/>
                        <a:pt x="4" y="24"/>
                        <a:pt x="4" y="25"/>
                      </a:cubicBezTo>
                      <a:cubicBezTo>
                        <a:pt x="4" y="25"/>
                        <a:pt x="4" y="25"/>
                        <a:pt x="3" y="25"/>
                      </a:cubicBezTo>
                      <a:cubicBezTo>
                        <a:pt x="3" y="26"/>
                        <a:pt x="3" y="26"/>
                        <a:pt x="3" y="27"/>
                      </a:cubicBezTo>
                      <a:cubicBezTo>
                        <a:pt x="3" y="27"/>
                        <a:pt x="2" y="28"/>
                        <a:pt x="2" y="29"/>
                      </a:cubicBezTo>
                      <a:cubicBezTo>
                        <a:pt x="2" y="30"/>
                        <a:pt x="1" y="30"/>
                        <a:pt x="1" y="31"/>
                      </a:cubicBezTo>
                      <a:cubicBezTo>
                        <a:pt x="1" y="32"/>
                        <a:pt x="1" y="33"/>
                        <a:pt x="0" y="34"/>
                      </a:cubicBezTo>
                      <a:cubicBezTo>
                        <a:pt x="0" y="35"/>
                        <a:pt x="0" y="35"/>
                        <a:pt x="0" y="36"/>
                      </a:cubicBezTo>
                      <a:cubicBezTo>
                        <a:pt x="0" y="37"/>
                        <a:pt x="0" y="37"/>
                        <a:pt x="0" y="38"/>
                      </a:cubicBezTo>
                      <a:cubicBezTo>
                        <a:pt x="0" y="38"/>
                        <a:pt x="0" y="38"/>
                        <a:pt x="0" y="38"/>
                      </a:cubicBezTo>
                      <a:cubicBezTo>
                        <a:pt x="0" y="38"/>
                        <a:pt x="0" y="38"/>
                        <a:pt x="0" y="38"/>
                      </a:cubicBezTo>
                      <a:cubicBezTo>
                        <a:pt x="0" y="39"/>
                        <a:pt x="0" y="40"/>
                        <a:pt x="0" y="40"/>
                      </a:cubicBezTo>
                      <a:cubicBezTo>
                        <a:pt x="0" y="41"/>
                        <a:pt x="1" y="41"/>
                        <a:pt x="1" y="41"/>
                      </a:cubicBezTo>
                      <a:cubicBezTo>
                        <a:pt x="1" y="41"/>
                        <a:pt x="2" y="42"/>
                        <a:pt x="4" y="42"/>
                      </a:cubicBezTo>
                      <a:cubicBezTo>
                        <a:pt x="5" y="43"/>
                        <a:pt x="7" y="43"/>
                        <a:pt x="9" y="44"/>
                      </a:cubicBezTo>
                      <a:cubicBezTo>
                        <a:pt x="9" y="48"/>
                        <a:pt x="10" y="52"/>
                        <a:pt x="11" y="56"/>
                      </a:cubicBezTo>
                      <a:cubicBezTo>
                        <a:pt x="9" y="58"/>
                        <a:pt x="8" y="59"/>
                        <a:pt x="6" y="60"/>
                      </a:cubicBezTo>
                      <a:cubicBezTo>
                        <a:pt x="5" y="61"/>
                        <a:pt x="4" y="61"/>
                        <a:pt x="4" y="61"/>
                      </a:cubicBezTo>
                      <a:cubicBezTo>
                        <a:pt x="4" y="62"/>
                        <a:pt x="3" y="62"/>
                        <a:pt x="3" y="63"/>
                      </a:cubicBezTo>
                      <a:cubicBezTo>
                        <a:pt x="3" y="63"/>
                        <a:pt x="3" y="63"/>
                        <a:pt x="3" y="64"/>
                      </a:cubicBezTo>
                      <a:cubicBezTo>
                        <a:pt x="3" y="64"/>
                        <a:pt x="4" y="64"/>
                        <a:pt x="4" y="65"/>
                      </a:cubicBezTo>
                      <a:cubicBezTo>
                        <a:pt x="4" y="65"/>
                        <a:pt x="4" y="65"/>
                        <a:pt x="4" y="65"/>
                      </a:cubicBezTo>
                      <a:cubicBezTo>
                        <a:pt x="4" y="66"/>
                        <a:pt x="4" y="66"/>
                        <a:pt x="5" y="67"/>
                      </a:cubicBezTo>
                      <a:cubicBezTo>
                        <a:pt x="5" y="67"/>
                        <a:pt x="5" y="68"/>
                        <a:pt x="6" y="69"/>
                      </a:cubicBezTo>
                      <a:cubicBezTo>
                        <a:pt x="6" y="69"/>
                        <a:pt x="6" y="69"/>
                        <a:pt x="7" y="70"/>
                      </a:cubicBezTo>
                      <a:cubicBezTo>
                        <a:pt x="7" y="70"/>
                        <a:pt x="7" y="71"/>
                        <a:pt x="7" y="71"/>
                      </a:cubicBezTo>
                      <a:cubicBezTo>
                        <a:pt x="8" y="72"/>
                        <a:pt x="9" y="74"/>
                        <a:pt x="10" y="75"/>
                      </a:cubicBezTo>
                      <a:cubicBezTo>
                        <a:pt x="11" y="75"/>
                        <a:pt x="11" y="76"/>
                        <a:pt x="11" y="76"/>
                      </a:cubicBezTo>
                      <a:cubicBezTo>
                        <a:pt x="12" y="76"/>
                        <a:pt x="12" y="76"/>
                        <a:pt x="12" y="76"/>
                      </a:cubicBezTo>
                      <a:cubicBezTo>
                        <a:pt x="12" y="77"/>
                        <a:pt x="13" y="77"/>
                        <a:pt x="13" y="77"/>
                      </a:cubicBezTo>
                      <a:cubicBezTo>
                        <a:pt x="14" y="78"/>
                        <a:pt x="15" y="77"/>
                        <a:pt x="15" y="77"/>
                      </a:cubicBezTo>
                      <a:cubicBezTo>
                        <a:pt x="15" y="77"/>
                        <a:pt x="16" y="77"/>
                        <a:pt x="17" y="76"/>
                      </a:cubicBezTo>
                      <a:cubicBezTo>
                        <a:pt x="19" y="75"/>
                        <a:pt x="20" y="74"/>
                        <a:pt x="22" y="73"/>
                      </a:cubicBezTo>
                      <a:cubicBezTo>
                        <a:pt x="25" y="75"/>
                        <a:pt x="29" y="77"/>
                        <a:pt x="33" y="79"/>
                      </a:cubicBezTo>
                      <a:cubicBezTo>
                        <a:pt x="33" y="81"/>
                        <a:pt x="33" y="83"/>
                        <a:pt x="33" y="85"/>
                      </a:cubicBezTo>
                      <a:cubicBezTo>
                        <a:pt x="33" y="86"/>
                        <a:pt x="33" y="87"/>
                        <a:pt x="33" y="87"/>
                      </a:cubicBezTo>
                      <a:cubicBezTo>
                        <a:pt x="33" y="88"/>
                        <a:pt x="33" y="88"/>
                        <a:pt x="33" y="89"/>
                      </a:cubicBezTo>
                      <a:cubicBezTo>
                        <a:pt x="33" y="89"/>
                        <a:pt x="34" y="89"/>
                        <a:pt x="34" y="89"/>
                      </a:cubicBezTo>
                      <a:cubicBezTo>
                        <a:pt x="34" y="90"/>
                        <a:pt x="35" y="90"/>
                        <a:pt x="35" y="90"/>
                      </a:cubicBezTo>
                      <a:cubicBezTo>
                        <a:pt x="35" y="90"/>
                        <a:pt x="35" y="90"/>
                        <a:pt x="36" y="90"/>
                      </a:cubicBezTo>
                      <a:cubicBezTo>
                        <a:pt x="36" y="90"/>
                        <a:pt x="36" y="90"/>
                        <a:pt x="37" y="90"/>
                      </a:cubicBezTo>
                      <a:cubicBezTo>
                        <a:pt x="37" y="90"/>
                        <a:pt x="38" y="90"/>
                        <a:pt x="38" y="90"/>
                      </a:cubicBezTo>
                      <a:cubicBezTo>
                        <a:pt x="39" y="90"/>
                        <a:pt x="39" y="90"/>
                        <a:pt x="39" y="91"/>
                      </a:cubicBezTo>
                      <a:cubicBezTo>
                        <a:pt x="40" y="91"/>
                        <a:pt x="40" y="91"/>
                        <a:pt x="41" y="91"/>
                      </a:cubicBezTo>
                      <a:cubicBezTo>
                        <a:pt x="41" y="91"/>
                        <a:pt x="41" y="91"/>
                        <a:pt x="42" y="91"/>
                      </a:cubicBezTo>
                      <a:cubicBezTo>
                        <a:pt x="43" y="91"/>
                        <a:pt x="44" y="91"/>
                        <a:pt x="45" y="91"/>
                      </a:cubicBezTo>
                      <a:cubicBezTo>
                        <a:pt x="45" y="91"/>
                        <a:pt x="46" y="91"/>
                        <a:pt x="47" y="91"/>
                      </a:cubicBezTo>
                      <a:cubicBezTo>
                        <a:pt x="47" y="91"/>
                        <a:pt x="48" y="91"/>
                        <a:pt x="48" y="91"/>
                      </a:cubicBezTo>
                      <a:cubicBezTo>
                        <a:pt x="49" y="91"/>
                        <a:pt x="49" y="91"/>
                        <a:pt x="49" y="91"/>
                      </a:cubicBezTo>
                      <a:cubicBezTo>
                        <a:pt x="50" y="91"/>
                        <a:pt x="52" y="90"/>
                        <a:pt x="52" y="89"/>
                      </a:cubicBezTo>
                      <a:cubicBezTo>
                        <a:pt x="52" y="89"/>
                        <a:pt x="52" y="88"/>
                        <a:pt x="52" y="86"/>
                      </a:cubicBezTo>
                      <a:cubicBezTo>
                        <a:pt x="52" y="85"/>
                        <a:pt x="52" y="84"/>
                        <a:pt x="52" y="83"/>
                      </a:cubicBezTo>
                      <a:cubicBezTo>
                        <a:pt x="52" y="82"/>
                        <a:pt x="52" y="81"/>
                        <a:pt x="53" y="80"/>
                      </a:cubicBezTo>
                      <a:cubicBezTo>
                        <a:pt x="57" y="79"/>
                        <a:pt x="61" y="78"/>
                        <a:pt x="64" y="76"/>
                      </a:cubicBezTo>
                      <a:cubicBezTo>
                        <a:pt x="65" y="76"/>
                        <a:pt x="66" y="77"/>
                        <a:pt x="66" y="78"/>
                      </a:cubicBezTo>
                      <a:cubicBezTo>
                        <a:pt x="67" y="78"/>
                        <a:pt x="68" y="79"/>
                        <a:pt x="68" y="79"/>
                      </a:cubicBezTo>
                      <a:cubicBezTo>
                        <a:pt x="70" y="80"/>
                        <a:pt x="71" y="81"/>
                        <a:pt x="71" y="81"/>
                      </a:cubicBezTo>
                      <a:cubicBezTo>
                        <a:pt x="71" y="82"/>
                        <a:pt x="72" y="82"/>
                        <a:pt x="72" y="82"/>
                      </a:cubicBezTo>
                      <a:cubicBezTo>
                        <a:pt x="73" y="82"/>
                        <a:pt x="73" y="81"/>
                        <a:pt x="74" y="81"/>
                      </a:cubicBezTo>
                      <a:cubicBezTo>
                        <a:pt x="74" y="81"/>
                        <a:pt x="75" y="80"/>
                        <a:pt x="76" y="79"/>
                      </a:cubicBezTo>
                      <a:cubicBezTo>
                        <a:pt x="76" y="79"/>
                        <a:pt x="77" y="78"/>
                        <a:pt x="77" y="78"/>
                      </a:cubicBezTo>
                      <a:cubicBezTo>
                        <a:pt x="78" y="77"/>
                        <a:pt x="79" y="77"/>
                        <a:pt x="79" y="76"/>
                      </a:cubicBezTo>
                      <a:cubicBezTo>
                        <a:pt x="80" y="75"/>
                        <a:pt x="80" y="75"/>
                        <a:pt x="81" y="74"/>
                      </a:cubicBezTo>
                      <a:cubicBezTo>
                        <a:pt x="81" y="73"/>
                        <a:pt x="82" y="73"/>
                        <a:pt x="82" y="72"/>
                      </a:cubicBezTo>
                      <a:cubicBezTo>
                        <a:pt x="83" y="71"/>
                        <a:pt x="83" y="71"/>
                        <a:pt x="83" y="71"/>
                      </a:cubicBezTo>
                      <a:cubicBezTo>
                        <a:pt x="84" y="70"/>
                        <a:pt x="84" y="69"/>
                        <a:pt x="84" y="69"/>
                      </a:cubicBezTo>
                      <a:cubicBezTo>
                        <a:pt x="84" y="68"/>
                        <a:pt x="84" y="68"/>
                        <a:pt x="84" y="67"/>
                      </a:cubicBezTo>
                      <a:cubicBezTo>
                        <a:pt x="84" y="67"/>
                        <a:pt x="83" y="66"/>
                        <a:pt x="82" y="65"/>
                      </a:cubicBezTo>
                      <a:cubicBezTo>
                        <a:pt x="81" y="65"/>
                        <a:pt x="80" y="64"/>
                        <a:pt x="80" y="63"/>
                      </a:cubicBezTo>
                      <a:cubicBezTo>
                        <a:pt x="79" y="63"/>
                        <a:pt x="78" y="62"/>
                        <a:pt x="78" y="61"/>
                      </a:cubicBezTo>
                      <a:cubicBezTo>
                        <a:pt x="79" y="57"/>
                        <a:pt x="81" y="53"/>
                        <a:pt x="81" y="49"/>
                      </a:cubicBezTo>
                      <a:cubicBezTo>
                        <a:pt x="82" y="49"/>
                        <a:pt x="83" y="49"/>
                        <a:pt x="84" y="49"/>
                      </a:cubicBezTo>
                      <a:cubicBezTo>
                        <a:pt x="85" y="49"/>
                        <a:pt x="86" y="48"/>
                        <a:pt x="87" y="48"/>
                      </a:cubicBezTo>
                      <a:cubicBezTo>
                        <a:pt x="88" y="48"/>
                        <a:pt x="89" y="48"/>
                        <a:pt x="89" y="48"/>
                      </a:cubicBezTo>
                      <a:cubicBezTo>
                        <a:pt x="91" y="48"/>
                        <a:pt x="91" y="46"/>
                        <a:pt x="91" y="45"/>
                      </a:cubicBezTo>
                      <a:cubicBezTo>
                        <a:pt x="91" y="45"/>
                        <a:pt x="91" y="45"/>
                        <a:pt x="91" y="44"/>
                      </a:cubicBezTo>
                      <a:cubicBezTo>
                        <a:pt x="91" y="44"/>
                        <a:pt x="91" y="43"/>
                        <a:pt x="91" y="43"/>
                      </a:cubicBezTo>
                      <a:cubicBezTo>
                        <a:pt x="91" y="42"/>
                        <a:pt x="91" y="41"/>
                        <a:pt x="91" y="40"/>
                      </a:cubicBezTo>
                      <a:cubicBezTo>
                        <a:pt x="91" y="40"/>
                        <a:pt x="91" y="39"/>
                        <a:pt x="91" y="38"/>
                      </a:cubicBezTo>
                      <a:cubicBezTo>
                        <a:pt x="91" y="37"/>
                        <a:pt x="91" y="37"/>
                        <a:pt x="91" y="37"/>
                      </a:cubicBezTo>
                      <a:cubicBezTo>
                        <a:pt x="91" y="36"/>
                        <a:pt x="90" y="36"/>
                        <a:pt x="90" y="35"/>
                      </a:cubicBezTo>
                      <a:cubicBezTo>
                        <a:pt x="90" y="35"/>
                        <a:pt x="90" y="34"/>
                        <a:pt x="90" y="34"/>
                      </a:cubicBezTo>
                      <a:cubicBezTo>
                        <a:pt x="90" y="34"/>
                        <a:pt x="90" y="33"/>
                        <a:pt x="90" y="33"/>
                      </a:cubicBezTo>
                      <a:cubicBezTo>
                        <a:pt x="90" y="32"/>
                        <a:pt x="90" y="32"/>
                        <a:pt x="89" y="32"/>
                      </a:cubicBezTo>
                      <a:cubicBezTo>
                        <a:pt x="89" y="31"/>
                        <a:pt x="89" y="31"/>
                        <a:pt x="89" y="31"/>
                      </a:cubicBezTo>
                      <a:cubicBezTo>
                        <a:pt x="89" y="31"/>
                        <a:pt x="89" y="30"/>
                        <a:pt x="89" y="30"/>
                      </a:cubicBezTo>
                      <a:cubicBezTo>
                        <a:pt x="89" y="30"/>
                        <a:pt x="88" y="29"/>
                        <a:pt x="88" y="29"/>
                      </a:cubicBezTo>
                      <a:cubicBezTo>
                        <a:pt x="88" y="29"/>
                        <a:pt x="87" y="29"/>
                        <a:pt x="87" y="29"/>
                      </a:cubicBezTo>
                      <a:cubicBezTo>
                        <a:pt x="87" y="29"/>
                        <a:pt x="86" y="29"/>
                        <a:pt x="84" y="29"/>
                      </a:cubicBezTo>
                      <a:cubicBezTo>
                        <a:pt x="82" y="29"/>
                        <a:pt x="80" y="29"/>
                        <a:pt x="78" y="30"/>
                      </a:cubicBezTo>
                      <a:cubicBezTo>
                        <a:pt x="76" y="26"/>
                        <a:pt x="74" y="23"/>
                        <a:pt x="71" y="20"/>
                      </a:cubicBezTo>
                      <a:cubicBezTo>
                        <a:pt x="72" y="18"/>
                        <a:pt x="73" y="16"/>
                        <a:pt x="74" y="14"/>
                      </a:cubicBezTo>
                      <a:cubicBezTo>
                        <a:pt x="75" y="13"/>
                        <a:pt x="75" y="12"/>
                        <a:pt x="75" y="12"/>
                      </a:cubicBezTo>
                      <a:cubicBezTo>
                        <a:pt x="75" y="12"/>
                        <a:pt x="75" y="11"/>
                        <a:pt x="75" y="10"/>
                      </a:cubicBezTo>
                      <a:cubicBezTo>
                        <a:pt x="75" y="10"/>
                        <a:pt x="75" y="9"/>
                        <a:pt x="74" y="9"/>
                      </a:cubicBezTo>
                      <a:cubicBezTo>
                        <a:pt x="74" y="9"/>
                        <a:pt x="74" y="9"/>
                        <a:pt x="74" y="8"/>
                      </a:cubicBezTo>
                      <a:cubicBezTo>
                        <a:pt x="73" y="8"/>
                        <a:pt x="73" y="8"/>
                        <a:pt x="72" y="7"/>
                      </a:cubicBezTo>
                      <a:cubicBezTo>
                        <a:pt x="71" y="7"/>
                        <a:pt x="70" y="6"/>
                        <a:pt x="68" y="5"/>
                      </a:cubicBezTo>
                      <a:cubicBezTo>
                        <a:pt x="68" y="5"/>
                        <a:pt x="67" y="4"/>
                        <a:pt x="67" y="4"/>
                      </a:cubicBezTo>
                      <a:cubicBezTo>
                        <a:pt x="67" y="4"/>
                        <a:pt x="66" y="4"/>
                        <a:pt x="66" y="4"/>
                      </a:cubicBezTo>
                      <a:cubicBezTo>
                        <a:pt x="65" y="3"/>
                        <a:pt x="64" y="3"/>
                        <a:pt x="64" y="3"/>
                      </a:cubicBezTo>
                      <a:cubicBezTo>
                        <a:pt x="63" y="2"/>
                        <a:pt x="63" y="2"/>
                        <a:pt x="62" y="2"/>
                      </a:cubicBezTo>
                      <a:cubicBezTo>
                        <a:pt x="62" y="2"/>
                        <a:pt x="62" y="2"/>
                        <a:pt x="62" y="2"/>
                      </a:cubicBezTo>
                      <a:cubicBezTo>
                        <a:pt x="62" y="2"/>
                        <a:pt x="61" y="2"/>
                        <a:pt x="61" y="2"/>
                      </a:cubicBezTo>
                      <a:cubicBezTo>
                        <a:pt x="60" y="2"/>
                        <a:pt x="60" y="2"/>
                        <a:pt x="60" y="2"/>
                      </a:cubicBezTo>
                      <a:cubicBezTo>
                        <a:pt x="59" y="2"/>
                        <a:pt x="59" y="2"/>
                        <a:pt x="59" y="3"/>
                      </a:cubicBezTo>
                      <a:cubicBezTo>
                        <a:pt x="59" y="3"/>
                        <a:pt x="58" y="3"/>
                        <a:pt x="57" y="5"/>
                      </a:cubicBezTo>
                      <a:cubicBezTo>
                        <a:pt x="56" y="6"/>
                        <a:pt x="55" y="8"/>
                        <a:pt x="54" y="10"/>
                      </a:cubicBezTo>
                      <a:cubicBezTo>
                        <a:pt x="50" y="9"/>
                        <a:pt x="46" y="8"/>
                        <a:pt x="42" y="9"/>
                      </a:cubicBezTo>
                      <a:cubicBezTo>
                        <a:pt x="41" y="7"/>
                        <a:pt x="40" y="5"/>
                        <a:pt x="39" y="4"/>
                      </a:cubicBezTo>
                      <a:cubicBezTo>
                        <a:pt x="39" y="2"/>
                        <a:pt x="38" y="1"/>
                        <a:pt x="38" y="1"/>
                      </a:cubicBezTo>
                      <a:cubicBezTo>
                        <a:pt x="38" y="1"/>
                        <a:pt x="38" y="0"/>
                        <a:pt x="37" y="0"/>
                      </a:cubicBezTo>
                      <a:cubicBezTo>
                        <a:pt x="36" y="0"/>
                        <a:pt x="36" y="0"/>
                        <a:pt x="35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35" y="0"/>
                        <a:pt x="35" y="0"/>
                        <a:pt x="34" y="0"/>
                      </a:cubicBezTo>
                      <a:cubicBezTo>
                        <a:pt x="34" y="0"/>
                        <a:pt x="34" y="0"/>
                        <a:pt x="33" y="0"/>
                      </a:cubicBezTo>
                      <a:cubicBezTo>
                        <a:pt x="32" y="1"/>
                        <a:pt x="32" y="1"/>
                        <a:pt x="31" y="1"/>
                      </a:cubicBezTo>
                      <a:cubicBezTo>
                        <a:pt x="30" y="1"/>
                        <a:pt x="29" y="2"/>
                        <a:pt x="28" y="2"/>
                      </a:cubicBezTo>
                      <a:cubicBezTo>
                        <a:pt x="28" y="2"/>
                        <a:pt x="27" y="3"/>
                        <a:pt x="26" y="3"/>
                      </a:cubicBezTo>
                      <a:cubicBezTo>
                        <a:pt x="25" y="3"/>
                        <a:pt x="24" y="4"/>
                        <a:pt x="24" y="4"/>
                      </a:cubicBezTo>
                      <a:cubicBezTo>
                        <a:pt x="23" y="4"/>
                        <a:pt x="23" y="5"/>
                        <a:pt x="22" y="5"/>
                      </a:cubicBezTo>
                      <a:cubicBezTo>
                        <a:pt x="22" y="5"/>
                        <a:pt x="22" y="5"/>
                        <a:pt x="22" y="5"/>
                      </a:cubicBezTo>
                      <a:cubicBezTo>
                        <a:pt x="21" y="5"/>
                        <a:pt x="21" y="6"/>
                        <a:pt x="21" y="6"/>
                      </a:cubicBezTo>
                      <a:cubicBezTo>
                        <a:pt x="20" y="7"/>
                        <a:pt x="20" y="8"/>
                        <a:pt x="20" y="8"/>
                      </a:cubicBezTo>
                      <a:cubicBezTo>
                        <a:pt x="20" y="8"/>
                        <a:pt x="21" y="9"/>
                        <a:pt x="21" y="11"/>
                      </a:cubicBezTo>
                      <a:cubicBezTo>
                        <a:pt x="22" y="12"/>
                        <a:pt x="22" y="14"/>
                        <a:pt x="23" y="16"/>
                      </a:cubicBezTo>
                      <a:cubicBezTo>
                        <a:pt x="22" y="17"/>
                        <a:pt x="20" y="19"/>
                        <a:pt x="19" y="20"/>
                      </a:cubicBezTo>
                      <a:cubicBezTo>
                        <a:pt x="17" y="22"/>
                        <a:pt x="16" y="23"/>
                        <a:pt x="15" y="25"/>
                      </a:cubicBezTo>
                      <a:cubicBezTo>
                        <a:pt x="13" y="25"/>
                        <a:pt x="11" y="24"/>
                        <a:pt x="9" y="24"/>
                      </a:cubicBezTo>
                      <a:cubicBezTo>
                        <a:pt x="8" y="23"/>
                        <a:pt x="7" y="23"/>
                        <a:pt x="7" y="23"/>
                      </a:cubicBezTo>
                      <a:cubicBezTo>
                        <a:pt x="6" y="23"/>
                        <a:pt x="6" y="23"/>
                        <a:pt x="5" y="23"/>
                      </a:cubicBezTo>
                      <a:close/>
                      <a:moveTo>
                        <a:pt x="28" y="28"/>
                      </a:moveTo>
                      <a:cubicBezTo>
                        <a:pt x="37" y="18"/>
                        <a:pt x="53" y="18"/>
                        <a:pt x="63" y="27"/>
                      </a:cubicBezTo>
                      <a:cubicBezTo>
                        <a:pt x="73" y="36"/>
                        <a:pt x="74" y="52"/>
                        <a:pt x="64" y="62"/>
                      </a:cubicBezTo>
                      <a:cubicBezTo>
                        <a:pt x="55" y="73"/>
                        <a:pt x="39" y="73"/>
                        <a:pt x="29" y="64"/>
                      </a:cubicBezTo>
                      <a:cubicBezTo>
                        <a:pt x="19" y="54"/>
                        <a:pt x="18" y="39"/>
                        <a:pt x="28" y="2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21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PH" sz="1795" b="0" i="0" u="none" strike="noStrike" kern="0" cap="none" spc="0" normalizeH="0" baseline="0" noProof="0">
                    <a:ln>
                      <a:noFill/>
                    </a:ln>
                    <a:solidFill>
                      <a:srgbClr val="1D1D1D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5" name="Freeform">
                  <a:extLst>
                    <a:ext uri="{FF2B5EF4-FFF2-40B4-BE49-F238E27FC236}">
                      <a16:creationId xmlns:a16="http://schemas.microsoft.com/office/drawing/2014/main" id="{360543D7-2D9D-465C-94E0-7738B4309F09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5291657" y="-782654"/>
                  <a:ext cx="193410" cy="190627"/>
                </a:xfrm>
                <a:custGeom>
                  <a:avLst/>
                  <a:gdLst>
                    <a:gd name="T0" fmla="*/ 6 w 132"/>
                    <a:gd name="T1" fmla="*/ 36 h 130"/>
                    <a:gd name="T2" fmla="*/ 3 w 132"/>
                    <a:gd name="T3" fmla="*/ 45 h 130"/>
                    <a:gd name="T4" fmla="*/ 1 w 132"/>
                    <a:gd name="T5" fmla="*/ 54 h 130"/>
                    <a:gd name="T6" fmla="*/ 1 w 132"/>
                    <a:gd name="T7" fmla="*/ 58 h 130"/>
                    <a:gd name="T8" fmla="*/ 14 w 132"/>
                    <a:gd name="T9" fmla="*/ 63 h 130"/>
                    <a:gd name="T10" fmla="*/ 7 w 132"/>
                    <a:gd name="T11" fmla="*/ 88 h 130"/>
                    <a:gd name="T12" fmla="*/ 6 w 132"/>
                    <a:gd name="T13" fmla="*/ 93 h 130"/>
                    <a:gd name="T14" fmla="*/ 9 w 132"/>
                    <a:gd name="T15" fmla="*/ 98 h 130"/>
                    <a:gd name="T16" fmla="*/ 16 w 132"/>
                    <a:gd name="T17" fmla="*/ 107 h 130"/>
                    <a:gd name="T18" fmla="*/ 20 w 132"/>
                    <a:gd name="T19" fmla="*/ 111 h 130"/>
                    <a:gd name="T20" fmla="*/ 33 w 132"/>
                    <a:gd name="T21" fmla="*/ 104 h 130"/>
                    <a:gd name="T22" fmla="*/ 48 w 132"/>
                    <a:gd name="T23" fmla="*/ 125 h 130"/>
                    <a:gd name="T24" fmla="*/ 51 w 132"/>
                    <a:gd name="T25" fmla="*/ 128 h 130"/>
                    <a:gd name="T26" fmla="*/ 56 w 132"/>
                    <a:gd name="T27" fmla="*/ 129 h 130"/>
                    <a:gd name="T28" fmla="*/ 61 w 132"/>
                    <a:gd name="T29" fmla="*/ 130 h 130"/>
                    <a:gd name="T30" fmla="*/ 70 w 132"/>
                    <a:gd name="T31" fmla="*/ 130 h 130"/>
                    <a:gd name="T32" fmla="*/ 75 w 132"/>
                    <a:gd name="T33" fmla="*/ 123 h 130"/>
                    <a:gd name="T34" fmla="*/ 93 w 132"/>
                    <a:gd name="T35" fmla="*/ 108 h 130"/>
                    <a:gd name="T36" fmla="*/ 102 w 132"/>
                    <a:gd name="T37" fmla="*/ 116 h 130"/>
                    <a:gd name="T38" fmla="*/ 109 w 132"/>
                    <a:gd name="T39" fmla="*/ 114 h 130"/>
                    <a:gd name="T40" fmla="*/ 117 w 132"/>
                    <a:gd name="T41" fmla="*/ 106 h 130"/>
                    <a:gd name="T42" fmla="*/ 121 w 132"/>
                    <a:gd name="T43" fmla="*/ 98 h 130"/>
                    <a:gd name="T44" fmla="*/ 115 w 132"/>
                    <a:gd name="T45" fmla="*/ 90 h 130"/>
                    <a:gd name="T46" fmla="*/ 121 w 132"/>
                    <a:gd name="T47" fmla="*/ 70 h 130"/>
                    <a:gd name="T48" fmla="*/ 132 w 132"/>
                    <a:gd name="T49" fmla="*/ 64 h 130"/>
                    <a:gd name="T50" fmla="*/ 131 w 132"/>
                    <a:gd name="T51" fmla="*/ 58 h 130"/>
                    <a:gd name="T52" fmla="*/ 130 w 132"/>
                    <a:gd name="T53" fmla="*/ 51 h 130"/>
                    <a:gd name="T54" fmla="*/ 129 w 132"/>
                    <a:gd name="T55" fmla="*/ 45 h 130"/>
                    <a:gd name="T56" fmla="*/ 127 w 132"/>
                    <a:gd name="T57" fmla="*/ 42 h 130"/>
                    <a:gd name="T58" fmla="*/ 113 w 132"/>
                    <a:gd name="T59" fmla="*/ 43 h 130"/>
                    <a:gd name="T60" fmla="*/ 108 w 132"/>
                    <a:gd name="T61" fmla="*/ 17 h 130"/>
                    <a:gd name="T62" fmla="*/ 106 w 132"/>
                    <a:gd name="T63" fmla="*/ 12 h 130"/>
                    <a:gd name="T64" fmla="*/ 97 w 132"/>
                    <a:gd name="T65" fmla="*/ 6 h 130"/>
                    <a:gd name="T66" fmla="*/ 90 w 132"/>
                    <a:gd name="T67" fmla="*/ 3 h 130"/>
                    <a:gd name="T68" fmla="*/ 87 w 132"/>
                    <a:gd name="T69" fmla="*/ 2 h 130"/>
                    <a:gd name="T70" fmla="*/ 78 w 132"/>
                    <a:gd name="T71" fmla="*/ 14 h 130"/>
                    <a:gd name="T72" fmla="*/ 56 w 132"/>
                    <a:gd name="T73" fmla="*/ 2 h 130"/>
                    <a:gd name="T74" fmla="*/ 51 w 132"/>
                    <a:gd name="T75" fmla="*/ 0 h 130"/>
                    <a:gd name="T76" fmla="*/ 45 w 132"/>
                    <a:gd name="T77" fmla="*/ 2 h 130"/>
                    <a:gd name="T78" fmla="*/ 35 w 132"/>
                    <a:gd name="T79" fmla="*/ 6 h 130"/>
                    <a:gd name="T80" fmla="*/ 30 w 132"/>
                    <a:gd name="T81" fmla="*/ 9 h 130"/>
                    <a:gd name="T82" fmla="*/ 34 w 132"/>
                    <a:gd name="T83" fmla="*/ 23 h 130"/>
                    <a:gd name="T84" fmla="*/ 14 w 132"/>
                    <a:gd name="T85" fmla="*/ 34 h 130"/>
                    <a:gd name="T86" fmla="*/ 40 w 132"/>
                    <a:gd name="T87" fmla="*/ 41 h 130"/>
                    <a:gd name="T88" fmla="*/ 42 w 132"/>
                    <a:gd name="T89" fmla="*/ 91 h 1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32" h="130">
                      <a:moveTo>
                        <a:pt x="8" y="33"/>
                      </a:moveTo>
                      <a:cubicBezTo>
                        <a:pt x="8" y="34"/>
                        <a:pt x="7" y="35"/>
                        <a:pt x="6" y="36"/>
                      </a:cubicBezTo>
                      <a:cubicBezTo>
                        <a:pt x="6" y="36"/>
                        <a:pt x="6" y="36"/>
                        <a:pt x="6" y="36"/>
                      </a:cubicBezTo>
                      <a:cubicBezTo>
                        <a:pt x="6" y="37"/>
                        <a:pt x="5" y="38"/>
                        <a:pt x="5" y="38"/>
                      </a:cubicBezTo>
                      <a:cubicBezTo>
                        <a:pt x="5" y="39"/>
                        <a:pt x="4" y="40"/>
                        <a:pt x="4" y="41"/>
                      </a:cubicBezTo>
                      <a:cubicBezTo>
                        <a:pt x="4" y="42"/>
                        <a:pt x="3" y="44"/>
                        <a:pt x="3" y="45"/>
                      </a:cubicBezTo>
                      <a:cubicBezTo>
                        <a:pt x="2" y="46"/>
                        <a:pt x="2" y="47"/>
                        <a:pt x="2" y="48"/>
                      </a:cubicBezTo>
                      <a:cubicBezTo>
                        <a:pt x="1" y="50"/>
                        <a:pt x="1" y="51"/>
                        <a:pt x="1" y="52"/>
                      </a:cubicBezTo>
                      <a:cubicBezTo>
                        <a:pt x="1" y="53"/>
                        <a:pt x="1" y="53"/>
                        <a:pt x="1" y="54"/>
                      </a:cubicBezTo>
                      <a:cubicBezTo>
                        <a:pt x="1" y="54"/>
                        <a:pt x="1" y="54"/>
                        <a:pt x="1" y="54"/>
                      </a:cubicBezTo>
                      <a:cubicBezTo>
                        <a:pt x="1" y="55"/>
                        <a:pt x="1" y="55"/>
                        <a:pt x="1" y="55"/>
                      </a:cubicBezTo>
                      <a:cubicBezTo>
                        <a:pt x="0" y="56"/>
                        <a:pt x="1" y="57"/>
                        <a:pt x="1" y="58"/>
                      </a:cubicBezTo>
                      <a:cubicBezTo>
                        <a:pt x="1" y="58"/>
                        <a:pt x="2" y="59"/>
                        <a:pt x="3" y="59"/>
                      </a:cubicBezTo>
                      <a:cubicBezTo>
                        <a:pt x="3" y="59"/>
                        <a:pt x="4" y="60"/>
                        <a:pt x="6" y="60"/>
                      </a:cubicBezTo>
                      <a:cubicBezTo>
                        <a:pt x="8" y="61"/>
                        <a:pt x="11" y="62"/>
                        <a:pt x="14" y="63"/>
                      </a:cubicBezTo>
                      <a:cubicBezTo>
                        <a:pt x="14" y="69"/>
                        <a:pt x="15" y="75"/>
                        <a:pt x="17" y="81"/>
                      </a:cubicBezTo>
                      <a:cubicBezTo>
                        <a:pt x="14" y="82"/>
                        <a:pt x="12" y="84"/>
                        <a:pt x="10" y="85"/>
                      </a:cubicBezTo>
                      <a:cubicBezTo>
                        <a:pt x="8" y="87"/>
                        <a:pt x="7" y="88"/>
                        <a:pt x="7" y="88"/>
                      </a:cubicBezTo>
                      <a:cubicBezTo>
                        <a:pt x="6" y="88"/>
                        <a:pt x="6" y="89"/>
                        <a:pt x="6" y="90"/>
                      </a:cubicBezTo>
                      <a:cubicBezTo>
                        <a:pt x="6" y="90"/>
                        <a:pt x="6" y="91"/>
                        <a:pt x="6" y="91"/>
                      </a:cubicBezTo>
                      <a:cubicBezTo>
                        <a:pt x="6" y="92"/>
                        <a:pt x="6" y="92"/>
                        <a:pt x="6" y="93"/>
                      </a:cubicBezTo>
                      <a:cubicBezTo>
                        <a:pt x="6" y="93"/>
                        <a:pt x="7" y="93"/>
                        <a:pt x="7" y="93"/>
                      </a:cubicBezTo>
                      <a:cubicBezTo>
                        <a:pt x="7" y="94"/>
                        <a:pt x="7" y="95"/>
                        <a:pt x="8" y="95"/>
                      </a:cubicBezTo>
                      <a:cubicBezTo>
                        <a:pt x="8" y="96"/>
                        <a:pt x="9" y="97"/>
                        <a:pt x="9" y="98"/>
                      </a:cubicBezTo>
                      <a:cubicBezTo>
                        <a:pt x="10" y="99"/>
                        <a:pt x="10" y="99"/>
                        <a:pt x="10" y="100"/>
                      </a:cubicBezTo>
                      <a:cubicBezTo>
                        <a:pt x="11" y="100"/>
                        <a:pt x="11" y="101"/>
                        <a:pt x="11" y="101"/>
                      </a:cubicBezTo>
                      <a:cubicBezTo>
                        <a:pt x="13" y="103"/>
                        <a:pt x="14" y="105"/>
                        <a:pt x="16" y="107"/>
                      </a:cubicBezTo>
                      <a:cubicBezTo>
                        <a:pt x="16" y="108"/>
                        <a:pt x="17" y="108"/>
                        <a:pt x="17" y="109"/>
                      </a:cubicBezTo>
                      <a:cubicBezTo>
                        <a:pt x="18" y="109"/>
                        <a:pt x="18" y="109"/>
                        <a:pt x="18" y="109"/>
                      </a:cubicBezTo>
                      <a:cubicBezTo>
                        <a:pt x="18" y="110"/>
                        <a:pt x="19" y="111"/>
                        <a:pt x="20" y="111"/>
                      </a:cubicBezTo>
                      <a:cubicBezTo>
                        <a:pt x="21" y="111"/>
                        <a:pt x="22" y="111"/>
                        <a:pt x="22" y="110"/>
                      </a:cubicBezTo>
                      <a:cubicBezTo>
                        <a:pt x="22" y="110"/>
                        <a:pt x="24" y="110"/>
                        <a:pt x="26" y="108"/>
                      </a:cubicBezTo>
                      <a:cubicBezTo>
                        <a:pt x="28" y="107"/>
                        <a:pt x="30" y="106"/>
                        <a:pt x="33" y="104"/>
                      </a:cubicBezTo>
                      <a:cubicBezTo>
                        <a:pt x="37" y="108"/>
                        <a:pt x="43" y="111"/>
                        <a:pt x="48" y="113"/>
                      </a:cubicBezTo>
                      <a:cubicBezTo>
                        <a:pt x="48" y="116"/>
                        <a:pt x="48" y="119"/>
                        <a:pt x="48" y="121"/>
                      </a:cubicBezTo>
                      <a:cubicBezTo>
                        <a:pt x="48" y="123"/>
                        <a:pt x="48" y="125"/>
                        <a:pt x="48" y="125"/>
                      </a:cubicBezTo>
                      <a:cubicBezTo>
                        <a:pt x="48" y="126"/>
                        <a:pt x="48" y="126"/>
                        <a:pt x="49" y="127"/>
                      </a:cubicBezTo>
                      <a:cubicBezTo>
                        <a:pt x="49" y="127"/>
                        <a:pt x="49" y="128"/>
                        <a:pt x="50" y="128"/>
                      </a:cubicBezTo>
                      <a:cubicBezTo>
                        <a:pt x="50" y="128"/>
                        <a:pt x="51" y="128"/>
                        <a:pt x="51" y="128"/>
                      </a:cubicBezTo>
                      <a:cubicBezTo>
                        <a:pt x="51" y="128"/>
                        <a:pt x="51" y="128"/>
                        <a:pt x="52" y="129"/>
                      </a:cubicBezTo>
                      <a:cubicBezTo>
                        <a:pt x="52" y="129"/>
                        <a:pt x="53" y="129"/>
                        <a:pt x="54" y="129"/>
                      </a:cubicBezTo>
                      <a:cubicBezTo>
                        <a:pt x="55" y="129"/>
                        <a:pt x="55" y="129"/>
                        <a:pt x="56" y="129"/>
                      </a:cubicBezTo>
                      <a:cubicBezTo>
                        <a:pt x="56" y="129"/>
                        <a:pt x="57" y="129"/>
                        <a:pt x="57" y="129"/>
                      </a:cubicBezTo>
                      <a:cubicBezTo>
                        <a:pt x="58" y="130"/>
                        <a:pt x="59" y="130"/>
                        <a:pt x="59" y="130"/>
                      </a:cubicBezTo>
                      <a:cubicBezTo>
                        <a:pt x="60" y="130"/>
                        <a:pt x="60" y="130"/>
                        <a:pt x="61" y="130"/>
                      </a:cubicBezTo>
                      <a:cubicBezTo>
                        <a:pt x="62" y="130"/>
                        <a:pt x="64" y="130"/>
                        <a:pt x="65" y="130"/>
                      </a:cubicBezTo>
                      <a:cubicBezTo>
                        <a:pt x="66" y="130"/>
                        <a:pt x="67" y="130"/>
                        <a:pt x="68" y="130"/>
                      </a:cubicBezTo>
                      <a:cubicBezTo>
                        <a:pt x="69" y="130"/>
                        <a:pt x="70" y="130"/>
                        <a:pt x="70" y="130"/>
                      </a:cubicBezTo>
                      <a:cubicBezTo>
                        <a:pt x="71" y="130"/>
                        <a:pt x="71" y="130"/>
                        <a:pt x="71" y="130"/>
                      </a:cubicBezTo>
                      <a:cubicBezTo>
                        <a:pt x="73" y="130"/>
                        <a:pt x="75" y="128"/>
                        <a:pt x="75" y="127"/>
                      </a:cubicBezTo>
                      <a:cubicBezTo>
                        <a:pt x="75" y="127"/>
                        <a:pt x="75" y="125"/>
                        <a:pt x="75" y="123"/>
                      </a:cubicBezTo>
                      <a:cubicBezTo>
                        <a:pt x="76" y="122"/>
                        <a:pt x="76" y="120"/>
                        <a:pt x="76" y="119"/>
                      </a:cubicBezTo>
                      <a:cubicBezTo>
                        <a:pt x="76" y="118"/>
                        <a:pt x="76" y="116"/>
                        <a:pt x="76" y="115"/>
                      </a:cubicBezTo>
                      <a:cubicBezTo>
                        <a:pt x="82" y="114"/>
                        <a:pt x="88" y="111"/>
                        <a:pt x="93" y="108"/>
                      </a:cubicBezTo>
                      <a:cubicBezTo>
                        <a:pt x="94" y="109"/>
                        <a:pt x="95" y="110"/>
                        <a:pt x="96" y="111"/>
                      </a:cubicBezTo>
                      <a:cubicBezTo>
                        <a:pt x="97" y="112"/>
                        <a:pt x="98" y="113"/>
                        <a:pt x="99" y="114"/>
                      </a:cubicBezTo>
                      <a:cubicBezTo>
                        <a:pt x="101" y="115"/>
                        <a:pt x="102" y="116"/>
                        <a:pt x="102" y="116"/>
                      </a:cubicBezTo>
                      <a:cubicBezTo>
                        <a:pt x="102" y="117"/>
                        <a:pt x="103" y="117"/>
                        <a:pt x="104" y="117"/>
                      </a:cubicBezTo>
                      <a:cubicBezTo>
                        <a:pt x="105" y="117"/>
                        <a:pt x="106" y="116"/>
                        <a:pt x="107" y="116"/>
                      </a:cubicBezTo>
                      <a:cubicBezTo>
                        <a:pt x="107" y="116"/>
                        <a:pt x="108" y="115"/>
                        <a:pt x="109" y="114"/>
                      </a:cubicBezTo>
                      <a:cubicBezTo>
                        <a:pt x="110" y="113"/>
                        <a:pt x="111" y="112"/>
                        <a:pt x="112" y="111"/>
                      </a:cubicBezTo>
                      <a:cubicBezTo>
                        <a:pt x="112" y="111"/>
                        <a:pt x="113" y="110"/>
                        <a:pt x="114" y="109"/>
                      </a:cubicBezTo>
                      <a:cubicBezTo>
                        <a:pt x="115" y="108"/>
                        <a:pt x="116" y="107"/>
                        <a:pt x="117" y="106"/>
                      </a:cubicBezTo>
                      <a:cubicBezTo>
                        <a:pt x="117" y="105"/>
                        <a:pt x="118" y="104"/>
                        <a:pt x="119" y="104"/>
                      </a:cubicBezTo>
                      <a:cubicBezTo>
                        <a:pt x="120" y="102"/>
                        <a:pt x="120" y="101"/>
                        <a:pt x="120" y="101"/>
                      </a:cubicBezTo>
                      <a:cubicBezTo>
                        <a:pt x="121" y="100"/>
                        <a:pt x="121" y="99"/>
                        <a:pt x="121" y="98"/>
                      </a:cubicBezTo>
                      <a:cubicBezTo>
                        <a:pt x="121" y="97"/>
                        <a:pt x="121" y="97"/>
                        <a:pt x="120" y="96"/>
                      </a:cubicBezTo>
                      <a:cubicBezTo>
                        <a:pt x="120" y="96"/>
                        <a:pt x="119" y="95"/>
                        <a:pt x="118" y="93"/>
                      </a:cubicBezTo>
                      <a:cubicBezTo>
                        <a:pt x="117" y="92"/>
                        <a:pt x="116" y="91"/>
                        <a:pt x="115" y="90"/>
                      </a:cubicBezTo>
                      <a:cubicBezTo>
                        <a:pt x="114" y="90"/>
                        <a:pt x="113" y="89"/>
                        <a:pt x="112" y="88"/>
                      </a:cubicBezTo>
                      <a:cubicBezTo>
                        <a:pt x="115" y="82"/>
                        <a:pt x="116" y="76"/>
                        <a:pt x="117" y="71"/>
                      </a:cubicBezTo>
                      <a:cubicBezTo>
                        <a:pt x="118" y="70"/>
                        <a:pt x="120" y="70"/>
                        <a:pt x="121" y="70"/>
                      </a:cubicBezTo>
                      <a:cubicBezTo>
                        <a:pt x="123" y="70"/>
                        <a:pt x="124" y="69"/>
                        <a:pt x="125" y="69"/>
                      </a:cubicBezTo>
                      <a:cubicBezTo>
                        <a:pt x="127" y="69"/>
                        <a:pt x="129" y="68"/>
                        <a:pt x="129" y="68"/>
                      </a:cubicBezTo>
                      <a:cubicBezTo>
                        <a:pt x="130" y="68"/>
                        <a:pt x="132" y="66"/>
                        <a:pt x="132" y="64"/>
                      </a:cubicBezTo>
                      <a:cubicBezTo>
                        <a:pt x="132" y="64"/>
                        <a:pt x="132" y="64"/>
                        <a:pt x="132" y="63"/>
                      </a:cubicBezTo>
                      <a:cubicBezTo>
                        <a:pt x="132" y="63"/>
                        <a:pt x="132" y="62"/>
                        <a:pt x="132" y="61"/>
                      </a:cubicBezTo>
                      <a:cubicBezTo>
                        <a:pt x="131" y="60"/>
                        <a:pt x="131" y="59"/>
                        <a:pt x="131" y="58"/>
                      </a:cubicBezTo>
                      <a:cubicBezTo>
                        <a:pt x="131" y="57"/>
                        <a:pt x="131" y="55"/>
                        <a:pt x="131" y="54"/>
                      </a:cubicBezTo>
                      <a:cubicBezTo>
                        <a:pt x="131" y="54"/>
                        <a:pt x="131" y="53"/>
                        <a:pt x="131" y="52"/>
                      </a:cubicBezTo>
                      <a:cubicBezTo>
                        <a:pt x="130" y="52"/>
                        <a:pt x="130" y="51"/>
                        <a:pt x="130" y="51"/>
                      </a:cubicBezTo>
                      <a:cubicBezTo>
                        <a:pt x="130" y="50"/>
                        <a:pt x="130" y="49"/>
                        <a:pt x="130" y="49"/>
                      </a:cubicBezTo>
                      <a:cubicBezTo>
                        <a:pt x="130" y="48"/>
                        <a:pt x="130" y="48"/>
                        <a:pt x="129" y="47"/>
                      </a:cubicBezTo>
                      <a:cubicBezTo>
                        <a:pt x="129" y="46"/>
                        <a:pt x="129" y="46"/>
                        <a:pt x="129" y="45"/>
                      </a:cubicBezTo>
                      <a:cubicBezTo>
                        <a:pt x="129" y="45"/>
                        <a:pt x="129" y="44"/>
                        <a:pt x="129" y="44"/>
                      </a:cubicBezTo>
                      <a:cubicBezTo>
                        <a:pt x="128" y="44"/>
                        <a:pt x="128" y="43"/>
                        <a:pt x="128" y="43"/>
                      </a:cubicBezTo>
                      <a:cubicBezTo>
                        <a:pt x="128" y="43"/>
                        <a:pt x="127" y="42"/>
                        <a:pt x="127" y="42"/>
                      </a:cubicBezTo>
                      <a:cubicBezTo>
                        <a:pt x="126" y="41"/>
                        <a:pt x="126" y="41"/>
                        <a:pt x="125" y="41"/>
                      </a:cubicBezTo>
                      <a:cubicBezTo>
                        <a:pt x="125" y="41"/>
                        <a:pt x="123" y="41"/>
                        <a:pt x="121" y="42"/>
                      </a:cubicBezTo>
                      <a:cubicBezTo>
                        <a:pt x="119" y="42"/>
                        <a:pt x="116" y="42"/>
                        <a:pt x="113" y="43"/>
                      </a:cubicBezTo>
                      <a:cubicBezTo>
                        <a:pt x="110" y="37"/>
                        <a:pt x="107" y="32"/>
                        <a:pt x="103" y="28"/>
                      </a:cubicBezTo>
                      <a:cubicBezTo>
                        <a:pt x="104" y="25"/>
                        <a:pt x="106" y="23"/>
                        <a:pt x="107" y="21"/>
                      </a:cubicBezTo>
                      <a:cubicBezTo>
                        <a:pt x="108" y="19"/>
                        <a:pt x="108" y="17"/>
                        <a:pt x="108" y="17"/>
                      </a:cubicBezTo>
                      <a:cubicBezTo>
                        <a:pt x="109" y="17"/>
                        <a:pt x="109" y="16"/>
                        <a:pt x="109" y="15"/>
                      </a:cubicBezTo>
                      <a:cubicBezTo>
                        <a:pt x="108" y="14"/>
                        <a:pt x="108" y="13"/>
                        <a:pt x="107" y="13"/>
                      </a:cubicBezTo>
                      <a:cubicBezTo>
                        <a:pt x="107" y="13"/>
                        <a:pt x="107" y="13"/>
                        <a:pt x="106" y="12"/>
                      </a:cubicBezTo>
                      <a:cubicBezTo>
                        <a:pt x="106" y="12"/>
                        <a:pt x="105" y="11"/>
                        <a:pt x="104" y="11"/>
                      </a:cubicBezTo>
                      <a:cubicBezTo>
                        <a:pt x="103" y="10"/>
                        <a:pt x="101" y="8"/>
                        <a:pt x="99" y="7"/>
                      </a:cubicBezTo>
                      <a:cubicBezTo>
                        <a:pt x="98" y="7"/>
                        <a:pt x="97" y="6"/>
                        <a:pt x="97" y="6"/>
                      </a:cubicBezTo>
                      <a:cubicBezTo>
                        <a:pt x="96" y="6"/>
                        <a:pt x="96" y="6"/>
                        <a:pt x="95" y="5"/>
                      </a:cubicBezTo>
                      <a:cubicBezTo>
                        <a:pt x="94" y="5"/>
                        <a:pt x="93" y="4"/>
                        <a:pt x="92" y="4"/>
                      </a:cubicBezTo>
                      <a:cubicBezTo>
                        <a:pt x="92" y="4"/>
                        <a:pt x="91" y="3"/>
                        <a:pt x="90" y="3"/>
                      </a:cubicBezTo>
                      <a:cubicBezTo>
                        <a:pt x="90" y="3"/>
                        <a:pt x="89" y="3"/>
                        <a:pt x="89" y="3"/>
                      </a:cubicBezTo>
                      <a:cubicBezTo>
                        <a:pt x="89" y="2"/>
                        <a:pt x="88" y="2"/>
                        <a:pt x="88" y="2"/>
                      </a:cubicBezTo>
                      <a:cubicBezTo>
                        <a:pt x="87" y="2"/>
                        <a:pt x="87" y="2"/>
                        <a:pt x="87" y="2"/>
                      </a:cubicBezTo>
                      <a:cubicBezTo>
                        <a:pt x="86" y="3"/>
                        <a:pt x="85" y="3"/>
                        <a:pt x="85" y="4"/>
                      </a:cubicBezTo>
                      <a:cubicBezTo>
                        <a:pt x="85" y="4"/>
                        <a:pt x="84" y="5"/>
                        <a:pt x="83" y="7"/>
                      </a:cubicBezTo>
                      <a:cubicBezTo>
                        <a:pt x="81" y="9"/>
                        <a:pt x="80" y="11"/>
                        <a:pt x="78" y="14"/>
                      </a:cubicBezTo>
                      <a:cubicBezTo>
                        <a:pt x="72" y="13"/>
                        <a:pt x="66" y="12"/>
                        <a:pt x="61" y="13"/>
                      </a:cubicBezTo>
                      <a:cubicBezTo>
                        <a:pt x="59" y="10"/>
                        <a:pt x="58" y="7"/>
                        <a:pt x="57" y="5"/>
                      </a:cubicBezTo>
                      <a:cubicBezTo>
                        <a:pt x="56" y="3"/>
                        <a:pt x="56" y="2"/>
                        <a:pt x="56" y="2"/>
                      </a:cubicBezTo>
                      <a:cubicBezTo>
                        <a:pt x="55" y="1"/>
                        <a:pt x="55" y="0"/>
                        <a:pt x="54" y="0"/>
                      </a:cubicBezTo>
                      <a:cubicBezTo>
                        <a:pt x="53" y="0"/>
                        <a:pt x="52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0" y="0"/>
                      </a:cubicBezTo>
                      <a:cubicBezTo>
                        <a:pt x="50" y="0"/>
                        <a:pt x="49" y="0"/>
                        <a:pt x="48" y="1"/>
                      </a:cubicBezTo>
                      <a:cubicBezTo>
                        <a:pt x="47" y="1"/>
                        <a:pt x="46" y="1"/>
                        <a:pt x="45" y="2"/>
                      </a:cubicBezTo>
                      <a:cubicBezTo>
                        <a:pt x="44" y="2"/>
                        <a:pt x="43" y="2"/>
                        <a:pt x="42" y="3"/>
                      </a:cubicBezTo>
                      <a:cubicBezTo>
                        <a:pt x="40" y="3"/>
                        <a:pt x="39" y="4"/>
                        <a:pt x="38" y="4"/>
                      </a:cubicBezTo>
                      <a:cubicBezTo>
                        <a:pt x="37" y="5"/>
                        <a:pt x="36" y="5"/>
                        <a:pt x="35" y="6"/>
                      </a:cubicBezTo>
                      <a:cubicBezTo>
                        <a:pt x="34" y="6"/>
                        <a:pt x="34" y="7"/>
                        <a:pt x="33" y="7"/>
                      </a:cubicBezTo>
                      <a:cubicBezTo>
                        <a:pt x="33" y="7"/>
                        <a:pt x="32" y="7"/>
                        <a:pt x="32" y="7"/>
                      </a:cubicBezTo>
                      <a:cubicBezTo>
                        <a:pt x="32" y="8"/>
                        <a:pt x="31" y="9"/>
                        <a:pt x="30" y="9"/>
                      </a:cubicBezTo>
                      <a:cubicBezTo>
                        <a:pt x="30" y="10"/>
                        <a:pt x="30" y="11"/>
                        <a:pt x="30" y="12"/>
                      </a:cubicBezTo>
                      <a:cubicBezTo>
                        <a:pt x="30" y="12"/>
                        <a:pt x="31" y="13"/>
                        <a:pt x="31" y="15"/>
                      </a:cubicBezTo>
                      <a:cubicBezTo>
                        <a:pt x="32" y="17"/>
                        <a:pt x="33" y="20"/>
                        <a:pt x="34" y="23"/>
                      </a:cubicBezTo>
                      <a:cubicBezTo>
                        <a:pt x="32" y="25"/>
                        <a:pt x="30" y="27"/>
                        <a:pt x="28" y="29"/>
                      </a:cubicBezTo>
                      <a:cubicBezTo>
                        <a:pt x="26" y="31"/>
                        <a:pt x="24" y="34"/>
                        <a:pt x="22" y="36"/>
                      </a:cubicBezTo>
                      <a:cubicBezTo>
                        <a:pt x="19" y="35"/>
                        <a:pt x="17" y="34"/>
                        <a:pt x="14" y="34"/>
                      </a:cubicBezTo>
                      <a:cubicBezTo>
                        <a:pt x="12" y="33"/>
                        <a:pt x="11" y="33"/>
                        <a:pt x="11" y="33"/>
                      </a:cubicBezTo>
                      <a:cubicBezTo>
                        <a:pt x="10" y="33"/>
                        <a:pt x="9" y="33"/>
                        <a:pt x="8" y="33"/>
                      </a:cubicBezTo>
                      <a:close/>
                      <a:moveTo>
                        <a:pt x="40" y="41"/>
                      </a:moveTo>
                      <a:cubicBezTo>
                        <a:pt x="54" y="26"/>
                        <a:pt x="76" y="25"/>
                        <a:pt x="91" y="39"/>
                      </a:cubicBezTo>
                      <a:cubicBezTo>
                        <a:pt x="105" y="52"/>
                        <a:pt x="106" y="75"/>
                        <a:pt x="93" y="89"/>
                      </a:cubicBezTo>
                      <a:cubicBezTo>
                        <a:pt x="80" y="104"/>
                        <a:pt x="57" y="105"/>
                        <a:pt x="42" y="91"/>
                      </a:cubicBezTo>
                      <a:cubicBezTo>
                        <a:pt x="28" y="78"/>
                        <a:pt x="27" y="55"/>
                        <a:pt x="40" y="4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21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PH" sz="1795" b="0" i="0" u="none" strike="noStrike" kern="0" cap="none" spc="0" normalizeH="0" baseline="0" noProof="0">
                    <a:ln>
                      <a:noFill/>
                    </a:ln>
                    <a:solidFill>
                      <a:srgbClr val="1D1D1D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129" name="1_Wer wir sind">
              <a:extLst>
                <a:ext uri="{FF2B5EF4-FFF2-40B4-BE49-F238E27FC236}">
                  <a16:creationId xmlns:a16="http://schemas.microsoft.com/office/drawing/2014/main" id="{6F8EA622-E4BE-414D-A21D-F9C93CE2B6C5}"/>
                </a:ext>
              </a:extLst>
            </p:cNvPr>
            <p:cNvGrpSpPr/>
            <p:nvPr/>
          </p:nvGrpSpPr>
          <p:grpSpPr>
            <a:xfrm>
              <a:off x="457599" y="4548932"/>
              <a:ext cx="3090756" cy="1356324"/>
              <a:chOff x="457599" y="4548932"/>
              <a:chExt cx="3090756" cy="1356324"/>
            </a:xfrm>
          </p:grpSpPr>
          <p:sp>
            <p:nvSpPr>
              <p:cNvPr id="130" name="1_Box">
                <a:extLst>
                  <a:ext uri="{FF2B5EF4-FFF2-40B4-BE49-F238E27FC236}">
                    <a16:creationId xmlns:a16="http://schemas.microsoft.com/office/drawing/2014/main" id="{A37374F2-6D73-4B48-B233-5816848869B6}"/>
                  </a:ext>
                </a:extLst>
              </p:cNvPr>
              <p:cNvSpPr/>
              <p:nvPr/>
            </p:nvSpPr>
            <p:spPr>
              <a:xfrm>
                <a:off x="457599" y="4548932"/>
                <a:ext cx="3090756" cy="1356324"/>
              </a:xfrm>
              <a:custGeom>
                <a:avLst/>
                <a:gdLst/>
                <a:ahLst/>
                <a:cxnLst/>
                <a:rect l="l" t="t" r="r" b="b"/>
                <a:pathLst>
                  <a:path w="2268220" h="1080135">
                    <a:moveTo>
                      <a:pt x="0" y="1079995"/>
                    </a:moveTo>
                    <a:lnTo>
                      <a:pt x="2268004" y="1079995"/>
                    </a:lnTo>
                    <a:lnTo>
                      <a:pt x="2268004" y="0"/>
                    </a:lnTo>
                    <a:lnTo>
                      <a:pt x="0" y="0"/>
                    </a:lnTo>
                    <a:lnTo>
                      <a:pt x="0" y="1079995"/>
                    </a:lnTo>
                    <a:close/>
                  </a:path>
                </a:pathLst>
              </a:custGeom>
              <a:solidFill>
                <a:schemeClr val="tx1">
                  <a:alpha val="80000"/>
                </a:schemeClr>
              </a:solidFill>
            </p:spPr>
            <p:txBody>
              <a:bodyPr wrap="square" lIns="0" tIns="0" rIns="0" bIns="0" rtlCol="0"/>
              <a:lstStyle/>
              <a:p>
                <a:pPr marL="0" marR="0" lvl="0" indent="0" algn="l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795" b="0" i="0" u="none" strike="noStrike" kern="0" cap="none" spc="0" normalizeH="0" baseline="0" noProof="0">
                  <a:ln>
                    <a:noFill/>
                  </a:ln>
                  <a:solidFill>
                    <a:srgbClr val="1D1D1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1" name="1_Text">
                <a:extLst>
                  <a:ext uri="{FF2B5EF4-FFF2-40B4-BE49-F238E27FC236}">
                    <a16:creationId xmlns:a16="http://schemas.microsoft.com/office/drawing/2014/main" id="{14EDDC84-855B-42FE-8C58-AB9DD35AA838}"/>
                  </a:ext>
                </a:extLst>
              </p:cNvPr>
              <p:cNvSpPr txBox="1"/>
              <p:nvPr/>
            </p:nvSpPr>
            <p:spPr>
              <a:xfrm>
                <a:off x="1490510" y="4698867"/>
                <a:ext cx="2057845" cy="1138773"/>
              </a:xfrm>
              <a:prstGeom prst="rect">
                <a:avLst/>
              </a:prstGeom>
              <a:noFill/>
            </p:spPr>
            <p:txBody>
              <a:bodyPr wrap="square" lIns="0" tIns="0" rIns="108000" bIns="0" rtlCol="0">
                <a:spAutoFit/>
              </a:bodyPr>
              <a:lstStyle/>
              <a:p>
                <a:pPr marL="0" marR="0" lvl="0" indent="0" algn="r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2195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Black" panose="020B0A04020102020204" pitchFamily="34" charset="0"/>
                    <a:ea typeface="+mn-ea"/>
                    <a:cs typeface="+mn-cs"/>
                  </a:rPr>
                  <a:t>WHO </a:t>
                </a:r>
                <a:br>
                  <a:rPr kumimoji="0" lang="de-DE" sz="2195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Black" panose="020B0A04020102020204" pitchFamily="34" charset="0"/>
                    <a:ea typeface="+mn-ea"/>
                    <a:cs typeface="+mn-cs"/>
                  </a:rPr>
                </a:br>
                <a:r>
                  <a:rPr kumimoji="0" lang="de-DE" sz="2195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Black" panose="020B0A04020102020204" pitchFamily="34" charset="0"/>
                    <a:ea typeface="+mn-ea"/>
                    <a:cs typeface="+mn-cs"/>
                  </a:rPr>
                  <a:t>WE ARE</a:t>
                </a:r>
              </a:p>
              <a:p>
                <a:pPr marL="0" marR="0" lvl="0" indent="0" algn="r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br>
                  <a:rPr kumimoji="0" lang="de-DE" sz="1995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Black" panose="020B0A04020102020204" pitchFamily="34" charset="0"/>
                    <a:ea typeface="+mn-ea"/>
                    <a:cs typeface="+mn-cs"/>
                  </a:rPr>
                </a:br>
                <a:r>
                  <a:rPr kumimoji="0" lang="da-DK" sz="998" b="0" i="0" u="none" strike="noStrike" kern="0" cap="none" spc="0" normalizeH="0" baseline="0" noProof="0">
                    <a:ln>
                      <a:noFill/>
                    </a:ln>
                    <a:solidFill>
                      <a:srgbClr val="1D1D1D">
                        <a:lumMod val="10000"/>
                        <a:lumOff val="9000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rcadis a a glance</a:t>
                </a:r>
                <a:endParaRPr kumimoji="0" lang="de-DE" sz="1995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32" name="1_Line">
                <a:extLst>
                  <a:ext uri="{FF2B5EF4-FFF2-40B4-BE49-F238E27FC236}">
                    <a16:creationId xmlns:a16="http://schemas.microsoft.com/office/drawing/2014/main" id="{F38FB37C-5E68-465E-A16F-1684F876F139}"/>
                  </a:ext>
                </a:extLst>
              </p:cNvPr>
              <p:cNvSpPr/>
              <p:nvPr/>
            </p:nvSpPr>
            <p:spPr>
              <a:xfrm>
                <a:off x="457599" y="4548932"/>
                <a:ext cx="3090756" cy="31895"/>
              </a:xfrm>
              <a:custGeom>
                <a:avLst/>
                <a:gdLst/>
                <a:ahLst/>
                <a:cxnLst/>
                <a:rect l="l" t="t" r="r" b="b"/>
                <a:pathLst>
                  <a:path w="2268220" h="25400">
                    <a:moveTo>
                      <a:pt x="0" y="25400"/>
                    </a:moveTo>
                    <a:lnTo>
                      <a:pt x="2268004" y="25400"/>
                    </a:lnTo>
                    <a:lnTo>
                      <a:pt x="2268004" y="0"/>
                    </a:lnTo>
                    <a:lnTo>
                      <a:pt x="0" y="0"/>
                    </a:lnTo>
                    <a:lnTo>
                      <a:pt x="0" y="25400"/>
                    </a:lnTo>
                    <a:close/>
                  </a:path>
                </a:pathLst>
              </a:custGeom>
              <a:solidFill>
                <a:srgbClr val="E4610F"/>
              </a:solidFill>
              <a:ln>
                <a:noFill/>
              </a:ln>
            </p:spPr>
            <p:txBody>
              <a:bodyPr wrap="square" lIns="0" tIns="0" rIns="0" bIns="0" rtlCol="0"/>
              <a:lstStyle/>
              <a:p>
                <a:pPr marL="0" marR="0" lvl="0" indent="0" algn="l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795" b="0" i="0" u="none" strike="noStrike" kern="0" cap="none" spc="0" normalizeH="0" baseline="0" noProof="0">
                  <a:ln>
                    <a:noFill/>
                  </a:ln>
                  <a:solidFill>
                    <a:srgbClr val="1D1D1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133" name="Arrows" hidden="1">
                <a:extLst>
                  <a:ext uri="{FF2B5EF4-FFF2-40B4-BE49-F238E27FC236}">
                    <a16:creationId xmlns:a16="http://schemas.microsoft.com/office/drawing/2014/main" id="{C474E662-FA2B-4898-9B77-18A400752B47}"/>
                  </a:ext>
                </a:extLst>
              </p:cNvPr>
              <p:cNvGrpSpPr/>
              <p:nvPr/>
            </p:nvGrpSpPr>
            <p:grpSpPr>
              <a:xfrm>
                <a:off x="3167413" y="5529733"/>
                <a:ext cx="212406" cy="227765"/>
                <a:chOff x="7032319" y="186110"/>
                <a:chExt cx="169153" cy="181385"/>
              </a:xfrm>
            </p:grpSpPr>
            <p:sp>
              <p:nvSpPr>
                <p:cNvPr id="135" name="Freeform">
                  <a:extLst>
                    <a:ext uri="{FF2B5EF4-FFF2-40B4-BE49-F238E27FC236}">
                      <a16:creationId xmlns:a16="http://schemas.microsoft.com/office/drawing/2014/main" id="{CB41043E-716F-4BED-836B-7DF309B8BF95}"/>
                    </a:ext>
                  </a:extLst>
                </p:cNvPr>
                <p:cNvSpPr/>
                <p:nvPr userDrawn="1"/>
              </p:nvSpPr>
              <p:spPr>
                <a:xfrm>
                  <a:off x="7116311" y="186110"/>
                  <a:ext cx="85161" cy="1813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8764" h="560704">
                      <a:moveTo>
                        <a:pt x="0" y="560234"/>
                      </a:moveTo>
                      <a:lnTo>
                        <a:pt x="278453" y="280112"/>
                      </a:lnTo>
                      <a:lnTo>
                        <a:pt x="0" y="0"/>
                      </a:lnTo>
                    </a:path>
                  </a:pathLst>
                </a:custGeom>
                <a:ln w="19456">
                  <a:solidFill>
                    <a:srgbClr val="FFFFFF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9121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816" b="0" i="0" u="none" strike="noStrike" kern="0" cap="none" spc="0" normalizeH="0" baseline="0" noProof="0">
                    <a:ln>
                      <a:noFill/>
                    </a:ln>
                    <a:solidFill>
                      <a:srgbClr val="1D1D1D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6" name="Freeform">
                  <a:extLst>
                    <a:ext uri="{FF2B5EF4-FFF2-40B4-BE49-F238E27FC236}">
                      <a16:creationId xmlns:a16="http://schemas.microsoft.com/office/drawing/2014/main" id="{473D57DC-49F5-43D4-856D-72E70EFCC7BF}"/>
                    </a:ext>
                  </a:extLst>
                </p:cNvPr>
                <p:cNvSpPr/>
                <p:nvPr userDrawn="1"/>
              </p:nvSpPr>
              <p:spPr>
                <a:xfrm>
                  <a:off x="7074315" y="186110"/>
                  <a:ext cx="85161" cy="1813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8764" h="560704">
                      <a:moveTo>
                        <a:pt x="0" y="560234"/>
                      </a:moveTo>
                      <a:lnTo>
                        <a:pt x="278453" y="280112"/>
                      </a:lnTo>
                      <a:lnTo>
                        <a:pt x="0" y="0"/>
                      </a:lnTo>
                    </a:path>
                  </a:pathLst>
                </a:custGeom>
                <a:ln w="19456">
                  <a:solidFill>
                    <a:srgbClr val="FFFFFF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9121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816" b="0" i="0" u="none" strike="noStrike" kern="0" cap="none" spc="0" normalizeH="0" baseline="0" noProof="0">
                    <a:ln>
                      <a:noFill/>
                    </a:ln>
                    <a:solidFill>
                      <a:srgbClr val="1D1D1D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7" name="Freeform">
                  <a:extLst>
                    <a:ext uri="{FF2B5EF4-FFF2-40B4-BE49-F238E27FC236}">
                      <a16:creationId xmlns:a16="http://schemas.microsoft.com/office/drawing/2014/main" id="{3BF26CFC-FE09-4594-B38E-21ECDD6C6BCA}"/>
                    </a:ext>
                  </a:extLst>
                </p:cNvPr>
                <p:cNvSpPr/>
                <p:nvPr userDrawn="1"/>
              </p:nvSpPr>
              <p:spPr>
                <a:xfrm>
                  <a:off x="7032319" y="186110"/>
                  <a:ext cx="85160" cy="1813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8764" h="560704">
                      <a:moveTo>
                        <a:pt x="0" y="560234"/>
                      </a:moveTo>
                      <a:lnTo>
                        <a:pt x="278453" y="280112"/>
                      </a:lnTo>
                      <a:lnTo>
                        <a:pt x="0" y="0"/>
                      </a:lnTo>
                    </a:path>
                  </a:pathLst>
                </a:custGeom>
                <a:ln w="19456">
                  <a:solidFill>
                    <a:srgbClr val="FFFFFF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9121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816" b="0" i="0" u="none" strike="noStrike" kern="0" cap="none" spc="0" normalizeH="0" baseline="0" noProof="0">
                    <a:ln>
                      <a:noFill/>
                    </a:ln>
                    <a:solidFill>
                      <a:srgbClr val="1D1D1D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34" name="Icon: Arcadis">
                <a:extLst>
                  <a:ext uri="{FF2B5EF4-FFF2-40B4-BE49-F238E27FC236}">
                    <a16:creationId xmlns:a16="http://schemas.microsoft.com/office/drawing/2014/main" id="{AF3ECE6F-3CC5-49AA-B4B9-3A7ACF1B6ECE}"/>
                  </a:ext>
                </a:extLst>
              </p:cNvPr>
              <p:cNvSpPr>
                <a:spLocks noChangeAspect="1"/>
              </p:cNvSpPr>
              <p:nvPr/>
            </p:nvSpPr>
            <p:spPr>
              <a:xfrm flipV="1">
                <a:off x="611614" y="4759706"/>
                <a:ext cx="694408" cy="622061"/>
              </a:xfrm>
              <a:custGeom>
                <a:avLst/>
                <a:gdLst>
                  <a:gd name="connsiteX0" fmla="*/ 464997 w 861091"/>
                  <a:gd name="connsiteY0" fmla="*/ 770962 h 771380"/>
                  <a:gd name="connsiteX1" fmla="*/ 48522 w 861091"/>
                  <a:gd name="connsiteY1" fmla="*/ -288 h 771380"/>
                  <a:gd name="connsiteX2" fmla="*/ 563070 w 861091"/>
                  <a:gd name="connsiteY2" fmla="*/ 217194 h 771380"/>
                  <a:gd name="connsiteX3" fmla="*/ 563978 w 861091"/>
                  <a:gd name="connsiteY3" fmla="*/ 217194 h 771380"/>
                  <a:gd name="connsiteX4" fmla="*/ 738537 w 861091"/>
                  <a:gd name="connsiteY4" fmla="*/ -149 h 771380"/>
                  <a:gd name="connsiteX5" fmla="*/ 827179 w 861091"/>
                  <a:gd name="connsiteY5" fmla="*/ 500190 h 771380"/>
                  <a:gd name="connsiteX6" fmla="*/ 574291 w 861091"/>
                  <a:gd name="connsiteY6" fmla="*/ 655040 h 771380"/>
                  <a:gd name="connsiteX7" fmla="*/ 451825 w 861091"/>
                  <a:gd name="connsiteY7" fmla="*/ 630603 h 771380"/>
                  <a:gd name="connsiteX8" fmla="*/ 361284 w 861091"/>
                  <a:gd name="connsiteY8" fmla="*/ 462279 h 771380"/>
                  <a:gd name="connsiteX9" fmla="*/ 436005 w 861091"/>
                  <a:gd name="connsiteY9" fmla="*/ 417645 h 771380"/>
                  <a:gd name="connsiteX10" fmla="*/ 451825 w 861091"/>
                  <a:gd name="connsiteY10" fmla="*/ 418896 h 771380"/>
                  <a:gd name="connsiteX11" fmla="*/ 612277 w 861091"/>
                  <a:gd name="connsiteY11" fmla="*/ 479548 h 771380"/>
                  <a:gd name="connsiteX12" fmla="*/ 620993 w 861091"/>
                  <a:gd name="connsiteY12" fmla="*/ 476596 h 771380"/>
                  <a:gd name="connsiteX13" fmla="*/ 496260 w 861091"/>
                  <a:gd name="connsiteY13" fmla="*/ 369033 h 771380"/>
                  <a:gd name="connsiteX14" fmla="*/ 355558 w 861091"/>
                  <a:gd name="connsiteY14" fmla="*/ 342577 h 771380"/>
                  <a:gd name="connsiteX15" fmla="*/ 207549 w 861091"/>
                  <a:gd name="connsiteY15" fmla="*/ 426381 h 771380"/>
                  <a:gd name="connsiteX16" fmla="*/ 520986 w 861091"/>
                  <a:gd name="connsiteY16" fmla="*/ 706212 h 771380"/>
                  <a:gd name="connsiteX17" fmla="*/ 556441 w 861091"/>
                  <a:gd name="connsiteY17" fmla="*/ 707617 h 771380"/>
                  <a:gd name="connsiteX18" fmla="*/ 779514 w 861091"/>
                  <a:gd name="connsiteY18" fmla="*/ 627066 h 771380"/>
                  <a:gd name="connsiteX19" fmla="*/ 494365 w 861091"/>
                  <a:gd name="connsiteY19" fmla="*/ 770828 h 771380"/>
                  <a:gd name="connsiteX20" fmla="*/ 464997 w 861091"/>
                  <a:gd name="connsiteY20" fmla="*/ 770962 h 771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861091" h="771380">
                    <a:moveTo>
                      <a:pt x="464997" y="770962"/>
                    </a:moveTo>
                    <a:cubicBezTo>
                      <a:pt x="-210558" y="741177"/>
                      <a:pt x="48522" y="-288"/>
                      <a:pt x="48522" y="-288"/>
                    </a:cubicBezTo>
                    <a:cubicBezTo>
                      <a:pt x="107562" y="63594"/>
                      <a:pt x="297188" y="216128"/>
                      <a:pt x="563070" y="217194"/>
                    </a:cubicBezTo>
                    <a:cubicBezTo>
                      <a:pt x="563367" y="217194"/>
                      <a:pt x="563679" y="217194"/>
                      <a:pt x="563978" y="217194"/>
                    </a:cubicBezTo>
                    <a:cubicBezTo>
                      <a:pt x="692073" y="217194"/>
                      <a:pt x="767618" y="108233"/>
                      <a:pt x="738537" y="-149"/>
                    </a:cubicBezTo>
                    <a:cubicBezTo>
                      <a:pt x="738537" y="-149"/>
                      <a:pt x="938244" y="233724"/>
                      <a:pt x="827179" y="500190"/>
                    </a:cubicBezTo>
                    <a:cubicBezTo>
                      <a:pt x="790181" y="588966"/>
                      <a:pt x="690754" y="655040"/>
                      <a:pt x="574291" y="655040"/>
                    </a:cubicBezTo>
                    <a:cubicBezTo>
                      <a:pt x="534831" y="655040"/>
                      <a:pt x="493423" y="647460"/>
                      <a:pt x="451825" y="630603"/>
                    </a:cubicBezTo>
                    <a:cubicBezTo>
                      <a:pt x="354437" y="591149"/>
                      <a:pt x="341346" y="503052"/>
                      <a:pt x="361284" y="462279"/>
                    </a:cubicBezTo>
                    <a:cubicBezTo>
                      <a:pt x="375859" y="432453"/>
                      <a:pt x="404820" y="417645"/>
                      <a:pt x="436005" y="417645"/>
                    </a:cubicBezTo>
                    <a:cubicBezTo>
                      <a:pt x="441234" y="417645"/>
                      <a:pt x="446527" y="418061"/>
                      <a:pt x="451825" y="418896"/>
                    </a:cubicBezTo>
                    <a:cubicBezTo>
                      <a:pt x="549749" y="434254"/>
                      <a:pt x="589620" y="479548"/>
                      <a:pt x="612277" y="479548"/>
                    </a:cubicBezTo>
                    <a:cubicBezTo>
                      <a:pt x="615486" y="479548"/>
                      <a:pt x="618354" y="478635"/>
                      <a:pt x="620993" y="476596"/>
                    </a:cubicBezTo>
                    <a:cubicBezTo>
                      <a:pt x="635439" y="465434"/>
                      <a:pt x="621594" y="419476"/>
                      <a:pt x="496260" y="369033"/>
                    </a:cubicBezTo>
                    <a:cubicBezTo>
                      <a:pt x="465939" y="356830"/>
                      <a:pt x="410402" y="342577"/>
                      <a:pt x="355558" y="342577"/>
                    </a:cubicBezTo>
                    <a:cubicBezTo>
                      <a:pt x="291652" y="342577"/>
                      <a:pt x="228678" y="361915"/>
                      <a:pt x="207549" y="426381"/>
                    </a:cubicBezTo>
                    <a:cubicBezTo>
                      <a:pt x="168278" y="546172"/>
                      <a:pt x="309234" y="689608"/>
                      <a:pt x="520986" y="706212"/>
                    </a:cubicBezTo>
                    <a:cubicBezTo>
                      <a:pt x="531711" y="707165"/>
                      <a:pt x="546266" y="707617"/>
                      <a:pt x="556441" y="707617"/>
                    </a:cubicBezTo>
                    <a:cubicBezTo>
                      <a:pt x="664004" y="707617"/>
                      <a:pt x="741350" y="659212"/>
                      <a:pt x="779514" y="627066"/>
                    </a:cubicBezTo>
                    <a:cubicBezTo>
                      <a:pt x="735620" y="700601"/>
                      <a:pt x="643361" y="768254"/>
                      <a:pt x="494365" y="770828"/>
                    </a:cubicBezTo>
                    <a:cubicBezTo>
                      <a:pt x="494365" y="770828"/>
                      <a:pt x="482102" y="771320"/>
                      <a:pt x="464997" y="770962"/>
                    </a:cubicBezTo>
                  </a:path>
                </a:pathLst>
              </a:custGeom>
              <a:solidFill>
                <a:schemeClr val="bg1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21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9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76" name="Topics">
            <a:extLst>
              <a:ext uri="{FF2B5EF4-FFF2-40B4-BE49-F238E27FC236}">
                <a16:creationId xmlns:a16="http://schemas.microsoft.com/office/drawing/2014/main" id="{2C4DC24D-BA17-4618-9773-45D92DA3826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3763" y="1849949"/>
            <a:ext cx="4552507" cy="457200"/>
          </a:xfrm>
          <a:prstGeom prst="rect">
            <a:avLst/>
          </a:prstGeom>
        </p:spPr>
        <p:txBody>
          <a:bodyPr lIns="0" tIns="0" rIns="180000" bIns="0"/>
          <a:lstStyle>
            <a:lvl1pPr marL="180523" indent="-180523">
              <a:lnSpc>
                <a:spcPct val="100000"/>
              </a:lnSpc>
              <a:spcBef>
                <a:spcPts val="599"/>
              </a:spcBef>
              <a:spcAft>
                <a:spcPts val="1197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995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opic</a:t>
            </a:r>
          </a:p>
          <a:p>
            <a:pPr lvl="0"/>
            <a:endParaRPr lang="en-US"/>
          </a:p>
        </p:txBody>
      </p:sp>
      <p:sp>
        <p:nvSpPr>
          <p:cNvPr id="78" name="Agenda Title">
            <a:extLst>
              <a:ext uri="{FF2B5EF4-FFF2-40B4-BE49-F238E27FC236}">
                <a16:creationId xmlns:a16="http://schemas.microsoft.com/office/drawing/2014/main" id="{3D9C9597-CBD5-4ABB-A54A-DFBE9CAD7F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92" y="914402"/>
            <a:ext cx="4565608" cy="685799"/>
          </a:xfrm>
          <a:prstGeom prst="rect">
            <a:avLst/>
          </a:prstGeom>
        </p:spPr>
        <p:txBody>
          <a:bodyPr rIns="180000"/>
          <a:lstStyle>
            <a:lvl1pPr>
              <a:defRPr sz="4190"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23771127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"/>
          <p:cNvSpPr>
            <a:spLocks noGrp="1"/>
          </p:cNvSpPr>
          <p:nvPr>
            <p:ph idx="1"/>
          </p:nvPr>
        </p:nvSpPr>
        <p:spPr>
          <a:xfrm>
            <a:off x="470113" y="2062804"/>
            <a:ext cx="11264687" cy="4109397"/>
          </a:xfrm>
        </p:spPr>
        <p:txBody>
          <a:bodyPr lIns="0" tIns="0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Subtitle_21"/>
          <p:cNvSpPr>
            <a:spLocks noGrp="1"/>
          </p:cNvSpPr>
          <p:nvPr>
            <p:ph type="body" sz="quarter" idx="13" hasCustomPrompt="1"/>
          </p:nvPr>
        </p:nvSpPr>
        <p:spPr>
          <a:xfrm>
            <a:off x="478824" y="1350023"/>
            <a:ext cx="11255976" cy="478779"/>
          </a:xfrm>
        </p:spPr>
        <p:txBody>
          <a:bodyPr lIns="0" tIns="0" bIns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095" b="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err="1"/>
              <a:t>Subtitle</a:t>
            </a:r>
            <a:endParaRPr lang="de-DE"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3F81544C-BF5B-4E80-A940-90DDCBA23D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2"/>
            <a:ext cx="11277600" cy="6857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Title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134998265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, Sub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_21"/>
          <p:cNvSpPr>
            <a:spLocks noGrp="1"/>
          </p:cNvSpPr>
          <p:nvPr>
            <p:ph type="body" sz="quarter" idx="13" hasCustomPrompt="1"/>
          </p:nvPr>
        </p:nvSpPr>
        <p:spPr>
          <a:xfrm>
            <a:off x="478824" y="1350023"/>
            <a:ext cx="11255976" cy="478779"/>
          </a:xfrm>
        </p:spPr>
        <p:txBody>
          <a:bodyPr lIns="0" tIns="0" bIns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095" b="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err="1"/>
              <a:t>Subtitle</a:t>
            </a:r>
            <a:endParaRPr lang="de-DE"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3F81544C-BF5B-4E80-A940-90DDCBA23D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2"/>
            <a:ext cx="11277600" cy="6857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Title</a:t>
            </a:r>
            <a:endParaRPr lang="en-PH"/>
          </a:p>
        </p:txBody>
      </p:sp>
      <p:sp>
        <p:nvSpPr>
          <p:cNvPr id="6" name="Picture">
            <a:extLst>
              <a:ext uri="{FF2B5EF4-FFF2-40B4-BE49-F238E27FC236}">
                <a16:creationId xmlns:a16="http://schemas.microsoft.com/office/drawing/2014/main" id="{7B5547C1-52BC-44A0-924D-E2E8C723B0F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78824" y="2057401"/>
            <a:ext cx="11255976" cy="4343401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r">
              <a:defRPr lang="en-US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3002687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6_Divider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ver_Picture">
            <a:extLst>
              <a:ext uri="{FF2B5EF4-FFF2-40B4-BE49-F238E27FC236}">
                <a16:creationId xmlns:a16="http://schemas.microsoft.com/office/drawing/2014/main" id="{D30D7B8B-A8DD-49CA-973C-70BA95195D9A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2" y="0"/>
            <a:ext cx="12189883" cy="68580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27320D17-4C5A-4BCF-B94A-14B2D5EAD7F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57200" y="3199502"/>
            <a:ext cx="112776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2095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subtitle if required</a:t>
            </a:r>
          </a:p>
        </p:txBody>
      </p:sp>
      <p:sp>
        <p:nvSpPr>
          <p:cNvPr id="14" name="Title">
            <a:extLst>
              <a:ext uri="{FF2B5EF4-FFF2-40B4-BE49-F238E27FC236}">
                <a16:creationId xmlns:a16="http://schemas.microsoft.com/office/drawing/2014/main" id="{86BF1DF0-EFA0-4399-B4A6-6FE4CDB95D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57200" y="2285102"/>
            <a:ext cx="11277600" cy="6858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5586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title</a:t>
            </a:r>
          </a:p>
        </p:txBody>
      </p:sp>
      <p:sp>
        <p:nvSpPr>
          <p:cNvPr id="13" name="Section number - title">
            <a:extLst>
              <a:ext uri="{FF2B5EF4-FFF2-40B4-BE49-F238E27FC236}">
                <a16:creationId xmlns:a16="http://schemas.microsoft.com/office/drawing/2014/main" id="{F38B76E9-DF03-4268-9C23-0A7562A5C18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819275"/>
            <a:ext cx="112776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2095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Number</a:t>
            </a:r>
          </a:p>
        </p:txBody>
      </p:sp>
    </p:spTree>
    <p:extLst>
      <p:ext uri="{BB962C8B-B14F-4D97-AF65-F5344CB8AC3E}">
        <p14:creationId xmlns:p14="http://schemas.microsoft.com/office/powerpoint/2010/main" val="385452194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6_Divider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">
            <a:extLst>
              <a:ext uri="{FF2B5EF4-FFF2-40B4-BE49-F238E27FC236}">
                <a16:creationId xmlns:a16="http://schemas.microsoft.com/office/drawing/2014/main" id="{28D9BB4B-1B0E-41FC-8AD9-6B45D0CBF9B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sz="2044"/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F8F6486F-AACE-4261-8AD2-9E706844310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57200" y="3199502"/>
            <a:ext cx="112776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2095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ivider subtitle if required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5C7623C-CF16-4F12-9025-9861CB1F837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57200" y="2285102"/>
            <a:ext cx="11277600" cy="6858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558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Divider title</a:t>
            </a:r>
          </a:p>
        </p:txBody>
      </p:sp>
      <p:sp>
        <p:nvSpPr>
          <p:cNvPr id="7" name="Section number - title">
            <a:extLst>
              <a:ext uri="{FF2B5EF4-FFF2-40B4-BE49-F238E27FC236}">
                <a16:creationId xmlns:a16="http://schemas.microsoft.com/office/drawing/2014/main" id="{7D051535-A8A9-4C2F-8F27-C382D8FD17C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819275"/>
            <a:ext cx="112776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2095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ection Number</a:t>
            </a:r>
          </a:p>
        </p:txBody>
      </p:sp>
    </p:spTree>
    <p:extLst>
      <p:ext uri="{BB962C8B-B14F-4D97-AF65-F5344CB8AC3E}">
        <p14:creationId xmlns:p14="http://schemas.microsoft.com/office/powerpoint/2010/main" val="332126067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6_Divider - oran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">
            <a:extLst>
              <a:ext uri="{FF2B5EF4-FFF2-40B4-BE49-F238E27FC236}">
                <a16:creationId xmlns:a16="http://schemas.microsoft.com/office/drawing/2014/main" id="{879728FD-E9E6-44E8-89E8-21EB43C5F8D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sz="2044"/>
          </a:p>
        </p:txBody>
      </p:sp>
      <p:sp>
        <p:nvSpPr>
          <p:cNvPr id="4" name="Subtitle">
            <a:extLst>
              <a:ext uri="{FF2B5EF4-FFF2-40B4-BE49-F238E27FC236}">
                <a16:creationId xmlns:a16="http://schemas.microsoft.com/office/drawing/2014/main" id="{6A974665-D03E-4E10-AB8D-A13A845BD0A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57200" y="3199502"/>
            <a:ext cx="112776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2095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ivider subtitle if required</a:t>
            </a: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76D94918-BCED-4D68-9DCC-0F2D5EF587D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57200" y="2285102"/>
            <a:ext cx="11277600" cy="6858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5586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title</a:t>
            </a:r>
          </a:p>
        </p:txBody>
      </p:sp>
      <p:sp>
        <p:nvSpPr>
          <p:cNvPr id="6" name="Section number - title">
            <a:extLst>
              <a:ext uri="{FF2B5EF4-FFF2-40B4-BE49-F238E27FC236}">
                <a16:creationId xmlns:a16="http://schemas.microsoft.com/office/drawing/2014/main" id="{475E8A10-DFD8-4C13-9BE7-6D0A6C7FC4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819275"/>
            <a:ext cx="112776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2095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Number</a:t>
            </a:r>
          </a:p>
        </p:txBody>
      </p:sp>
    </p:spTree>
    <p:extLst>
      <p:ext uri="{BB962C8B-B14F-4D97-AF65-F5344CB8AC3E}">
        <p14:creationId xmlns:p14="http://schemas.microsoft.com/office/powerpoint/2010/main" val="44157616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6_Divi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36FC3B7-CE63-45A8-AF2C-CCB25DA9F1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743200"/>
            <a:ext cx="11277600" cy="6858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419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mage-led divider title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E5723794-4E50-48A6-BA6C-7CDB91BB63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286000"/>
            <a:ext cx="112776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2095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ection Number</a:t>
            </a:r>
          </a:p>
        </p:txBody>
      </p:sp>
    </p:spTree>
    <p:extLst>
      <p:ext uri="{BB962C8B-B14F-4D97-AF65-F5344CB8AC3E}">
        <p14:creationId xmlns:p14="http://schemas.microsoft.com/office/powerpoint/2010/main" val="276141396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7_Full orange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">
            <a:extLst>
              <a:ext uri="{FF2B5EF4-FFF2-40B4-BE49-F238E27FC236}">
                <a16:creationId xmlns:a16="http://schemas.microsoft.com/office/drawing/2014/main" id="{0BAA1C7B-1C87-44D3-8151-544370BB9AC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sz="2044"/>
          </a:p>
        </p:txBody>
      </p:sp>
      <p:sp>
        <p:nvSpPr>
          <p:cNvPr id="14" name="Picture">
            <a:extLst>
              <a:ext uri="{FF2B5EF4-FFF2-40B4-BE49-F238E27FC236}">
                <a16:creationId xmlns:a16="http://schemas.microsoft.com/office/drawing/2014/main" id="{23A1976C-1DAD-4BD7-9A17-AC5487B6D09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210300" y="457201"/>
            <a:ext cx="5524500" cy="59436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r">
              <a:defRPr lang="en-US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 </a:t>
            </a:r>
          </a:p>
        </p:txBody>
      </p:sp>
      <p:sp>
        <p:nvSpPr>
          <p:cNvPr id="11" name="Text">
            <a:extLst>
              <a:ext uri="{FF2B5EF4-FFF2-40B4-BE49-F238E27FC236}">
                <a16:creationId xmlns:a16="http://schemas.microsoft.com/office/drawing/2014/main" id="{741690DB-3471-4FEF-A4B0-BB9B766AF6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3657600"/>
            <a:ext cx="5524500" cy="18288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2095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455EFD41-CA14-4D91-9151-AEAAE55C5A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145598"/>
            <a:ext cx="4800600" cy="182620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419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64669334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_Full black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">
            <a:extLst>
              <a:ext uri="{FF2B5EF4-FFF2-40B4-BE49-F238E27FC236}">
                <a16:creationId xmlns:a16="http://schemas.microsoft.com/office/drawing/2014/main" id="{0BAA1C7B-1C87-44D3-8151-544370BB9AC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sz="2044"/>
          </a:p>
        </p:txBody>
      </p:sp>
      <p:sp>
        <p:nvSpPr>
          <p:cNvPr id="14" name="Picture">
            <a:extLst>
              <a:ext uri="{FF2B5EF4-FFF2-40B4-BE49-F238E27FC236}">
                <a16:creationId xmlns:a16="http://schemas.microsoft.com/office/drawing/2014/main" id="{23A1976C-1DAD-4BD7-9A17-AC5487B6D09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210300" y="457201"/>
            <a:ext cx="5524500" cy="59436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r">
              <a:defRPr lang="en-US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 </a:t>
            </a:r>
          </a:p>
        </p:txBody>
      </p:sp>
      <p:sp>
        <p:nvSpPr>
          <p:cNvPr id="11" name="Text">
            <a:extLst>
              <a:ext uri="{FF2B5EF4-FFF2-40B4-BE49-F238E27FC236}">
                <a16:creationId xmlns:a16="http://schemas.microsoft.com/office/drawing/2014/main" id="{741690DB-3471-4FEF-A4B0-BB9B766AF6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3657600"/>
            <a:ext cx="5524500" cy="18288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2095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455EFD41-CA14-4D91-9151-AEAAE55C5A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145598"/>
            <a:ext cx="4800600" cy="182620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419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503218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_Full white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">
            <a:extLst>
              <a:ext uri="{FF2B5EF4-FFF2-40B4-BE49-F238E27FC236}">
                <a16:creationId xmlns:a16="http://schemas.microsoft.com/office/drawing/2014/main" id="{23A1976C-1DAD-4BD7-9A17-AC5487B6D09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210300" y="457201"/>
            <a:ext cx="5524500" cy="59436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r">
              <a:defRPr lang="en-US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 </a:t>
            </a:r>
          </a:p>
        </p:txBody>
      </p:sp>
      <p:sp>
        <p:nvSpPr>
          <p:cNvPr id="11" name="Text">
            <a:extLst>
              <a:ext uri="{FF2B5EF4-FFF2-40B4-BE49-F238E27FC236}">
                <a16:creationId xmlns:a16="http://schemas.microsoft.com/office/drawing/2014/main" id="{741690DB-3471-4FEF-A4B0-BB9B766AF6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3657600"/>
            <a:ext cx="5524500" cy="18288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795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455EFD41-CA14-4D91-9151-AEAAE55C5A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145598"/>
            <a:ext cx="4800600" cy="182620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419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3345871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12C63D43-69CB-4811-B72D-5F3DCB51568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57200" y="1828800"/>
            <a:ext cx="3581400" cy="45720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insert imag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34B9CBD-AF1F-4C24-B1D3-A7A9BEC7E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0"/>
            <a:ext cx="11277600" cy="685799"/>
          </a:xfrm>
        </p:spPr>
        <p:txBody>
          <a:bodyPr/>
          <a:lstStyle/>
          <a:p>
            <a:r>
              <a:rPr lang="en-US"/>
              <a:t>Three image slide title</a:t>
            </a:r>
          </a:p>
        </p:txBody>
      </p:sp>
      <p:sp>
        <p:nvSpPr>
          <p:cNvPr id="10" name="Date Placeholder 2">
            <a:extLst>
              <a:ext uri="{FF2B5EF4-FFF2-40B4-BE49-F238E27FC236}">
                <a16:creationId xmlns:a16="http://schemas.microsoft.com/office/drawing/2014/main" id="{9ADB8E11-AF01-4EEB-8E7C-CFE5ACF71C9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67800" y="6446837"/>
            <a:ext cx="1714500" cy="365125"/>
          </a:xfrm>
          <a:prstGeom prst="rect">
            <a:avLst/>
          </a:prstGeom>
        </p:spPr>
        <p:txBody>
          <a:bodyPr/>
          <a:lstStyle/>
          <a:p>
            <a:fld id="{F31E42D4-B472-4D33-8D3D-6F0C0E7887EA}" type="datetime3">
              <a:rPr lang="en-US" smtClean="0"/>
              <a:t>5 October 2025</a:t>
            </a:fld>
            <a:endParaRPr lang="en-US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BFB8E6AE-CE09-47D7-920B-FDC64A53DE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446837"/>
            <a:ext cx="16764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Arcadis 2020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A0F11B9D-7BF2-45D1-ABB7-7D17F89B67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0900" y="6446837"/>
            <a:ext cx="723900" cy="365125"/>
          </a:xfrm>
          <a:prstGeom prst="rect">
            <a:avLst/>
          </a:prstGeom>
        </p:spPr>
        <p:txBody>
          <a:bodyPr/>
          <a:lstStyle/>
          <a:p>
            <a:fld id="{2FE63AA4-120D-435A-A130-F49443AF7CB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8BD6C6B-CE11-4D0F-9437-0FE8560352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6200" y="457200"/>
            <a:ext cx="1498600" cy="228631"/>
          </a:xfrm>
          <a:prstGeom prst="rect">
            <a:avLst/>
          </a:prstGeom>
        </p:spPr>
      </p:pic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9FF410F7-E40B-DF41-B357-09FB5BA627F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67200" y="1828800"/>
            <a:ext cx="3619500" cy="45720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insert image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66C40E00-B15B-E042-A7AA-E28675055E5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15300" y="1828800"/>
            <a:ext cx="3619500" cy="45720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insert image</a:t>
            </a:r>
          </a:p>
        </p:txBody>
      </p:sp>
    </p:spTree>
    <p:extLst>
      <p:ext uri="{BB962C8B-B14F-4D97-AF65-F5344CB8AC3E}">
        <p14:creationId xmlns:p14="http://schemas.microsoft.com/office/powerpoint/2010/main" val="312688449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8_Full black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">
            <a:extLst>
              <a:ext uri="{FF2B5EF4-FFF2-40B4-BE49-F238E27FC236}">
                <a16:creationId xmlns:a16="http://schemas.microsoft.com/office/drawing/2014/main" id="{6DF80006-7162-42A6-BB4F-9AB52F2B08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sz="2044"/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96D42F31-C76D-4A0C-AB96-F0E353E51C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292928"/>
            <a:ext cx="11277600" cy="159327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5586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744161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8_Full orange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">
            <a:extLst>
              <a:ext uri="{FF2B5EF4-FFF2-40B4-BE49-F238E27FC236}">
                <a16:creationId xmlns:a16="http://schemas.microsoft.com/office/drawing/2014/main" id="{6DF80006-7162-42A6-BB4F-9AB52F2B08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sz="2044"/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96D42F31-C76D-4A0C-AB96-F0E353E51C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292928"/>
            <a:ext cx="11277600" cy="159327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5586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7086825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9_Full Picture -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">
            <a:extLst>
              <a:ext uri="{FF2B5EF4-FFF2-40B4-BE49-F238E27FC236}">
                <a16:creationId xmlns:a16="http://schemas.microsoft.com/office/drawing/2014/main" id="{71971FC1-F2E6-4E68-8245-184991D6EF5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r">
              <a:defRPr lang="en-US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 </a:t>
            </a:r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7C602180-74AB-4C47-90BF-1DB0B4AE12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57800" y="2514600"/>
            <a:ext cx="6477000" cy="1828800"/>
          </a:xfrm>
          <a:prstGeom prst="rect">
            <a:avLst/>
          </a:prstGeom>
        </p:spPr>
        <p:txBody>
          <a:bodyPr lIns="0" tIns="0" rIns="0" bIns="0"/>
          <a:lstStyle>
            <a:lvl1pPr marL="269325" indent="-269325"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795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C294B6CA-68F4-4F29-B1B2-5880C39BEB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2750129"/>
            <a:ext cx="4571999" cy="114299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19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230529483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Overlay narrow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">
            <a:extLst>
              <a:ext uri="{FF2B5EF4-FFF2-40B4-BE49-F238E27FC236}">
                <a16:creationId xmlns:a16="http://schemas.microsoft.com/office/drawing/2014/main" id="{72E1C252-F8D8-B245-A44E-63FC8C772147}"/>
              </a:ext>
            </a:extLst>
          </p:cNvPr>
          <p:cNvSpPr/>
          <p:nvPr userDrawn="1"/>
        </p:nvSpPr>
        <p:spPr>
          <a:xfrm>
            <a:off x="0" y="0"/>
            <a:ext cx="3075709" cy="6858000"/>
          </a:xfrm>
          <a:prstGeom prst="rect">
            <a:avLst/>
          </a:prstGeom>
          <a:solidFill>
            <a:schemeClr val="accent1">
              <a:alpha val="75000"/>
            </a:schemeClr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44"/>
              <a:t> </a:t>
            </a:r>
            <a:endParaRPr lang="en-PH" sz="2044"/>
          </a:p>
        </p:txBody>
      </p:sp>
      <p:sp>
        <p:nvSpPr>
          <p:cNvPr id="9" name="Text">
            <a:extLst>
              <a:ext uri="{FF2B5EF4-FFF2-40B4-BE49-F238E27FC236}">
                <a16:creationId xmlns:a16="http://schemas.microsoft.com/office/drawing/2014/main" id="{19AF6AE8-D2B1-4EB5-BBB4-9077B1F7CB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743200"/>
            <a:ext cx="2466109" cy="2514600"/>
          </a:xfrm>
          <a:prstGeom prst="rect">
            <a:avLst/>
          </a:prstGeom>
        </p:spPr>
        <p:txBody>
          <a:bodyPr lIns="0" tIns="0" rIns="90000" bIns="0"/>
          <a:lstStyle>
            <a:lvl1pPr>
              <a:lnSpc>
                <a:spcPct val="100000"/>
              </a:lnSpc>
              <a:spcBef>
                <a:spcPts val="599"/>
              </a:spcBef>
              <a:spcAft>
                <a:spcPts val="1197"/>
              </a:spcAft>
              <a:defRPr sz="159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55ECC8B-4B56-4777-97FD-BF1D9B8F06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2" y="1600200"/>
            <a:ext cx="2466108" cy="914400"/>
          </a:xfrm>
          <a:prstGeom prst="rect">
            <a:avLst/>
          </a:prstGeom>
        </p:spPr>
        <p:txBody>
          <a:bodyPr rIns="90000">
            <a:noAutofit/>
          </a:bodyPr>
          <a:lstStyle>
            <a:lvl1pPr>
              <a:defRPr sz="2793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65441156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Overlay narrow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">
            <a:extLst>
              <a:ext uri="{FF2B5EF4-FFF2-40B4-BE49-F238E27FC236}">
                <a16:creationId xmlns:a16="http://schemas.microsoft.com/office/drawing/2014/main" id="{B4049965-34B5-48F5-8EBC-41C49A33113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r">
              <a:defRPr lang="en-US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 </a:t>
            </a:r>
          </a:p>
        </p:txBody>
      </p:sp>
      <p:sp>
        <p:nvSpPr>
          <p:cNvPr id="8" name="Rectangle">
            <a:extLst>
              <a:ext uri="{FF2B5EF4-FFF2-40B4-BE49-F238E27FC236}">
                <a16:creationId xmlns:a16="http://schemas.microsoft.com/office/drawing/2014/main" id="{72E1C252-F8D8-B245-A44E-63FC8C772147}"/>
              </a:ext>
            </a:extLst>
          </p:cNvPr>
          <p:cNvSpPr/>
          <p:nvPr userDrawn="1"/>
        </p:nvSpPr>
        <p:spPr>
          <a:xfrm>
            <a:off x="0" y="0"/>
            <a:ext cx="3075709" cy="6858000"/>
          </a:xfrm>
          <a:prstGeom prst="rect">
            <a:avLst/>
          </a:prstGeom>
          <a:solidFill>
            <a:schemeClr val="accent1">
              <a:alpha val="75000"/>
            </a:schemeClr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44"/>
              <a:t> </a:t>
            </a:r>
            <a:endParaRPr lang="en-PH" sz="2044"/>
          </a:p>
        </p:txBody>
      </p:sp>
      <p:sp>
        <p:nvSpPr>
          <p:cNvPr id="9" name="Text">
            <a:extLst>
              <a:ext uri="{FF2B5EF4-FFF2-40B4-BE49-F238E27FC236}">
                <a16:creationId xmlns:a16="http://schemas.microsoft.com/office/drawing/2014/main" id="{19AF6AE8-D2B1-4EB5-BBB4-9077B1F7CB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743200"/>
            <a:ext cx="2466109" cy="2514600"/>
          </a:xfrm>
          <a:prstGeom prst="rect">
            <a:avLst/>
          </a:prstGeom>
        </p:spPr>
        <p:txBody>
          <a:bodyPr lIns="0" tIns="0" rIns="90000" bIns="0"/>
          <a:lstStyle>
            <a:lvl1pPr>
              <a:lnSpc>
                <a:spcPct val="100000"/>
              </a:lnSpc>
              <a:spcBef>
                <a:spcPts val="599"/>
              </a:spcBef>
              <a:spcAft>
                <a:spcPts val="1197"/>
              </a:spcAft>
              <a:defRPr sz="159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55ECC8B-4B56-4777-97FD-BF1D9B8F06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2" y="1600200"/>
            <a:ext cx="2466108" cy="914400"/>
          </a:xfrm>
          <a:prstGeom prst="rect">
            <a:avLst/>
          </a:prstGeom>
        </p:spPr>
        <p:txBody>
          <a:bodyPr rIns="90000">
            <a:noAutofit/>
          </a:bodyPr>
          <a:lstStyle>
            <a:lvl1pPr>
              <a:defRPr sz="2793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205877582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Overlay wide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">
            <a:extLst>
              <a:ext uri="{FF2B5EF4-FFF2-40B4-BE49-F238E27FC236}">
                <a16:creationId xmlns:a16="http://schemas.microsoft.com/office/drawing/2014/main" id="{B4049965-34B5-48F5-8EBC-41C49A33113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r">
              <a:defRPr lang="en-US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 </a:t>
            </a:r>
          </a:p>
        </p:txBody>
      </p:sp>
      <p:sp>
        <p:nvSpPr>
          <p:cNvPr id="8" name="Rectangle">
            <a:extLst>
              <a:ext uri="{FF2B5EF4-FFF2-40B4-BE49-F238E27FC236}">
                <a16:creationId xmlns:a16="http://schemas.microsoft.com/office/drawing/2014/main" id="{48C72079-4A6D-BB42-9B2B-1FC3AED21668}"/>
              </a:ext>
            </a:extLst>
          </p:cNvPr>
          <p:cNvSpPr/>
          <p:nvPr userDrawn="1"/>
        </p:nvSpPr>
        <p:spPr>
          <a:xfrm>
            <a:off x="1" y="0"/>
            <a:ext cx="5029199" cy="6858000"/>
          </a:xfrm>
          <a:prstGeom prst="rect">
            <a:avLst/>
          </a:prstGeom>
          <a:solidFill>
            <a:schemeClr val="accent1">
              <a:alpha val="75000"/>
            </a:schemeClr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44"/>
              <a:t> </a:t>
            </a:r>
            <a:endParaRPr lang="en-PH" sz="2044"/>
          </a:p>
        </p:txBody>
      </p:sp>
      <p:sp>
        <p:nvSpPr>
          <p:cNvPr id="9" name="Text">
            <a:extLst>
              <a:ext uri="{FF2B5EF4-FFF2-40B4-BE49-F238E27FC236}">
                <a16:creationId xmlns:a16="http://schemas.microsoft.com/office/drawing/2014/main" id="{19AF6AE8-D2B1-4EB5-BBB4-9077B1F7CB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2" y="3429000"/>
            <a:ext cx="4378036" cy="1828800"/>
          </a:xfrm>
          <a:prstGeom prst="rect">
            <a:avLst/>
          </a:prstGeom>
        </p:spPr>
        <p:txBody>
          <a:bodyPr lIns="0" tIns="0" rIns="0" bIns="0"/>
          <a:lstStyle>
            <a:lvl1pPr marL="285036" indent="-285036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59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55ECC8B-4B56-4777-97FD-BF1D9B8F06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2" y="1600201"/>
            <a:ext cx="4378036" cy="11429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sz="349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3443114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Overlay narrow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">
            <a:extLst>
              <a:ext uri="{FF2B5EF4-FFF2-40B4-BE49-F238E27FC236}">
                <a16:creationId xmlns:a16="http://schemas.microsoft.com/office/drawing/2014/main" id="{B4049965-34B5-48F5-8EBC-41C49A33113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r">
              <a:defRPr lang="en-US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 </a:t>
            </a:r>
          </a:p>
        </p:txBody>
      </p:sp>
      <p:sp>
        <p:nvSpPr>
          <p:cNvPr id="8" name="Rectangle">
            <a:extLst>
              <a:ext uri="{FF2B5EF4-FFF2-40B4-BE49-F238E27FC236}">
                <a16:creationId xmlns:a16="http://schemas.microsoft.com/office/drawing/2014/main" id="{72E1C252-F8D8-B245-A44E-63FC8C772147}"/>
              </a:ext>
            </a:extLst>
          </p:cNvPr>
          <p:cNvSpPr/>
          <p:nvPr userDrawn="1"/>
        </p:nvSpPr>
        <p:spPr>
          <a:xfrm>
            <a:off x="0" y="0"/>
            <a:ext cx="3075709" cy="6858000"/>
          </a:xfrm>
          <a:prstGeom prst="rect">
            <a:avLst/>
          </a:prstGeom>
          <a:solidFill>
            <a:srgbClr val="E1E1E1">
              <a:alpha val="74902"/>
            </a:srgbClr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44"/>
              <a:t> </a:t>
            </a:r>
            <a:endParaRPr lang="en-PH" sz="2044"/>
          </a:p>
        </p:txBody>
      </p:sp>
      <p:sp>
        <p:nvSpPr>
          <p:cNvPr id="9" name="Text">
            <a:extLst>
              <a:ext uri="{FF2B5EF4-FFF2-40B4-BE49-F238E27FC236}">
                <a16:creationId xmlns:a16="http://schemas.microsoft.com/office/drawing/2014/main" id="{19AF6AE8-D2B1-4EB5-BBB4-9077B1F7CB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743200"/>
            <a:ext cx="2466109" cy="2514600"/>
          </a:xfrm>
          <a:prstGeom prst="rect">
            <a:avLst/>
          </a:prstGeom>
        </p:spPr>
        <p:txBody>
          <a:bodyPr lIns="0" tIns="0" rIns="90000" bIns="0"/>
          <a:lstStyle>
            <a:lvl1pPr>
              <a:lnSpc>
                <a:spcPct val="100000"/>
              </a:lnSpc>
              <a:spcBef>
                <a:spcPts val="599"/>
              </a:spcBef>
              <a:spcAft>
                <a:spcPts val="1197"/>
              </a:spcAft>
              <a:defRPr sz="159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55ECC8B-4B56-4777-97FD-BF1D9B8F06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2" y="1600200"/>
            <a:ext cx="2466108" cy="914400"/>
          </a:xfrm>
          <a:prstGeom prst="rect">
            <a:avLst/>
          </a:prstGeom>
        </p:spPr>
        <p:txBody>
          <a:bodyPr rIns="90000">
            <a:noAutofit/>
          </a:bodyPr>
          <a:lstStyle>
            <a:lvl1pPr>
              <a:defRPr sz="2793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Title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79522852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Overlay n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">
            <a:extLst>
              <a:ext uri="{FF2B5EF4-FFF2-40B4-BE49-F238E27FC236}">
                <a16:creationId xmlns:a16="http://schemas.microsoft.com/office/drawing/2014/main" id="{19AF6AE8-D2B1-4EB5-BBB4-9077B1F7CB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743200"/>
            <a:ext cx="2466109" cy="2514600"/>
          </a:xfrm>
          <a:prstGeom prst="rect">
            <a:avLst/>
          </a:prstGeom>
        </p:spPr>
        <p:txBody>
          <a:bodyPr lIns="0" tIns="0" rIns="90000" bIns="0"/>
          <a:lstStyle>
            <a:lvl1pPr>
              <a:lnSpc>
                <a:spcPct val="100000"/>
              </a:lnSpc>
              <a:spcBef>
                <a:spcPts val="599"/>
              </a:spcBef>
              <a:spcAft>
                <a:spcPts val="1197"/>
              </a:spcAft>
              <a:defRPr sz="159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55ECC8B-4B56-4777-97FD-BF1D9B8F06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2" y="1600200"/>
            <a:ext cx="2466108" cy="914400"/>
          </a:xfrm>
          <a:prstGeom prst="rect">
            <a:avLst/>
          </a:prstGeom>
        </p:spPr>
        <p:txBody>
          <a:bodyPr rIns="90000">
            <a:noAutofit/>
          </a:bodyPr>
          <a:lstStyle>
            <a:lvl1pPr>
              <a:defRPr sz="2793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Title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45352651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Overlay wide  1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">
            <a:extLst>
              <a:ext uri="{FF2B5EF4-FFF2-40B4-BE49-F238E27FC236}">
                <a16:creationId xmlns:a16="http://schemas.microsoft.com/office/drawing/2014/main" id="{B4049965-34B5-48F5-8EBC-41C49A33113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257800" y="914400"/>
            <a:ext cx="6477000" cy="29718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r">
              <a:defRPr lang="en-US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 </a:t>
            </a:r>
          </a:p>
        </p:txBody>
      </p:sp>
      <p:sp>
        <p:nvSpPr>
          <p:cNvPr id="5" name="Rectangle">
            <a:extLst>
              <a:ext uri="{FF2B5EF4-FFF2-40B4-BE49-F238E27FC236}">
                <a16:creationId xmlns:a16="http://schemas.microsoft.com/office/drawing/2014/main" id="{1C43E271-585A-4BE6-84C9-3787B822945E}"/>
              </a:ext>
            </a:extLst>
          </p:cNvPr>
          <p:cNvSpPr/>
          <p:nvPr userDrawn="1"/>
        </p:nvSpPr>
        <p:spPr>
          <a:xfrm>
            <a:off x="0" y="2"/>
            <a:ext cx="5029200" cy="6857999"/>
          </a:xfrm>
          <a:prstGeom prst="rect">
            <a:avLst/>
          </a:prstGeom>
          <a:solidFill>
            <a:srgbClr val="E7E6E6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sz="2044"/>
          </a:p>
        </p:txBody>
      </p:sp>
      <p:sp>
        <p:nvSpPr>
          <p:cNvPr id="17" name="Text">
            <a:extLst>
              <a:ext uri="{FF2B5EF4-FFF2-40B4-BE49-F238E27FC236}">
                <a16:creationId xmlns:a16="http://schemas.microsoft.com/office/drawing/2014/main" id="{2AC39755-8A7B-44F0-ACE0-02BD1FF6F2B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15300" y="4572000"/>
            <a:ext cx="2667000" cy="18288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" name="Text Title">
            <a:extLst>
              <a:ext uri="{FF2B5EF4-FFF2-40B4-BE49-F238E27FC236}">
                <a16:creationId xmlns:a16="http://schemas.microsoft.com/office/drawing/2014/main" id="{526F53BF-9DA3-4E25-8DD6-6B726825747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15300" y="4114800"/>
            <a:ext cx="26670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3" name="Text">
            <a:extLst>
              <a:ext uri="{FF2B5EF4-FFF2-40B4-BE49-F238E27FC236}">
                <a16:creationId xmlns:a16="http://schemas.microsoft.com/office/drawing/2014/main" id="{120E7F6D-CF3A-4D0B-BA18-8D08AD875D5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85510" y="4572000"/>
            <a:ext cx="2601190" cy="18288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1" name="Text Title">
            <a:extLst>
              <a:ext uri="{FF2B5EF4-FFF2-40B4-BE49-F238E27FC236}">
                <a16:creationId xmlns:a16="http://schemas.microsoft.com/office/drawing/2014/main" id="{A2888DD6-4C08-481E-A9EB-9815DF6BFB8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85510" y="4114800"/>
            <a:ext cx="260119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9" name="Text Box">
            <a:extLst>
              <a:ext uri="{FF2B5EF4-FFF2-40B4-BE49-F238E27FC236}">
                <a16:creationId xmlns:a16="http://schemas.microsoft.com/office/drawing/2014/main" id="{19AF6AE8-D2B1-4EB5-BBB4-9077B1F7CB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2" y="4114800"/>
            <a:ext cx="4378036" cy="228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>
                <a:schemeClr val="bg1"/>
              </a:buClr>
              <a:buFont typeface="Arial" panose="020B0604020202020204" pitchFamily="34" charset="0"/>
              <a:buNone/>
              <a:defRPr sz="1795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55ECC8B-4B56-4777-97FD-BF1D9B8F06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2" y="914400"/>
            <a:ext cx="4378036" cy="2743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sz="419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179988040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Overlay wide  1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">
            <a:extLst>
              <a:ext uri="{FF2B5EF4-FFF2-40B4-BE49-F238E27FC236}">
                <a16:creationId xmlns:a16="http://schemas.microsoft.com/office/drawing/2014/main" id="{B4049965-34B5-48F5-8EBC-41C49A33113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257800" y="914400"/>
            <a:ext cx="6477000" cy="43434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r">
              <a:defRPr lang="en-US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 </a:t>
            </a:r>
          </a:p>
        </p:txBody>
      </p:sp>
      <p:sp>
        <p:nvSpPr>
          <p:cNvPr id="5" name="Rectangle">
            <a:extLst>
              <a:ext uri="{FF2B5EF4-FFF2-40B4-BE49-F238E27FC236}">
                <a16:creationId xmlns:a16="http://schemas.microsoft.com/office/drawing/2014/main" id="{1C43E271-585A-4BE6-84C9-3787B822945E}"/>
              </a:ext>
            </a:extLst>
          </p:cNvPr>
          <p:cNvSpPr/>
          <p:nvPr userDrawn="1"/>
        </p:nvSpPr>
        <p:spPr>
          <a:xfrm>
            <a:off x="0" y="2"/>
            <a:ext cx="5029200" cy="6857999"/>
          </a:xfrm>
          <a:prstGeom prst="rect">
            <a:avLst/>
          </a:prstGeom>
          <a:solidFill>
            <a:srgbClr val="E7E6E6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sz="2044"/>
          </a:p>
        </p:txBody>
      </p:sp>
      <p:sp>
        <p:nvSpPr>
          <p:cNvPr id="9" name="Text Box">
            <a:extLst>
              <a:ext uri="{FF2B5EF4-FFF2-40B4-BE49-F238E27FC236}">
                <a16:creationId xmlns:a16="http://schemas.microsoft.com/office/drawing/2014/main" id="{19AF6AE8-D2B1-4EB5-BBB4-9077B1F7CB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2" y="4114800"/>
            <a:ext cx="4378036" cy="228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>
                <a:schemeClr val="bg1"/>
              </a:buClr>
              <a:buFont typeface="Arial" panose="020B0604020202020204" pitchFamily="34" charset="0"/>
              <a:buNone/>
              <a:defRPr sz="1795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55ECC8B-4B56-4777-97FD-BF1D9B8F06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2" y="914400"/>
            <a:ext cx="4378036" cy="2743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sz="419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7965764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4A8869CB-2223-4946-81BC-8717270A6AD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" y="1828800"/>
            <a:ext cx="5524500" cy="45720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insert image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12C63D43-69CB-4811-B72D-5F3DCB51568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210300" y="1828800"/>
            <a:ext cx="5524500" cy="45720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insert imag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34B9CBD-AF1F-4C24-B1D3-A7A9BEC7E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0"/>
            <a:ext cx="11277600" cy="685799"/>
          </a:xfrm>
        </p:spPr>
        <p:txBody>
          <a:bodyPr/>
          <a:lstStyle/>
          <a:p>
            <a:r>
              <a:rPr lang="en-US"/>
              <a:t>Two image slide title</a:t>
            </a:r>
          </a:p>
        </p:txBody>
      </p:sp>
      <p:sp>
        <p:nvSpPr>
          <p:cNvPr id="10" name="Date Placeholder 2">
            <a:extLst>
              <a:ext uri="{FF2B5EF4-FFF2-40B4-BE49-F238E27FC236}">
                <a16:creationId xmlns:a16="http://schemas.microsoft.com/office/drawing/2014/main" id="{9ADB8E11-AF01-4EEB-8E7C-CFE5ACF71C9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67800" y="6446837"/>
            <a:ext cx="1714500" cy="365125"/>
          </a:xfrm>
          <a:prstGeom prst="rect">
            <a:avLst/>
          </a:prstGeom>
        </p:spPr>
        <p:txBody>
          <a:bodyPr/>
          <a:lstStyle/>
          <a:p>
            <a:fld id="{F31E42D4-B472-4D33-8D3D-6F0C0E7887EA}" type="datetime3">
              <a:rPr lang="en-US" smtClean="0"/>
              <a:t>5 October 2025</a:t>
            </a:fld>
            <a:endParaRPr lang="en-US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BFB8E6AE-CE09-47D7-920B-FDC64A53DE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446837"/>
            <a:ext cx="16764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Arcadis 2020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A0F11B9D-7BF2-45D1-ABB7-7D17F89B67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0900" y="6446837"/>
            <a:ext cx="723900" cy="365125"/>
          </a:xfrm>
          <a:prstGeom prst="rect">
            <a:avLst/>
          </a:prstGeom>
        </p:spPr>
        <p:txBody>
          <a:bodyPr/>
          <a:lstStyle/>
          <a:p>
            <a:fld id="{2FE63AA4-120D-435A-A130-F49443AF7CB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8BD6C6B-CE11-4D0F-9437-0FE8560352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6200" y="457200"/>
            <a:ext cx="1498600" cy="228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451575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Overlay wide  6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">
            <a:extLst>
              <a:ext uri="{FF2B5EF4-FFF2-40B4-BE49-F238E27FC236}">
                <a16:creationId xmlns:a16="http://schemas.microsoft.com/office/drawing/2014/main" id="{1C43E271-585A-4BE6-84C9-3787B822945E}"/>
              </a:ext>
            </a:extLst>
          </p:cNvPr>
          <p:cNvSpPr/>
          <p:nvPr userDrawn="1"/>
        </p:nvSpPr>
        <p:spPr>
          <a:xfrm>
            <a:off x="0" y="2"/>
            <a:ext cx="5029200" cy="6857999"/>
          </a:xfrm>
          <a:prstGeom prst="rect">
            <a:avLst/>
          </a:prstGeom>
          <a:solidFill>
            <a:srgbClr val="E7E6E6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sz="2044"/>
          </a:p>
        </p:txBody>
      </p:sp>
      <p:sp>
        <p:nvSpPr>
          <p:cNvPr id="9" name="Text Box">
            <a:extLst>
              <a:ext uri="{FF2B5EF4-FFF2-40B4-BE49-F238E27FC236}">
                <a16:creationId xmlns:a16="http://schemas.microsoft.com/office/drawing/2014/main" id="{19AF6AE8-D2B1-4EB5-BBB4-9077B1F7CB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2" y="4114800"/>
            <a:ext cx="4378036" cy="228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>
                <a:schemeClr val="bg1"/>
              </a:buClr>
              <a:buFont typeface="Arial" panose="020B0604020202020204" pitchFamily="34" charset="0"/>
              <a:buNone/>
              <a:defRPr sz="1795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55ECC8B-4B56-4777-97FD-BF1D9B8F06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2" y="914400"/>
            <a:ext cx="4378036" cy="2743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sz="419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  <a:endParaRPr lang="en-PH"/>
          </a:p>
        </p:txBody>
      </p:sp>
      <p:sp>
        <p:nvSpPr>
          <p:cNvPr id="15" name="Picture">
            <a:extLst>
              <a:ext uri="{FF2B5EF4-FFF2-40B4-BE49-F238E27FC236}">
                <a16:creationId xmlns:a16="http://schemas.microsoft.com/office/drawing/2014/main" id="{B32E4D65-8588-4607-9D47-3F4E96A53458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5032548" y="4568400"/>
            <a:ext cx="3582000" cy="22896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vert="horz" lIns="0" tIns="0" rIns="0" bIns="0" rtlCol="0" anchor="ctr" anchorCtr="0">
            <a:normAutofit/>
          </a:bodyPr>
          <a:lstStyle>
            <a:lvl1pPr>
              <a:defRPr lang="de-DE" sz="1397" b="1">
                <a:solidFill>
                  <a:schemeClr val="tx2"/>
                </a:solidFill>
              </a:defRPr>
            </a:lvl1pPr>
          </a:lstStyle>
          <a:p>
            <a:pPr marR="0" lvl="0" algn="ctr" fontAlgn="auto">
              <a:buClrTx/>
              <a:buSzTx/>
              <a:buNone/>
              <a:tabLst/>
            </a:pPr>
            <a:r>
              <a:rPr lang="de-DE"/>
              <a:t> </a:t>
            </a:r>
          </a:p>
        </p:txBody>
      </p:sp>
      <p:sp>
        <p:nvSpPr>
          <p:cNvPr id="18" name="Picture">
            <a:extLst>
              <a:ext uri="{FF2B5EF4-FFF2-40B4-BE49-F238E27FC236}">
                <a16:creationId xmlns:a16="http://schemas.microsoft.com/office/drawing/2014/main" id="{1304F5B1-8AC0-4C51-A992-023B73861925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5032548" y="2284200"/>
            <a:ext cx="3582000" cy="2289600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rmAutofit/>
          </a:bodyPr>
          <a:lstStyle>
            <a:lvl1pPr>
              <a:defRPr lang="de-DE" sz="1397" b="1">
                <a:solidFill>
                  <a:schemeClr val="tx2"/>
                </a:solidFill>
              </a:defRPr>
            </a:lvl1pPr>
          </a:lstStyle>
          <a:p>
            <a:pPr marR="0" lvl="0" algn="ctr" fontAlgn="auto">
              <a:buClrTx/>
              <a:buSzTx/>
              <a:buNone/>
              <a:tabLst/>
            </a:pPr>
            <a:r>
              <a:rPr lang="de-DE"/>
              <a:t> </a:t>
            </a:r>
          </a:p>
        </p:txBody>
      </p:sp>
      <p:sp>
        <p:nvSpPr>
          <p:cNvPr id="19" name="Picture">
            <a:extLst>
              <a:ext uri="{FF2B5EF4-FFF2-40B4-BE49-F238E27FC236}">
                <a16:creationId xmlns:a16="http://schemas.microsoft.com/office/drawing/2014/main" id="{8B99D67B-36ED-4D67-AFBE-2EBCC18D57BC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5032548" y="0"/>
            <a:ext cx="3582000" cy="2289600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rmAutofit/>
          </a:bodyPr>
          <a:lstStyle>
            <a:lvl1pPr>
              <a:defRPr lang="de-DE" sz="1397" b="1">
                <a:solidFill>
                  <a:schemeClr val="tx2"/>
                </a:solidFill>
              </a:defRPr>
            </a:lvl1pPr>
          </a:lstStyle>
          <a:p>
            <a:pPr marR="0" lvl="0" algn="ctr" fontAlgn="auto">
              <a:buClrTx/>
              <a:buSzTx/>
              <a:buNone/>
              <a:tabLst/>
            </a:pPr>
            <a:r>
              <a:rPr lang="de-DE"/>
              <a:t>  </a:t>
            </a:r>
          </a:p>
        </p:txBody>
      </p:sp>
      <p:sp>
        <p:nvSpPr>
          <p:cNvPr id="17" name="Picture">
            <a:extLst>
              <a:ext uri="{FF2B5EF4-FFF2-40B4-BE49-F238E27FC236}">
                <a16:creationId xmlns:a16="http://schemas.microsoft.com/office/drawing/2014/main" id="{0A04B39C-3B61-4280-8DA5-609EBBAA1E2C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8608950" y="4568400"/>
            <a:ext cx="3583050" cy="22896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vert="horz" lIns="0" tIns="0" rIns="0" bIns="0" rtlCol="0" anchor="ctr" anchorCtr="0">
            <a:normAutofit/>
          </a:bodyPr>
          <a:lstStyle>
            <a:lvl1pPr>
              <a:defRPr lang="de-DE" sz="1397" b="1">
                <a:solidFill>
                  <a:schemeClr val="tx2"/>
                </a:solidFill>
              </a:defRPr>
            </a:lvl1pPr>
          </a:lstStyle>
          <a:p>
            <a:pPr marR="0" lvl="0" algn="ctr" fontAlgn="auto">
              <a:buClrTx/>
              <a:buSzTx/>
              <a:buNone/>
              <a:tabLst/>
            </a:pPr>
            <a:r>
              <a:rPr lang="de-DE"/>
              <a:t> </a:t>
            </a:r>
          </a:p>
        </p:txBody>
      </p:sp>
      <p:sp>
        <p:nvSpPr>
          <p:cNvPr id="23" name="Picture">
            <a:extLst>
              <a:ext uri="{FF2B5EF4-FFF2-40B4-BE49-F238E27FC236}">
                <a16:creationId xmlns:a16="http://schemas.microsoft.com/office/drawing/2014/main" id="{4467AB6F-A7CF-4490-8DDA-DBFA47D3A682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8608950" y="2284200"/>
            <a:ext cx="3583050" cy="2289600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rmAutofit/>
          </a:bodyPr>
          <a:lstStyle>
            <a:lvl1pPr>
              <a:defRPr lang="de-DE" sz="1397" b="1">
                <a:solidFill>
                  <a:schemeClr val="tx2"/>
                </a:solidFill>
              </a:defRPr>
            </a:lvl1pPr>
          </a:lstStyle>
          <a:p>
            <a:pPr marR="0" lvl="0" algn="ctr" fontAlgn="auto">
              <a:buClrTx/>
              <a:buSzTx/>
              <a:buNone/>
              <a:tabLst/>
            </a:pPr>
            <a:r>
              <a:rPr lang="de-DE"/>
              <a:t>  </a:t>
            </a:r>
          </a:p>
        </p:txBody>
      </p:sp>
      <p:sp>
        <p:nvSpPr>
          <p:cNvPr id="24" name="Picture">
            <a:extLst>
              <a:ext uri="{FF2B5EF4-FFF2-40B4-BE49-F238E27FC236}">
                <a16:creationId xmlns:a16="http://schemas.microsoft.com/office/drawing/2014/main" id="{CD80E979-CF76-4DCF-88A8-A4C7FDA07A9A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8608950" y="0"/>
            <a:ext cx="3583050" cy="2289600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rmAutofit/>
          </a:bodyPr>
          <a:lstStyle>
            <a:lvl1pPr>
              <a:defRPr lang="de-DE" sz="1397" b="1">
                <a:solidFill>
                  <a:schemeClr val="tx2"/>
                </a:solidFill>
              </a:defRPr>
            </a:lvl1pPr>
          </a:lstStyle>
          <a:p>
            <a:pPr marR="0" lvl="0" algn="ctr" fontAlgn="auto">
              <a:buClrTx/>
              <a:buSzTx/>
              <a:buNone/>
              <a:tabLst/>
            </a:pP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9740435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Overlay w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">
            <a:extLst>
              <a:ext uri="{FF2B5EF4-FFF2-40B4-BE49-F238E27FC236}">
                <a16:creationId xmlns:a16="http://schemas.microsoft.com/office/drawing/2014/main" id="{BE941159-1099-46F8-9BF4-DDEE5B4EB2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70501" y="931389"/>
            <a:ext cx="6476999" cy="5469411"/>
          </a:xfrm>
        </p:spPr>
        <p:txBody>
          <a:bodyPr lIns="0" tIns="0"/>
          <a:lstStyle>
            <a:lvl1pPr>
              <a:defRPr b="0">
                <a:solidFill>
                  <a:schemeClr val="tx1"/>
                </a:solidFill>
              </a:defRPr>
            </a:lvl1pPr>
            <a:lvl2pPr>
              <a:defRPr b="0">
                <a:solidFill>
                  <a:schemeClr val="tx1"/>
                </a:solidFill>
              </a:defRPr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0">
                <a:solidFill>
                  <a:schemeClr val="tx1"/>
                </a:solidFill>
              </a:defRPr>
            </a:lvl4pPr>
            <a:lvl5pPr>
              <a:defRPr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Text Box">
            <a:extLst>
              <a:ext uri="{FF2B5EF4-FFF2-40B4-BE49-F238E27FC236}">
                <a16:creationId xmlns:a16="http://schemas.microsoft.com/office/drawing/2014/main" id="{19AF6AE8-D2B1-4EB5-BBB4-9077B1F7CB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2" y="4114800"/>
            <a:ext cx="4378036" cy="228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>
                <a:schemeClr val="bg1"/>
              </a:buClr>
              <a:buFont typeface="Arial" panose="020B0604020202020204" pitchFamily="34" charset="0"/>
              <a:buNone/>
              <a:defRPr sz="1795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55ECC8B-4B56-4777-97FD-BF1D9B8F06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2" y="914400"/>
            <a:ext cx="4378036" cy="2743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sz="419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3922637811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Overlay narrow  1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">
            <a:extLst>
              <a:ext uri="{FF2B5EF4-FFF2-40B4-BE49-F238E27FC236}">
                <a16:creationId xmlns:a16="http://schemas.microsoft.com/office/drawing/2014/main" id="{4FCD446E-D362-46C5-91D6-8B0C743A3773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267200" y="914400"/>
            <a:ext cx="7467600" cy="45720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r">
              <a:defRPr lang="en-PH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 </a:t>
            </a:r>
            <a:endParaRPr lang="en-PH"/>
          </a:p>
        </p:txBody>
      </p:sp>
      <p:sp>
        <p:nvSpPr>
          <p:cNvPr id="5" name="Rectangle">
            <a:extLst>
              <a:ext uri="{FF2B5EF4-FFF2-40B4-BE49-F238E27FC236}">
                <a16:creationId xmlns:a16="http://schemas.microsoft.com/office/drawing/2014/main" id="{1C43E271-585A-4BE6-84C9-3787B822945E}"/>
              </a:ext>
            </a:extLst>
          </p:cNvPr>
          <p:cNvSpPr/>
          <p:nvPr userDrawn="1"/>
        </p:nvSpPr>
        <p:spPr>
          <a:xfrm>
            <a:off x="1" y="2"/>
            <a:ext cx="4038600" cy="6857999"/>
          </a:xfrm>
          <a:prstGeom prst="rect">
            <a:avLst/>
          </a:prstGeom>
          <a:solidFill>
            <a:srgbClr val="E7E6E6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sz="2044"/>
          </a:p>
        </p:txBody>
      </p:sp>
      <p:sp>
        <p:nvSpPr>
          <p:cNvPr id="19" name="Text">
            <a:extLst>
              <a:ext uri="{FF2B5EF4-FFF2-40B4-BE49-F238E27FC236}">
                <a16:creationId xmlns:a16="http://schemas.microsoft.com/office/drawing/2014/main" id="{F68EE003-0251-496B-8C8B-76B18E7545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3657600"/>
            <a:ext cx="3366655" cy="1600200"/>
          </a:xfrm>
          <a:prstGeom prst="rect">
            <a:avLst/>
          </a:prstGeom>
        </p:spPr>
        <p:txBody>
          <a:bodyPr lIns="0" tIns="0" rIns="90000" bIns="0"/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59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81AFEDCA-5DFA-4012-BB79-36C20DA068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1835728"/>
            <a:ext cx="3366654" cy="1593273"/>
          </a:xfrm>
          <a:prstGeom prst="rect">
            <a:avLst/>
          </a:prstGeom>
        </p:spPr>
        <p:txBody>
          <a:bodyPr rIns="90000">
            <a:noAutofit/>
          </a:bodyPr>
          <a:lstStyle>
            <a:lvl1pPr>
              <a:lnSpc>
                <a:spcPct val="90000"/>
              </a:lnSpc>
              <a:defRPr sz="2793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Title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135014618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">
            <a:extLst>
              <a:ext uri="{FF2B5EF4-FFF2-40B4-BE49-F238E27FC236}">
                <a16:creationId xmlns:a16="http://schemas.microsoft.com/office/drawing/2014/main" id="{C294B6CA-68F4-4F29-B1B2-5880C39BEB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2057400"/>
            <a:ext cx="4571999" cy="2743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sz="419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Title</a:t>
            </a:r>
            <a:endParaRPr lang="en-PH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7C602180-74AB-4C47-90BF-1DB0B4AE12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57800" y="2057400"/>
            <a:ext cx="6477000" cy="2743200"/>
          </a:xfrm>
          <a:prstGeom prst="rect">
            <a:avLst/>
          </a:prstGeom>
        </p:spPr>
        <p:txBody>
          <a:bodyPr lIns="0" tIns="0" rIns="0" bIns="0"/>
          <a:lstStyle>
            <a:lvl1pPr marL="269325" indent="-269325">
              <a:spcBef>
                <a:spcPts val="299"/>
              </a:spcBef>
              <a:spcAft>
                <a:spcPts val="599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795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13879310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wo column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">
            <a:extLst>
              <a:ext uri="{FF2B5EF4-FFF2-40B4-BE49-F238E27FC236}">
                <a16:creationId xmlns:a16="http://schemas.microsoft.com/office/drawing/2014/main" id="{298B0F4A-603D-4EE9-86E7-F8ECA1A3CF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828768"/>
            <a:ext cx="11277600" cy="4572032"/>
          </a:xfrm>
          <a:prstGeom prst="rect">
            <a:avLst/>
          </a:prstGeom>
        </p:spPr>
        <p:txBody>
          <a:bodyPr lIns="0" tIns="0" rIns="0" bIns="0"/>
          <a:lstStyle>
            <a:lvl1pPr marL="269325" indent="-269325">
              <a:spcBef>
                <a:spcPts val="299"/>
              </a:spcBef>
              <a:spcAft>
                <a:spcPts val="599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596" b="0">
                <a:solidFill>
                  <a:schemeClr val="tx1"/>
                </a:solidFill>
              </a:defRPr>
            </a:lvl1pPr>
            <a:lvl2pPr marL="538650" indent="-269325">
              <a:spcBef>
                <a:spcPts val="299"/>
              </a:spcBef>
              <a:spcAft>
                <a:spcPts val="599"/>
              </a:spcAft>
              <a:buFont typeface="Arial" panose="020B0604020202020204" pitchFamily="34" charset="0"/>
              <a:buNone/>
              <a:defRPr sz="1596"/>
            </a:lvl2pPr>
          </a:lstStyle>
          <a:p>
            <a:pPr lvl="0"/>
            <a:r>
              <a:rPr lang="en-US"/>
              <a:t>Standard Text 16</a:t>
            </a:r>
          </a:p>
          <a:p>
            <a:pPr lvl="0"/>
            <a:r>
              <a:rPr lang="en-US"/>
              <a:t>Standard bullet 16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2491E2E6-68F9-4B47-93D3-947FED19C9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2"/>
            <a:ext cx="11277600" cy="6857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Single column content slide title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229669114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wo column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">
            <a:extLst>
              <a:ext uri="{FF2B5EF4-FFF2-40B4-BE49-F238E27FC236}">
                <a16:creationId xmlns:a16="http://schemas.microsoft.com/office/drawing/2014/main" id="{298B0F4A-603D-4EE9-86E7-F8ECA1A3CF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261998"/>
            <a:ext cx="11277600" cy="4138803"/>
          </a:xfrm>
          <a:prstGeom prst="rect">
            <a:avLst/>
          </a:prstGeom>
        </p:spPr>
        <p:txBody>
          <a:bodyPr lIns="0" tIns="0" rIns="0" bIns="0"/>
          <a:lstStyle>
            <a:lvl1pPr marL="269325" indent="-269325">
              <a:spcBef>
                <a:spcPts val="299"/>
              </a:spcBef>
              <a:spcAft>
                <a:spcPts val="599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596" b="0">
                <a:solidFill>
                  <a:schemeClr val="tx1"/>
                </a:solidFill>
              </a:defRPr>
            </a:lvl1pPr>
            <a:lvl2pPr marL="538650" indent="-269325">
              <a:spcBef>
                <a:spcPts val="299"/>
              </a:spcBef>
              <a:spcAft>
                <a:spcPts val="599"/>
              </a:spcAft>
              <a:buFont typeface="Arial" panose="020B0604020202020204" pitchFamily="34" charset="0"/>
              <a:buNone/>
              <a:defRPr sz="1596"/>
            </a:lvl2pPr>
          </a:lstStyle>
          <a:p>
            <a:pPr lvl="0"/>
            <a:r>
              <a:rPr lang="en-US"/>
              <a:t>Standard Text 16</a:t>
            </a:r>
          </a:p>
          <a:p>
            <a:pPr lvl="0"/>
            <a:r>
              <a:rPr lang="en-US"/>
              <a:t>Standard bullet 16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B07DFCD3-CE14-EA48-9EA3-FBDA19CE4F24}"/>
              </a:ext>
            </a:extLst>
          </p:cNvPr>
          <p:cNvSpPr txBox="1">
            <a:spLocks/>
          </p:cNvSpPr>
          <p:nvPr userDrawn="1"/>
        </p:nvSpPr>
        <p:spPr>
          <a:xfrm>
            <a:off x="478824" y="1600202"/>
            <a:ext cx="11277600" cy="66179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8691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95">
                <a:solidFill>
                  <a:schemeClr val="tx1"/>
                </a:solidFill>
              </a:rPr>
              <a:t>Subtitle</a:t>
            </a:r>
            <a:endParaRPr lang="en-PH" sz="2095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2491E2E6-68F9-4B47-93D3-947FED19C9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2"/>
            <a:ext cx="11277600" cy="6857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Single column content slide title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105867780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wo column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">
            <a:extLst>
              <a:ext uri="{FF2B5EF4-FFF2-40B4-BE49-F238E27FC236}">
                <a16:creationId xmlns:a16="http://schemas.microsoft.com/office/drawing/2014/main" id="{298B0F4A-603D-4EE9-86E7-F8ECA1A3CF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2309018"/>
            <a:ext cx="5524500" cy="4091782"/>
          </a:xfrm>
          <a:prstGeom prst="rect">
            <a:avLst/>
          </a:prstGeom>
        </p:spPr>
        <p:txBody>
          <a:bodyPr lIns="0" tIns="0" rIns="0" bIns="0"/>
          <a:lstStyle>
            <a:lvl1pPr marL="269325" indent="-269325">
              <a:spcBef>
                <a:spcPts val="299"/>
              </a:spcBef>
              <a:spcAft>
                <a:spcPts val="599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397" b="0">
                <a:solidFill>
                  <a:schemeClr val="tx1"/>
                </a:solidFill>
              </a:defRPr>
            </a:lvl1pPr>
            <a:lvl2pPr marL="538650" indent="-269325">
              <a:spcBef>
                <a:spcPts val="299"/>
              </a:spcBef>
              <a:spcAft>
                <a:spcPts val="599"/>
              </a:spcAft>
              <a:buFont typeface="Arial" panose="020B0604020202020204" pitchFamily="34" charset="0"/>
              <a:buChar char="−"/>
              <a:defRPr sz="1397"/>
            </a:lvl2pPr>
          </a:lstStyle>
          <a:p>
            <a:pPr lvl="0"/>
            <a:r>
              <a:rPr lang="en-US"/>
              <a:t>Standard bullet 14</a:t>
            </a:r>
          </a:p>
          <a:p>
            <a:pPr lvl="1"/>
            <a:r>
              <a:rPr lang="en-US"/>
              <a:t>Second level standard bullet 14</a:t>
            </a:r>
          </a:p>
        </p:txBody>
      </p:sp>
      <p:sp>
        <p:nvSpPr>
          <p:cNvPr id="22" name="Title Text">
            <a:extLst>
              <a:ext uri="{FF2B5EF4-FFF2-40B4-BE49-F238E27FC236}">
                <a16:creationId xmlns:a16="http://schemas.microsoft.com/office/drawing/2014/main" id="{AD203639-DCA9-4BBA-A1F3-753BF58A052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1" y="1842292"/>
            <a:ext cx="5524500" cy="2381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59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23" name="Text">
            <a:extLst>
              <a:ext uri="{FF2B5EF4-FFF2-40B4-BE49-F238E27FC236}">
                <a16:creationId xmlns:a16="http://schemas.microsoft.com/office/drawing/2014/main" id="{998836C9-68B5-4657-982E-52E03AACC2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10300" y="2309019"/>
            <a:ext cx="5524500" cy="4091781"/>
          </a:xfrm>
          <a:prstGeom prst="rect">
            <a:avLst/>
          </a:prstGeom>
        </p:spPr>
        <p:txBody>
          <a:bodyPr lIns="0" tIns="0" rIns="0" bIns="0"/>
          <a:lstStyle>
            <a:lvl1pPr marL="269325" indent="-269325">
              <a:spcBef>
                <a:spcPts val="299"/>
              </a:spcBef>
              <a:spcAft>
                <a:spcPts val="599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397" b="0">
                <a:solidFill>
                  <a:schemeClr val="tx1"/>
                </a:solidFill>
              </a:defRPr>
            </a:lvl1pPr>
            <a:lvl2pPr marL="538650" indent="-269325">
              <a:spcBef>
                <a:spcPts val="299"/>
              </a:spcBef>
              <a:spcAft>
                <a:spcPts val="599"/>
              </a:spcAft>
              <a:buFont typeface="Arial" panose="020B0604020202020204" pitchFamily="34" charset="0"/>
              <a:buChar char="−"/>
              <a:defRPr sz="1397"/>
            </a:lvl2pPr>
          </a:lstStyle>
          <a:p>
            <a:pPr lvl="0"/>
            <a:r>
              <a:rPr lang="en-US"/>
              <a:t>Standard bullet 14</a:t>
            </a:r>
          </a:p>
          <a:p>
            <a:pPr lvl="1"/>
            <a:r>
              <a:rPr lang="en-US"/>
              <a:t>Second level standard bullet 14</a:t>
            </a:r>
          </a:p>
        </p:txBody>
      </p:sp>
      <p:sp>
        <p:nvSpPr>
          <p:cNvPr id="24" name="Title Text">
            <a:extLst>
              <a:ext uri="{FF2B5EF4-FFF2-40B4-BE49-F238E27FC236}">
                <a16:creationId xmlns:a16="http://schemas.microsoft.com/office/drawing/2014/main" id="{A6A9F80A-32AD-4602-AD0E-143DE6B70B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10300" y="1842292"/>
            <a:ext cx="5524500" cy="2381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59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2491E2E6-68F9-4B47-93D3-947FED19C9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2"/>
            <a:ext cx="11277600" cy="6857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Two column content slide title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46302226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wo column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">
            <a:extLst>
              <a:ext uri="{FF2B5EF4-FFF2-40B4-BE49-F238E27FC236}">
                <a16:creationId xmlns:a16="http://schemas.microsoft.com/office/drawing/2014/main" id="{C6880666-BD48-4FB5-894D-1FAA7EC53A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2756695"/>
            <a:ext cx="5524500" cy="3644109"/>
          </a:xfrm>
          <a:prstGeom prst="rect">
            <a:avLst/>
          </a:prstGeom>
        </p:spPr>
        <p:txBody>
          <a:bodyPr lIns="0" tIns="0" rIns="0" bIns="0"/>
          <a:lstStyle>
            <a:lvl1pPr marL="269325" indent="-269325">
              <a:spcBef>
                <a:spcPts val="299"/>
              </a:spcBef>
              <a:spcAft>
                <a:spcPts val="599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397" b="0">
                <a:solidFill>
                  <a:schemeClr val="tx1"/>
                </a:solidFill>
              </a:defRPr>
            </a:lvl1pPr>
            <a:lvl2pPr marL="538650" indent="-269325">
              <a:spcBef>
                <a:spcPts val="299"/>
              </a:spcBef>
              <a:spcAft>
                <a:spcPts val="599"/>
              </a:spcAft>
              <a:buFont typeface="Arial" panose="020B0604020202020204" pitchFamily="34" charset="0"/>
              <a:buChar char="−"/>
              <a:defRPr sz="1397"/>
            </a:lvl2pPr>
          </a:lstStyle>
          <a:p>
            <a:pPr lvl="0"/>
            <a:r>
              <a:rPr lang="en-US"/>
              <a:t>Standard bullet 14</a:t>
            </a:r>
          </a:p>
          <a:p>
            <a:pPr lvl="1"/>
            <a:r>
              <a:rPr lang="en-US"/>
              <a:t>Second level standard bullet 14</a:t>
            </a:r>
          </a:p>
        </p:txBody>
      </p:sp>
      <p:sp>
        <p:nvSpPr>
          <p:cNvPr id="9" name="Title Text">
            <a:extLst>
              <a:ext uri="{FF2B5EF4-FFF2-40B4-BE49-F238E27FC236}">
                <a16:creationId xmlns:a16="http://schemas.microsoft.com/office/drawing/2014/main" id="{7EE25830-FFA0-4D27-90DB-63739F4EEDE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1" y="2289967"/>
            <a:ext cx="5524500" cy="2381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795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0C5C32CF-1D68-44D5-9E4D-39AE164791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10300" y="2756693"/>
            <a:ext cx="5524500" cy="3644108"/>
          </a:xfrm>
          <a:prstGeom prst="rect">
            <a:avLst/>
          </a:prstGeom>
        </p:spPr>
        <p:txBody>
          <a:bodyPr lIns="0" tIns="0" rIns="0" bIns="0"/>
          <a:lstStyle>
            <a:lvl1pPr marL="269325" indent="-269325">
              <a:spcBef>
                <a:spcPts val="299"/>
              </a:spcBef>
              <a:spcAft>
                <a:spcPts val="599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397" b="0">
                <a:solidFill>
                  <a:schemeClr val="tx1"/>
                </a:solidFill>
              </a:defRPr>
            </a:lvl1pPr>
            <a:lvl2pPr marL="538650" indent="-269325">
              <a:spcBef>
                <a:spcPts val="299"/>
              </a:spcBef>
              <a:spcAft>
                <a:spcPts val="599"/>
              </a:spcAft>
              <a:buFont typeface="Arial" panose="020B0604020202020204" pitchFamily="34" charset="0"/>
              <a:buChar char="−"/>
              <a:defRPr sz="1397"/>
            </a:lvl2pPr>
          </a:lstStyle>
          <a:p>
            <a:pPr lvl="0"/>
            <a:r>
              <a:rPr lang="en-US"/>
              <a:t>Standard bullet 14</a:t>
            </a:r>
          </a:p>
          <a:p>
            <a:pPr lvl="1"/>
            <a:r>
              <a:rPr lang="en-US"/>
              <a:t>Second level standard bullet 14</a:t>
            </a:r>
          </a:p>
        </p:txBody>
      </p:sp>
      <p:sp>
        <p:nvSpPr>
          <p:cNvPr id="12" name="Title Text">
            <a:extLst>
              <a:ext uri="{FF2B5EF4-FFF2-40B4-BE49-F238E27FC236}">
                <a16:creationId xmlns:a16="http://schemas.microsoft.com/office/drawing/2014/main" id="{3475B668-3C33-44B7-87C9-6DAC7A2B994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10300" y="2289967"/>
            <a:ext cx="5524500" cy="2381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795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AD8E728E-C2A9-4AFE-933E-A9D588FADF76}"/>
              </a:ext>
            </a:extLst>
          </p:cNvPr>
          <p:cNvSpPr txBox="1">
            <a:spLocks/>
          </p:cNvSpPr>
          <p:nvPr userDrawn="1"/>
        </p:nvSpPr>
        <p:spPr>
          <a:xfrm>
            <a:off x="478824" y="1600202"/>
            <a:ext cx="11277600" cy="66179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8691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95">
                <a:solidFill>
                  <a:schemeClr val="tx1"/>
                </a:solidFill>
              </a:rPr>
              <a:t>Subtitle</a:t>
            </a:r>
            <a:endParaRPr lang="en-PH" sz="2095">
              <a:solidFill>
                <a:schemeClr val="tx1"/>
              </a:solidFill>
            </a:endParaRPr>
          </a:p>
        </p:txBody>
      </p:sp>
      <p:sp>
        <p:nvSpPr>
          <p:cNvPr id="14" name="Title">
            <a:extLst>
              <a:ext uri="{FF2B5EF4-FFF2-40B4-BE49-F238E27FC236}">
                <a16:creationId xmlns:a16="http://schemas.microsoft.com/office/drawing/2014/main" id="{B285E041-72E3-484E-9384-3CEB4C88A2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2"/>
            <a:ext cx="11277600" cy="6857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Two column content slide title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165461447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hree column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">
            <a:extLst>
              <a:ext uri="{FF2B5EF4-FFF2-40B4-BE49-F238E27FC236}">
                <a16:creationId xmlns:a16="http://schemas.microsoft.com/office/drawing/2014/main" id="{134F5A69-A25D-405C-AD1C-37A59E633A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15300" y="2300521"/>
            <a:ext cx="3581400" cy="4100278"/>
          </a:xfrm>
          <a:prstGeom prst="rect">
            <a:avLst/>
          </a:prstGeom>
        </p:spPr>
        <p:txBody>
          <a:bodyPr lIns="0" tIns="0" rIns="0" bIns="0"/>
          <a:lstStyle>
            <a:lvl1pPr marL="269325" indent="-269325">
              <a:spcBef>
                <a:spcPts val="299"/>
              </a:spcBef>
              <a:spcAft>
                <a:spcPts val="599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397" b="0">
                <a:solidFill>
                  <a:schemeClr val="tx1"/>
                </a:solidFill>
              </a:defRPr>
            </a:lvl1pPr>
            <a:lvl2pPr marL="538650" indent="-269325">
              <a:spcBef>
                <a:spcPts val="299"/>
              </a:spcBef>
              <a:spcAft>
                <a:spcPts val="599"/>
              </a:spcAft>
              <a:buFont typeface="Arial" panose="020B0604020202020204" pitchFamily="34" charset="0"/>
              <a:buChar char="−"/>
              <a:defRPr/>
            </a:lvl2pPr>
          </a:lstStyle>
          <a:p>
            <a:pPr lvl="0"/>
            <a:r>
              <a:rPr lang="en-US"/>
              <a:t>Standard bullet 14</a:t>
            </a:r>
          </a:p>
          <a:p>
            <a:pPr lvl="1"/>
            <a:r>
              <a:rPr lang="en-US"/>
              <a:t>Second level standard bullet 14</a:t>
            </a:r>
          </a:p>
        </p:txBody>
      </p:sp>
      <p:sp>
        <p:nvSpPr>
          <p:cNvPr id="26" name="Title Text">
            <a:extLst>
              <a:ext uri="{FF2B5EF4-FFF2-40B4-BE49-F238E27FC236}">
                <a16:creationId xmlns:a16="http://schemas.microsoft.com/office/drawing/2014/main" id="{72B29582-9D7B-409D-8BAF-67D6EDE8B4F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15300" y="1833797"/>
            <a:ext cx="3581400" cy="238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795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23" name="Text">
            <a:extLst>
              <a:ext uri="{FF2B5EF4-FFF2-40B4-BE49-F238E27FC236}">
                <a16:creationId xmlns:a16="http://schemas.microsoft.com/office/drawing/2014/main" id="{998836C9-68B5-4657-982E-52E03AACC2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67200" y="2300522"/>
            <a:ext cx="3581400" cy="4100279"/>
          </a:xfrm>
          <a:prstGeom prst="rect">
            <a:avLst/>
          </a:prstGeom>
        </p:spPr>
        <p:txBody>
          <a:bodyPr lIns="0" tIns="0" rIns="0" bIns="0"/>
          <a:lstStyle>
            <a:lvl1pPr marL="269325" indent="-269325">
              <a:spcBef>
                <a:spcPts val="299"/>
              </a:spcBef>
              <a:spcAft>
                <a:spcPts val="599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397" b="0">
                <a:solidFill>
                  <a:schemeClr val="tx1"/>
                </a:solidFill>
              </a:defRPr>
            </a:lvl1pPr>
            <a:lvl2pPr marL="538650" indent="-269325">
              <a:spcBef>
                <a:spcPts val="299"/>
              </a:spcBef>
              <a:spcAft>
                <a:spcPts val="599"/>
              </a:spcAft>
              <a:buFont typeface="Arial" panose="020B0604020202020204" pitchFamily="34" charset="0"/>
              <a:buChar char="−"/>
              <a:defRPr/>
            </a:lvl2pPr>
          </a:lstStyle>
          <a:p>
            <a:pPr lvl="0"/>
            <a:r>
              <a:rPr lang="en-US"/>
              <a:t>Standard bullet 14</a:t>
            </a:r>
          </a:p>
          <a:p>
            <a:pPr lvl="1"/>
            <a:r>
              <a:rPr lang="en-US"/>
              <a:t>Second level standard bullet 14</a:t>
            </a:r>
          </a:p>
        </p:txBody>
      </p:sp>
      <p:sp>
        <p:nvSpPr>
          <p:cNvPr id="24" name="Title Text">
            <a:extLst>
              <a:ext uri="{FF2B5EF4-FFF2-40B4-BE49-F238E27FC236}">
                <a16:creationId xmlns:a16="http://schemas.microsoft.com/office/drawing/2014/main" id="{A6A9F80A-32AD-4602-AD0E-143DE6B70B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67200" y="1833797"/>
            <a:ext cx="3581400" cy="238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795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17" name="Text">
            <a:extLst>
              <a:ext uri="{FF2B5EF4-FFF2-40B4-BE49-F238E27FC236}">
                <a16:creationId xmlns:a16="http://schemas.microsoft.com/office/drawing/2014/main" id="{298B0F4A-603D-4EE9-86E7-F8ECA1A3CF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300522"/>
            <a:ext cx="3581400" cy="4100279"/>
          </a:xfrm>
          <a:prstGeom prst="rect">
            <a:avLst/>
          </a:prstGeom>
        </p:spPr>
        <p:txBody>
          <a:bodyPr lIns="0" tIns="0" rIns="0" bIns="0"/>
          <a:lstStyle>
            <a:lvl1pPr marL="269325" indent="-269325">
              <a:spcBef>
                <a:spcPts val="299"/>
              </a:spcBef>
              <a:spcAft>
                <a:spcPts val="599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397" b="0">
                <a:solidFill>
                  <a:schemeClr val="tx1"/>
                </a:solidFill>
              </a:defRPr>
            </a:lvl1pPr>
            <a:lvl2pPr marL="538650" indent="-269325">
              <a:spcBef>
                <a:spcPts val="299"/>
              </a:spcBef>
              <a:spcAft>
                <a:spcPts val="599"/>
              </a:spcAft>
              <a:buFont typeface="Arial" panose="020B0604020202020204" pitchFamily="34" charset="0"/>
              <a:buChar char="−"/>
              <a:defRPr/>
            </a:lvl2pPr>
          </a:lstStyle>
          <a:p>
            <a:pPr lvl="0"/>
            <a:r>
              <a:rPr lang="en-US"/>
              <a:t>Standard bullet 14</a:t>
            </a:r>
          </a:p>
          <a:p>
            <a:pPr lvl="1"/>
            <a:r>
              <a:rPr lang="en-US"/>
              <a:t>Second level standard bullet 14</a:t>
            </a:r>
          </a:p>
        </p:txBody>
      </p:sp>
      <p:sp>
        <p:nvSpPr>
          <p:cNvPr id="22" name="Title Text">
            <a:extLst>
              <a:ext uri="{FF2B5EF4-FFF2-40B4-BE49-F238E27FC236}">
                <a16:creationId xmlns:a16="http://schemas.microsoft.com/office/drawing/2014/main" id="{AD203639-DCA9-4BBA-A1F3-753BF58A052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1833797"/>
            <a:ext cx="3581400" cy="238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795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2491E2E6-68F9-4B47-93D3-947FED19C9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2"/>
            <a:ext cx="11277600" cy="6857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Three column content slide title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103319396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hree column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">
            <a:extLst>
              <a:ext uri="{FF2B5EF4-FFF2-40B4-BE49-F238E27FC236}">
                <a16:creationId xmlns:a16="http://schemas.microsoft.com/office/drawing/2014/main" id="{A59BC82E-4888-4249-83EA-B61789E3DE9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15300" y="2748196"/>
            <a:ext cx="3581400" cy="3652604"/>
          </a:xfrm>
          <a:prstGeom prst="rect">
            <a:avLst/>
          </a:prstGeom>
        </p:spPr>
        <p:txBody>
          <a:bodyPr lIns="0" tIns="0" rIns="0" bIns="0"/>
          <a:lstStyle>
            <a:lvl1pPr marL="269325" indent="-269325">
              <a:spcBef>
                <a:spcPts val="299"/>
              </a:spcBef>
              <a:spcAft>
                <a:spcPts val="599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397" b="0">
                <a:solidFill>
                  <a:schemeClr val="tx1"/>
                </a:solidFill>
              </a:defRPr>
            </a:lvl1pPr>
            <a:lvl2pPr marL="538650" indent="-269325">
              <a:spcBef>
                <a:spcPts val="299"/>
              </a:spcBef>
              <a:spcAft>
                <a:spcPts val="599"/>
              </a:spcAft>
              <a:buFont typeface="Arial" panose="020B0604020202020204" pitchFamily="34" charset="0"/>
              <a:buChar char="−"/>
              <a:defRPr/>
            </a:lvl2pPr>
          </a:lstStyle>
          <a:p>
            <a:pPr lvl="0"/>
            <a:r>
              <a:rPr lang="en-US"/>
              <a:t>Standard bullet 14</a:t>
            </a:r>
          </a:p>
          <a:p>
            <a:pPr lvl="1"/>
            <a:r>
              <a:rPr lang="en-US"/>
              <a:t>Second level standard bullet 14</a:t>
            </a:r>
          </a:p>
        </p:txBody>
      </p:sp>
      <p:sp>
        <p:nvSpPr>
          <p:cNvPr id="11" name="Title Text">
            <a:extLst>
              <a:ext uri="{FF2B5EF4-FFF2-40B4-BE49-F238E27FC236}">
                <a16:creationId xmlns:a16="http://schemas.microsoft.com/office/drawing/2014/main" id="{12FEB42A-5FB9-4DA8-BF99-3802C02C3F4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15300" y="2281472"/>
            <a:ext cx="3581400" cy="238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795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12" name="Text">
            <a:extLst>
              <a:ext uri="{FF2B5EF4-FFF2-40B4-BE49-F238E27FC236}">
                <a16:creationId xmlns:a16="http://schemas.microsoft.com/office/drawing/2014/main" id="{500A9A6A-A367-4BFC-A52F-60E450AEE35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67200" y="2748197"/>
            <a:ext cx="3581400" cy="3652605"/>
          </a:xfrm>
          <a:prstGeom prst="rect">
            <a:avLst/>
          </a:prstGeom>
        </p:spPr>
        <p:txBody>
          <a:bodyPr lIns="0" tIns="0" rIns="0" bIns="0"/>
          <a:lstStyle>
            <a:lvl1pPr marL="269325" indent="-269325">
              <a:spcBef>
                <a:spcPts val="299"/>
              </a:spcBef>
              <a:spcAft>
                <a:spcPts val="599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397" b="0">
                <a:solidFill>
                  <a:schemeClr val="tx1"/>
                </a:solidFill>
              </a:defRPr>
            </a:lvl1pPr>
            <a:lvl2pPr marL="538650" indent="-269325">
              <a:spcBef>
                <a:spcPts val="299"/>
              </a:spcBef>
              <a:spcAft>
                <a:spcPts val="599"/>
              </a:spcAft>
              <a:buFont typeface="Arial" panose="020B0604020202020204" pitchFamily="34" charset="0"/>
              <a:buChar char="−"/>
              <a:defRPr/>
            </a:lvl2pPr>
          </a:lstStyle>
          <a:p>
            <a:pPr lvl="0"/>
            <a:r>
              <a:rPr lang="en-US"/>
              <a:t>Standard bullet 14</a:t>
            </a:r>
          </a:p>
          <a:p>
            <a:pPr lvl="1"/>
            <a:r>
              <a:rPr lang="en-US"/>
              <a:t>Second level standard bullet 14</a:t>
            </a:r>
          </a:p>
        </p:txBody>
      </p:sp>
      <p:sp>
        <p:nvSpPr>
          <p:cNvPr id="14" name="Title Text">
            <a:extLst>
              <a:ext uri="{FF2B5EF4-FFF2-40B4-BE49-F238E27FC236}">
                <a16:creationId xmlns:a16="http://schemas.microsoft.com/office/drawing/2014/main" id="{6456AF55-0987-4C41-84C0-A6F3478B1B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67200" y="2281472"/>
            <a:ext cx="3581400" cy="238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795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15" name="Text">
            <a:extLst>
              <a:ext uri="{FF2B5EF4-FFF2-40B4-BE49-F238E27FC236}">
                <a16:creationId xmlns:a16="http://schemas.microsoft.com/office/drawing/2014/main" id="{62B765A8-A5AA-4251-864C-4DE41CFE08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748197"/>
            <a:ext cx="3581400" cy="3652605"/>
          </a:xfrm>
          <a:prstGeom prst="rect">
            <a:avLst/>
          </a:prstGeom>
        </p:spPr>
        <p:txBody>
          <a:bodyPr lIns="0" tIns="0" rIns="0" bIns="0"/>
          <a:lstStyle>
            <a:lvl1pPr marL="269325" indent="-269325">
              <a:spcBef>
                <a:spcPts val="299"/>
              </a:spcBef>
              <a:spcAft>
                <a:spcPts val="599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397" b="0">
                <a:solidFill>
                  <a:schemeClr val="tx1"/>
                </a:solidFill>
              </a:defRPr>
            </a:lvl1pPr>
            <a:lvl2pPr marL="538650" indent="-269325">
              <a:spcBef>
                <a:spcPts val="299"/>
              </a:spcBef>
              <a:spcAft>
                <a:spcPts val="599"/>
              </a:spcAft>
              <a:buFont typeface="Arial" panose="020B0604020202020204" pitchFamily="34" charset="0"/>
              <a:buChar char="−"/>
              <a:defRPr/>
            </a:lvl2pPr>
          </a:lstStyle>
          <a:p>
            <a:pPr lvl="0"/>
            <a:r>
              <a:rPr lang="en-US"/>
              <a:t>Standard bullet 14</a:t>
            </a:r>
          </a:p>
          <a:p>
            <a:pPr lvl="1"/>
            <a:r>
              <a:rPr lang="en-US"/>
              <a:t>Second level standard bullet 14</a:t>
            </a:r>
          </a:p>
        </p:txBody>
      </p:sp>
      <p:sp>
        <p:nvSpPr>
          <p:cNvPr id="16" name="Title Text">
            <a:extLst>
              <a:ext uri="{FF2B5EF4-FFF2-40B4-BE49-F238E27FC236}">
                <a16:creationId xmlns:a16="http://schemas.microsoft.com/office/drawing/2014/main" id="{839F57E5-3CC1-4F14-B49A-9913E61B98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281472"/>
            <a:ext cx="3581400" cy="238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795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5B9A1639-8CE9-3C48-A231-0771FB858034}"/>
              </a:ext>
            </a:extLst>
          </p:cNvPr>
          <p:cNvSpPr txBox="1">
            <a:spLocks/>
          </p:cNvSpPr>
          <p:nvPr userDrawn="1"/>
        </p:nvSpPr>
        <p:spPr>
          <a:xfrm>
            <a:off x="478824" y="1600202"/>
            <a:ext cx="11277600" cy="66179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8691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95">
                <a:solidFill>
                  <a:schemeClr val="tx1"/>
                </a:solidFill>
              </a:rPr>
              <a:t>Subtitle</a:t>
            </a:r>
            <a:endParaRPr lang="en-PH" sz="2095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2491E2E6-68F9-4B47-93D3-947FED19C9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2"/>
            <a:ext cx="11277600" cy="6857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Three column content slide title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39020579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F0A481-AFC3-4B48-A5A1-24BC5FA605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1"/>
            <a:ext cx="11277600" cy="914400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Tit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678EC24-1B0B-4063-90EF-2B01EE915F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6200" y="457200"/>
            <a:ext cx="1498600" cy="228631"/>
          </a:xfrm>
          <a:prstGeom prst="rect">
            <a:avLst/>
          </a:prstGeom>
        </p:spPr>
      </p:pic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44D78412-E888-4D3B-8A6F-D093A6162197}"/>
              </a:ext>
            </a:extLst>
          </p:cNvPr>
          <p:cNvSpPr txBox="1">
            <a:spLocks/>
          </p:cNvSpPr>
          <p:nvPr userDrawn="1"/>
        </p:nvSpPr>
        <p:spPr>
          <a:xfrm>
            <a:off x="11010900" y="6446837"/>
            <a:ext cx="7239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1513" rtl="0" eaLnBrk="1" latinLnBrk="0" hangingPunct="1">
              <a:defRPr sz="9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1513" algn="l" defTabSz="451513" rtl="0" eaLnBrk="1" latinLnBrk="0" hangingPunct="1">
              <a:defRPr sz="177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03024" algn="l" defTabSz="451513" rtl="0" eaLnBrk="1" latinLnBrk="0" hangingPunct="1">
              <a:defRPr sz="177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54537" algn="l" defTabSz="451513" rtl="0" eaLnBrk="1" latinLnBrk="0" hangingPunct="1">
              <a:defRPr sz="177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6050" algn="l" defTabSz="451513" rtl="0" eaLnBrk="1" latinLnBrk="0" hangingPunct="1">
              <a:defRPr sz="177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57561" algn="l" defTabSz="451513" rtl="0" eaLnBrk="1" latinLnBrk="0" hangingPunct="1">
              <a:defRPr sz="177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09074" algn="l" defTabSz="451513" rtl="0" eaLnBrk="1" latinLnBrk="0" hangingPunct="1">
              <a:defRPr sz="177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0586" algn="l" defTabSz="451513" rtl="0" eaLnBrk="1" latinLnBrk="0" hangingPunct="1">
              <a:defRPr sz="177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12099" algn="l" defTabSz="451513" rtl="0" eaLnBrk="1" latinLnBrk="0" hangingPunct="1">
              <a:defRPr sz="177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FE63AA4-120D-435A-A130-F49443AF7CB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CFE172A3-1C14-4E9E-96B3-94E86F1B6940}"/>
              </a:ext>
            </a:extLst>
          </p:cNvPr>
          <p:cNvSpPr txBox="1">
            <a:spLocks/>
          </p:cNvSpPr>
          <p:nvPr userDrawn="1"/>
        </p:nvSpPr>
        <p:spPr>
          <a:xfrm>
            <a:off x="457200" y="6446837"/>
            <a:ext cx="1676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1513" rtl="0" eaLnBrk="1" latinLnBrk="0" hangingPunct="1"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1513" algn="l" defTabSz="451513" rtl="0" eaLnBrk="1" latinLnBrk="0" hangingPunct="1">
              <a:defRPr sz="177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03024" algn="l" defTabSz="451513" rtl="0" eaLnBrk="1" latinLnBrk="0" hangingPunct="1">
              <a:defRPr sz="177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54537" algn="l" defTabSz="451513" rtl="0" eaLnBrk="1" latinLnBrk="0" hangingPunct="1">
              <a:defRPr sz="177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6050" algn="l" defTabSz="451513" rtl="0" eaLnBrk="1" latinLnBrk="0" hangingPunct="1">
              <a:defRPr sz="177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57561" algn="l" defTabSz="451513" rtl="0" eaLnBrk="1" latinLnBrk="0" hangingPunct="1">
              <a:defRPr sz="177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09074" algn="l" defTabSz="451513" rtl="0" eaLnBrk="1" latinLnBrk="0" hangingPunct="1">
              <a:defRPr sz="177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0586" algn="l" defTabSz="451513" rtl="0" eaLnBrk="1" latinLnBrk="0" hangingPunct="1">
              <a:defRPr sz="177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12099" algn="l" defTabSz="451513" rtl="0" eaLnBrk="1" latinLnBrk="0" hangingPunct="1">
              <a:defRPr sz="177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© Arcadis 2023</a:t>
            </a:r>
          </a:p>
        </p:txBody>
      </p:sp>
    </p:spTree>
    <p:extLst>
      <p:ext uri="{BB962C8B-B14F-4D97-AF65-F5344CB8AC3E}">
        <p14:creationId xmlns:p14="http://schemas.microsoft.com/office/powerpoint/2010/main" val="359159989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In-line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">
            <a:extLst>
              <a:ext uri="{FF2B5EF4-FFF2-40B4-BE49-F238E27FC236}">
                <a16:creationId xmlns:a16="http://schemas.microsoft.com/office/drawing/2014/main" id="{419B76A8-F75C-4A84-BA78-0F10BAB9342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" y="2743200"/>
            <a:ext cx="7429500" cy="36576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r">
              <a:defRPr lang="en-US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 </a:t>
            </a:r>
          </a:p>
        </p:txBody>
      </p:sp>
      <p:sp>
        <p:nvSpPr>
          <p:cNvPr id="12" name="Name, Role Orga">
            <a:extLst>
              <a:ext uri="{FF2B5EF4-FFF2-40B4-BE49-F238E27FC236}">
                <a16:creationId xmlns:a16="http://schemas.microsoft.com/office/drawing/2014/main" id="{E29AFD24-B5A4-4A36-A5FB-E5A6A8150EC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15300" y="4572000"/>
            <a:ext cx="3619500" cy="1397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397" b="0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, Role Organization</a:t>
            </a:r>
          </a:p>
        </p:txBody>
      </p:sp>
      <p:sp>
        <p:nvSpPr>
          <p:cNvPr id="11" name="Statement">
            <a:extLst>
              <a:ext uri="{FF2B5EF4-FFF2-40B4-BE49-F238E27FC236}">
                <a16:creationId xmlns:a16="http://schemas.microsoft.com/office/drawing/2014/main" id="{CF93632D-B9B1-42EC-B6DD-06CFA704D6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15300" y="2743200"/>
            <a:ext cx="3619500" cy="16002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795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“Arcadis have delivered incredible outcomes for our people and our clients. We have worked collaboratively together to far exceed our expectations at the start of this project.”</a:t>
            </a:r>
          </a:p>
        </p:txBody>
      </p:sp>
      <p:sp>
        <p:nvSpPr>
          <p:cNvPr id="8" name="Text">
            <a:extLst>
              <a:ext uri="{FF2B5EF4-FFF2-40B4-BE49-F238E27FC236}">
                <a16:creationId xmlns:a16="http://schemas.microsoft.com/office/drawing/2014/main" id="{558B04FE-4F42-4EFB-B1CE-BD4CCF07B4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828800"/>
            <a:ext cx="7429500" cy="6858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2095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 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F32C91CC-F6C0-46C8-AD41-966625DFB2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2"/>
            <a:ext cx="11277600" cy="6857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Title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166955773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9_Call-outs - Image Overl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">
            <a:extLst>
              <a:ext uri="{FF2B5EF4-FFF2-40B4-BE49-F238E27FC236}">
                <a16:creationId xmlns:a16="http://schemas.microsoft.com/office/drawing/2014/main" id="{7D24B23D-CD1A-46D9-8DFF-0714C877178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r">
              <a:defRPr lang="en-US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 </a:t>
            </a: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81AFEDCA-5DFA-4012-BB79-36C20DA068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58200" y="2435803"/>
            <a:ext cx="3276600" cy="535999"/>
          </a:xfrm>
          <a:prstGeom prst="rect">
            <a:avLst/>
          </a:prstGeom>
        </p:spPr>
        <p:txBody>
          <a:bodyPr rIns="90000">
            <a:noAutofit/>
          </a:bodyPr>
          <a:lstStyle>
            <a:lvl1pPr>
              <a:lnSpc>
                <a:spcPct val="90000"/>
              </a:lnSpc>
              <a:defRPr sz="2394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  <a:endParaRPr lang="en-PH"/>
          </a:p>
        </p:txBody>
      </p:sp>
      <p:sp>
        <p:nvSpPr>
          <p:cNvPr id="19" name="Text">
            <a:extLst>
              <a:ext uri="{FF2B5EF4-FFF2-40B4-BE49-F238E27FC236}">
                <a16:creationId xmlns:a16="http://schemas.microsoft.com/office/drawing/2014/main" id="{F68EE003-0251-496B-8C8B-76B18E7545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58201" y="3086100"/>
            <a:ext cx="3276600" cy="1257300"/>
          </a:xfrm>
          <a:prstGeom prst="rect">
            <a:avLst/>
          </a:prstGeom>
        </p:spPr>
        <p:txBody>
          <a:bodyPr lIns="0" tIns="0" rIns="90000" bIns="0"/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795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884224216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all-outs - T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">
            <a:extLst>
              <a:ext uri="{FF2B5EF4-FFF2-40B4-BE49-F238E27FC236}">
                <a16:creationId xmlns:a16="http://schemas.microsoft.com/office/drawing/2014/main" id="{557CB78A-33C8-4FC1-B165-81F4C2A13BC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210300" y="3886200"/>
            <a:ext cx="5524500" cy="25146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r">
              <a:defRPr lang="en-US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 </a:t>
            </a:r>
          </a:p>
        </p:txBody>
      </p:sp>
      <p:sp>
        <p:nvSpPr>
          <p:cNvPr id="10" name="Picture">
            <a:extLst>
              <a:ext uri="{FF2B5EF4-FFF2-40B4-BE49-F238E27FC236}">
                <a16:creationId xmlns:a16="http://schemas.microsoft.com/office/drawing/2014/main" id="{EF4DAFD0-4FB4-425B-A42D-299133C97D3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1" y="3886200"/>
            <a:ext cx="5524500" cy="25146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r">
              <a:defRPr lang="en-US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 </a:t>
            </a:r>
          </a:p>
        </p:txBody>
      </p:sp>
      <p:sp>
        <p:nvSpPr>
          <p:cNvPr id="11" name="Call out box">
            <a:extLst>
              <a:ext uri="{FF2B5EF4-FFF2-40B4-BE49-F238E27FC236}">
                <a16:creationId xmlns:a16="http://schemas.microsoft.com/office/drawing/2014/main" id="{62137EE0-DE44-4020-9C7B-B557B6A445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15300" y="1828800"/>
            <a:ext cx="3619500" cy="1600200"/>
          </a:xfrm>
          <a:prstGeom prst="rect">
            <a:avLst/>
          </a:prstGeom>
          <a:solidFill>
            <a:srgbClr val="F8D8C3"/>
          </a:solidFill>
        </p:spPr>
        <p:txBody>
          <a:bodyPr lIns="180000" tIns="180000" rIns="180000" bIns="180000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596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all out box styles mirror those across the rest of our suite of </a:t>
            </a:r>
            <a:r>
              <a:rPr lang="en-US" err="1"/>
              <a:t>outputs.The</a:t>
            </a:r>
            <a:r>
              <a:rPr lang="en-US"/>
              <a:t> call out box text can be edited and is designed to resize to accommodate different size text flows.</a:t>
            </a:r>
          </a:p>
        </p:txBody>
      </p:sp>
      <p:sp>
        <p:nvSpPr>
          <p:cNvPr id="9" name="Text">
            <a:extLst>
              <a:ext uri="{FF2B5EF4-FFF2-40B4-BE49-F238E27FC236}">
                <a16:creationId xmlns:a16="http://schemas.microsoft.com/office/drawing/2014/main" id="{842E95FB-1D7B-493D-868E-7464FFA1AB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828800"/>
            <a:ext cx="7429500" cy="1600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795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 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1BC2E6D1-5C65-4E06-B9F8-41A42A7A58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2"/>
            <a:ext cx="11277600" cy="6857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Title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223055676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all-outs - Out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">
            <a:extLst>
              <a:ext uri="{FF2B5EF4-FFF2-40B4-BE49-F238E27FC236}">
                <a16:creationId xmlns:a16="http://schemas.microsoft.com/office/drawing/2014/main" id="{557CB78A-33C8-4FC1-B165-81F4C2A13BC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210300" y="3886200"/>
            <a:ext cx="5524500" cy="25146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r">
              <a:defRPr lang="en-US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 </a:t>
            </a:r>
          </a:p>
        </p:txBody>
      </p:sp>
      <p:sp>
        <p:nvSpPr>
          <p:cNvPr id="10" name="Picture">
            <a:extLst>
              <a:ext uri="{FF2B5EF4-FFF2-40B4-BE49-F238E27FC236}">
                <a16:creationId xmlns:a16="http://schemas.microsoft.com/office/drawing/2014/main" id="{EF4DAFD0-4FB4-425B-A42D-299133C97D3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1" y="3886200"/>
            <a:ext cx="5524500" cy="25146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r">
              <a:defRPr lang="en-US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 </a:t>
            </a:r>
          </a:p>
        </p:txBody>
      </p:sp>
      <p:sp>
        <p:nvSpPr>
          <p:cNvPr id="11" name="Call out box">
            <a:extLst>
              <a:ext uri="{FF2B5EF4-FFF2-40B4-BE49-F238E27FC236}">
                <a16:creationId xmlns:a16="http://schemas.microsoft.com/office/drawing/2014/main" id="{62137EE0-DE44-4020-9C7B-B557B6A445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15300" y="1828800"/>
            <a:ext cx="3619500" cy="1600200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txBody>
          <a:bodyPr lIns="180000" tIns="180000" rIns="180000" bIns="180000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596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all out box styles mirror those across the rest of our suite of </a:t>
            </a:r>
            <a:r>
              <a:rPr lang="en-US" err="1"/>
              <a:t>outputs.The</a:t>
            </a:r>
            <a:r>
              <a:rPr lang="en-US"/>
              <a:t> call out box text can be edited and is designed to resize to accommodate different size text flows.</a:t>
            </a:r>
          </a:p>
        </p:txBody>
      </p:sp>
      <p:sp>
        <p:nvSpPr>
          <p:cNvPr id="9" name="Text">
            <a:extLst>
              <a:ext uri="{FF2B5EF4-FFF2-40B4-BE49-F238E27FC236}">
                <a16:creationId xmlns:a16="http://schemas.microsoft.com/office/drawing/2014/main" id="{842E95FB-1D7B-493D-868E-7464FFA1AB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828800"/>
            <a:ext cx="7429500" cy="1600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795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 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1BC2E6D1-5C65-4E06-B9F8-41A42A7A58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2"/>
            <a:ext cx="11277600" cy="6857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Title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59795408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edia">
            <a:extLst>
              <a:ext uri="{FF2B5EF4-FFF2-40B4-BE49-F238E27FC236}">
                <a16:creationId xmlns:a16="http://schemas.microsoft.com/office/drawing/2014/main" id="{05935665-280C-4908-9891-241F791D7F18}"/>
              </a:ext>
            </a:extLst>
          </p:cNvPr>
          <p:cNvSpPr>
            <a:spLocks noGrp="1"/>
          </p:cNvSpPr>
          <p:nvPr>
            <p:ph type="media" sz="quarter" idx="13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r">
              <a:defRPr lang="en-US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41349514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Sing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">
            <a:extLst>
              <a:ext uri="{FF2B5EF4-FFF2-40B4-BE49-F238E27FC236}">
                <a16:creationId xmlns:a16="http://schemas.microsoft.com/office/drawing/2014/main" id="{4A8869CB-2223-4946-81BC-8717270A6AD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" y="457200"/>
            <a:ext cx="11277600" cy="59436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r">
              <a:defRPr lang="en-US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02712962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Single imag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">
            <a:extLst>
              <a:ext uri="{FF2B5EF4-FFF2-40B4-BE49-F238E27FC236}">
                <a16:creationId xmlns:a16="http://schemas.microsoft.com/office/drawing/2014/main" id="{4A8869CB-2223-4946-81BC-8717270A6AD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" y="1828800"/>
            <a:ext cx="11277600" cy="45720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r">
              <a:defRPr lang="en-US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 </a:t>
            </a: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834B9CBD-AF1F-4C24-B1D3-A7A9BEC7E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2"/>
            <a:ext cx="11277600" cy="6857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Single image slide title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424406181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Single image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241A5376-4AC0-4EBD-83C9-896F75C80D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145598"/>
            <a:ext cx="4800600" cy="182620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419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4EEB3F6E-469A-465B-9C79-FB954E2DC3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3657600"/>
            <a:ext cx="5524500" cy="18288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795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59374588-EBEE-4957-AF74-429C29CC408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210300" y="457201"/>
            <a:ext cx="5524500" cy="59436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097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 to insert an image</a:t>
            </a:r>
          </a:p>
        </p:txBody>
      </p:sp>
    </p:spTree>
    <p:extLst>
      <p:ext uri="{BB962C8B-B14F-4D97-AF65-F5344CB8AC3E}">
        <p14:creationId xmlns:p14="http://schemas.microsoft.com/office/powerpoint/2010/main" val="176381387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B4049965-34B5-48F5-8EBC-41C49A33113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267200" y="0"/>
            <a:ext cx="7924800" cy="68580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097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insert an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55ECC8B-4B56-4777-97FD-BF1D9B8F06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2" y="1143000"/>
            <a:ext cx="3581399" cy="2514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sz="2793">
                <a:solidFill>
                  <a:schemeClr val="accent1"/>
                </a:solidFill>
              </a:defRPr>
            </a:lvl1pPr>
          </a:lstStyle>
          <a:p>
            <a:r>
              <a:rPr lang="en-US"/>
              <a:t>Single image with description title</a:t>
            </a:r>
            <a:endParaRPr lang="en-PH"/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19AF6AE8-D2B1-4EB5-BBB4-9077B1F7CB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2" y="4114800"/>
            <a:ext cx="3581399" cy="228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Overview text here as additional description for the image</a:t>
            </a:r>
          </a:p>
        </p:txBody>
      </p:sp>
    </p:spTree>
    <p:extLst>
      <p:ext uri="{BB962C8B-B14F-4D97-AF65-F5344CB8AC3E}">
        <p14:creationId xmlns:p14="http://schemas.microsoft.com/office/powerpoint/2010/main" val="5415989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hree image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">
            <a:extLst>
              <a:ext uri="{FF2B5EF4-FFF2-40B4-BE49-F238E27FC236}">
                <a16:creationId xmlns:a16="http://schemas.microsoft.com/office/drawing/2014/main" id="{12C63D43-69CB-4811-B72D-5F3DCB51568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210300" y="1828800"/>
            <a:ext cx="5524500" cy="45720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r">
              <a:defRPr lang="en-US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 </a:t>
            </a:r>
          </a:p>
        </p:txBody>
      </p:sp>
      <p:sp>
        <p:nvSpPr>
          <p:cNvPr id="5" name="Picture">
            <a:extLst>
              <a:ext uri="{FF2B5EF4-FFF2-40B4-BE49-F238E27FC236}">
                <a16:creationId xmlns:a16="http://schemas.microsoft.com/office/drawing/2014/main" id="{4A8869CB-2223-4946-81BC-8717270A6AD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1" y="3886200"/>
            <a:ext cx="5524500" cy="25146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r">
              <a:defRPr lang="en-US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 </a:t>
            </a:r>
          </a:p>
        </p:txBody>
      </p:sp>
      <p:sp>
        <p:nvSpPr>
          <p:cNvPr id="9" name="Text">
            <a:extLst>
              <a:ext uri="{FF2B5EF4-FFF2-40B4-BE49-F238E27FC236}">
                <a16:creationId xmlns:a16="http://schemas.microsoft.com/office/drawing/2014/main" id="{3250F41B-9145-47D2-ABD7-EBD915A67B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1828800"/>
            <a:ext cx="5524500" cy="1600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795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 </a:t>
            </a: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834B9CBD-AF1F-4C24-B1D3-A7A9BEC7E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2"/>
            <a:ext cx="11277600" cy="6857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Title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1528465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0A3412-F8F5-4C34-944B-36CFCB7325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0"/>
            <a:ext cx="2628900" cy="5029200"/>
          </a:xfrm>
        </p:spPr>
        <p:txBody>
          <a:bodyPr>
            <a:normAutofit/>
          </a:bodyPr>
          <a:lstStyle>
            <a:lvl1pPr>
              <a:defRPr sz="4200"/>
            </a:lvl1pPr>
          </a:lstStyle>
          <a:p>
            <a:r>
              <a:rPr lang="en-US"/>
              <a:t>Agenda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63C01C-5E4A-48C8-8DFB-9535E24693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446837"/>
            <a:ext cx="16764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Arcadis 2020</a:t>
            </a: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A77579DE-DB74-46FF-84F6-29EC955B4E6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67200" y="1614054"/>
            <a:ext cx="260119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genda item 1 title</a:t>
            </a:r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41D393E6-10CC-413D-9A57-F7E0D262849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67200" y="2071254"/>
            <a:ext cx="2601190" cy="4433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Brief description if needed.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3C026DCF-CD0E-413B-82F9-C0581F01DBE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14700" y="1614054"/>
            <a:ext cx="723900" cy="900546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None/>
              <a:defRPr sz="2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94C9C2AA-911A-4114-91C9-6EAE696FCFD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67200" y="2743200"/>
            <a:ext cx="260119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genda item 2 title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26C0E548-7870-429B-9B92-BE3E3CD5505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67200" y="3200400"/>
            <a:ext cx="2601190" cy="4433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Brief description if needed.</a:t>
            </a:r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0D6A66BA-4543-4786-A6ED-D01CD326E12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314700" y="2743200"/>
            <a:ext cx="723900" cy="900546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None/>
              <a:defRPr sz="2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2FC311F8-36DC-47B9-A8A5-AC899D0C93E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67200" y="3900054"/>
            <a:ext cx="260119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genda item 3 title</a:t>
            </a:r>
          </a:p>
        </p:txBody>
      </p:sp>
      <p:sp>
        <p:nvSpPr>
          <p:cNvPr id="15" name="Text Placeholder 16">
            <a:extLst>
              <a:ext uri="{FF2B5EF4-FFF2-40B4-BE49-F238E27FC236}">
                <a16:creationId xmlns:a16="http://schemas.microsoft.com/office/drawing/2014/main" id="{F28B10F1-284B-4904-BFA3-824B1F9640A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67200" y="4357254"/>
            <a:ext cx="2601190" cy="4433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Brief description if needed.</a:t>
            </a:r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7283BFC4-D845-4FE4-8401-A18F675BA62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14700" y="3900054"/>
            <a:ext cx="723900" cy="900546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None/>
              <a:defRPr sz="2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99218627-9DF4-4DC1-9A04-89B60B91093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67200" y="5029200"/>
            <a:ext cx="260119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genda item 4 title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897FE195-12FD-4EC5-A4A3-0D6AD5612C6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267200" y="5486400"/>
            <a:ext cx="2601190" cy="4433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Brief description if needed.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A7EAAFE9-5464-46B3-939E-F208BB88175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14700" y="5029200"/>
            <a:ext cx="723900" cy="900546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None/>
              <a:defRPr sz="2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425E291D-C6D2-4A0E-856B-CDFBB4EE7B8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115300" y="1614054"/>
            <a:ext cx="260119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genda item 5 title</a:t>
            </a:r>
          </a:p>
        </p:txBody>
      </p:sp>
      <p:sp>
        <p:nvSpPr>
          <p:cNvPr id="21" name="Text Placeholder 16">
            <a:extLst>
              <a:ext uri="{FF2B5EF4-FFF2-40B4-BE49-F238E27FC236}">
                <a16:creationId xmlns:a16="http://schemas.microsoft.com/office/drawing/2014/main" id="{63B294A3-5269-4870-BA22-91A0F2576C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15300" y="2071254"/>
            <a:ext cx="2601190" cy="4433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Brief description if needed.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AD6CC0FA-801B-4C6B-97D2-B74D0C37B3A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162800" y="1614054"/>
            <a:ext cx="723900" cy="900546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None/>
              <a:defRPr sz="2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23" name="Text Placeholder 16">
            <a:extLst>
              <a:ext uri="{FF2B5EF4-FFF2-40B4-BE49-F238E27FC236}">
                <a16:creationId xmlns:a16="http://schemas.microsoft.com/office/drawing/2014/main" id="{D3D55642-1561-4CFF-B79B-78852798278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115300" y="2743200"/>
            <a:ext cx="260119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genda item 6 title</a:t>
            </a:r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id="{F537D0E4-9430-468F-96FA-C52F27D321E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115300" y="3200400"/>
            <a:ext cx="2601190" cy="4433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Brief description if needed.</a:t>
            </a:r>
          </a:p>
        </p:txBody>
      </p:sp>
      <p:sp>
        <p:nvSpPr>
          <p:cNvPr id="25" name="Text Placeholder 16">
            <a:extLst>
              <a:ext uri="{FF2B5EF4-FFF2-40B4-BE49-F238E27FC236}">
                <a16:creationId xmlns:a16="http://schemas.microsoft.com/office/drawing/2014/main" id="{6FDAFE21-5787-40BD-BE6B-42F86C3548B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162800" y="2743200"/>
            <a:ext cx="723900" cy="900546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None/>
              <a:defRPr sz="2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92D29A6F-7B29-4D19-A9AB-E3CDAA617D6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115300" y="3900054"/>
            <a:ext cx="260119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genda item 7 title</a:t>
            </a:r>
          </a:p>
        </p:txBody>
      </p:sp>
      <p:sp>
        <p:nvSpPr>
          <p:cNvPr id="27" name="Text Placeholder 16">
            <a:extLst>
              <a:ext uri="{FF2B5EF4-FFF2-40B4-BE49-F238E27FC236}">
                <a16:creationId xmlns:a16="http://schemas.microsoft.com/office/drawing/2014/main" id="{713DB33C-7EB8-4578-A2D2-DCCF4520676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115300" y="4357254"/>
            <a:ext cx="2601190" cy="4433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Brief description if needed.</a:t>
            </a:r>
          </a:p>
        </p:txBody>
      </p:sp>
      <p:sp>
        <p:nvSpPr>
          <p:cNvPr id="28" name="Text Placeholder 16">
            <a:extLst>
              <a:ext uri="{FF2B5EF4-FFF2-40B4-BE49-F238E27FC236}">
                <a16:creationId xmlns:a16="http://schemas.microsoft.com/office/drawing/2014/main" id="{5D990D95-93AC-4539-8642-BFEF3663DE4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162800" y="3900054"/>
            <a:ext cx="723900" cy="900546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None/>
              <a:defRPr sz="2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7</a:t>
            </a:r>
          </a:p>
        </p:txBody>
      </p:sp>
      <p:sp>
        <p:nvSpPr>
          <p:cNvPr id="29" name="Text Placeholder 16">
            <a:extLst>
              <a:ext uri="{FF2B5EF4-FFF2-40B4-BE49-F238E27FC236}">
                <a16:creationId xmlns:a16="http://schemas.microsoft.com/office/drawing/2014/main" id="{22F9D84F-2EA4-4D8D-BDF7-6EB3D868B4A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115300" y="5029200"/>
            <a:ext cx="260119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genda item 8 title</a:t>
            </a:r>
          </a:p>
        </p:txBody>
      </p:sp>
      <p:sp>
        <p:nvSpPr>
          <p:cNvPr id="30" name="Text Placeholder 16">
            <a:extLst>
              <a:ext uri="{FF2B5EF4-FFF2-40B4-BE49-F238E27FC236}">
                <a16:creationId xmlns:a16="http://schemas.microsoft.com/office/drawing/2014/main" id="{D1B6D1AF-9D74-4A85-B7E1-7B96E1A558B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115300" y="5486400"/>
            <a:ext cx="2601190" cy="4433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Brief description if needed.</a:t>
            </a:r>
          </a:p>
        </p:txBody>
      </p:sp>
      <p:sp>
        <p:nvSpPr>
          <p:cNvPr id="31" name="Text Placeholder 16">
            <a:extLst>
              <a:ext uri="{FF2B5EF4-FFF2-40B4-BE49-F238E27FC236}">
                <a16:creationId xmlns:a16="http://schemas.microsoft.com/office/drawing/2014/main" id="{54C20AAC-ACA0-42AB-BCE9-56AA810FC58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162800" y="5029200"/>
            <a:ext cx="723900" cy="900546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None/>
              <a:defRPr sz="2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8</a:t>
            </a:r>
          </a:p>
        </p:txBody>
      </p:sp>
      <p:pic>
        <p:nvPicPr>
          <p:cNvPr id="32" name="Picture 31" descr="&#10;">
            <a:extLst>
              <a:ext uri="{FF2B5EF4-FFF2-40B4-BE49-F238E27FC236}">
                <a16:creationId xmlns:a16="http://schemas.microsoft.com/office/drawing/2014/main" id="{457C6F17-416C-164E-AF03-802469A5A4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6200" y="457201"/>
            <a:ext cx="1496045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2517357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Two imag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">
            <a:extLst>
              <a:ext uri="{FF2B5EF4-FFF2-40B4-BE49-F238E27FC236}">
                <a16:creationId xmlns:a16="http://schemas.microsoft.com/office/drawing/2014/main" id="{12C63D43-69CB-4811-B72D-5F3DCB51568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210300" y="1828800"/>
            <a:ext cx="5524500" cy="45720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r">
              <a:defRPr lang="en-US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 </a:t>
            </a:r>
          </a:p>
        </p:txBody>
      </p:sp>
      <p:sp>
        <p:nvSpPr>
          <p:cNvPr id="5" name="Picture">
            <a:extLst>
              <a:ext uri="{FF2B5EF4-FFF2-40B4-BE49-F238E27FC236}">
                <a16:creationId xmlns:a16="http://schemas.microsoft.com/office/drawing/2014/main" id="{4A8869CB-2223-4946-81BC-8717270A6AD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1" y="1828800"/>
            <a:ext cx="5524500" cy="45720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r">
              <a:defRPr lang="en-US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 </a:t>
            </a: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834B9CBD-AF1F-4C24-B1D3-A7A9BEC7E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2"/>
            <a:ext cx="11277600" cy="6857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Two image slide title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986419089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hree imag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">
            <a:extLst>
              <a:ext uri="{FF2B5EF4-FFF2-40B4-BE49-F238E27FC236}">
                <a16:creationId xmlns:a16="http://schemas.microsoft.com/office/drawing/2014/main" id="{66C40E00-B15B-E042-A7AA-E28675055E5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15300" y="1828800"/>
            <a:ext cx="3619500" cy="45720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r">
              <a:defRPr lang="en-US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 </a:t>
            </a:r>
          </a:p>
        </p:txBody>
      </p:sp>
      <p:sp>
        <p:nvSpPr>
          <p:cNvPr id="15" name="Picture">
            <a:extLst>
              <a:ext uri="{FF2B5EF4-FFF2-40B4-BE49-F238E27FC236}">
                <a16:creationId xmlns:a16="http://schemas.microsoft.com/office/drawing/2014/main" id="{9FF410F7-E40B-DF41-B357-09FB5BA627F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67200" y="1828800"/>
            <a:ext cx="3619500" cy="45720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r">
              <a:defRPr lang="en-US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 </a:t>
            </a:r>
          </a:p>
        </p:txBody>
      </p:sp>
      <p:sp>
        <p:nvSpPr>
          <p:cNvPr id="6" name="Picture">
            <a:extLst>
              <a:ext uri="{FF2B5EF4-FFF2-40B4-BE49-F238E27FC236}">
                <a16:creationId xmlns:a16="http://schemas.microsoft.com/office/drawing/2014/main" id="{12C63D43-69CB-4811-B72D-5F3DCB51568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57200" y="1828800"/>
            <a:ext cx="3581400" cy="45720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r">
              <a:defRPr lang="en-US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 </a:t>
            </a: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834B9CBD-AF1F-4C24-B1D3-A7A9BEC7E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2"/>
            <a:ext cx="11277600" cy="6857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Three image slide title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178825689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Three image with description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">
            <a:extLst>
              <a:ext uri="{FF2B5EF4-FFF2-40B4-BE49-F238E27FC236}">
                <a16:creationId xmlns:a16="http://schemas.microsoft.com/office/drawing/2014/main" id="{4A8869CB-2223-4946-81BC-8717270A6AD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210302" y="4114802"/>
            <a:ext cx="5524500" cy="2285999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r">
              <a:defRPr lang="en-US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 </a:t>
            </a:r>
          </a:p>
        </p:txBody>
      </p:sp>
      <p:sp>
        <p:nvSpPr>
          <p:cNvPr id="14" name="Picture">
            <a:extLst>
              <a:ext uri="{FF2B5EF4-FFF2-40B4-BE49-F238E27FC236}">
                <a16:creationId xmlns:a16="http://schemas.microsoft.com/office/drawing/2014/main" id="{E9A60CDB-16CE-3146-B810-249BD5D7810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10302" y="1828800"/>
            <a:ext cx="5524500" cy="20574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r">
              <a:defRPr lang="en-US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 </a:t>
            </a:r>
          </a:p>
        </p:txBody>
      </p:sp>
      <p:sp>
        <p:nvSpPr>
          <p:cNvPr id="6" name="Picture">
            <a:extLst>
              <a:ext uri="{FF2B5EF4-FFF2-40B4-BE49-F238E27FC236}">
                <a16:creationId xmlns:a16="http://schemas.microsoft.com/office/drawing/2014/main" id="{12C63D43-69CB-4811-B72D-5F3DCB51568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57201" y="1828800"/>
            <a:ext cx="5524500" cy="45720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r">
              <a:defRPr lang="en-US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 </a:t>
            </a: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834B9CBD-AF1F-4C24-B1D3-A7A9BEC7E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2"/>
            <a:ext cx="11277600" cy="6857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Three image slide title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124892545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ACF0A481-AFC3-4B48-A5A1-24BC5FA605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2"/>
            <a:ext cx="11277600" cy="6857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Title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3602726861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Content Layout - Multi-image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">
            <a:extLst>
              <a:ext uri="{FF2B5EF4-FFF2-40B4-BE49-F238E27FC236}">
                <a16:creationId xmlns:a16="http://schemas.microsoft.com/office/drawing/2014/main" id="{63CBCC71-2452-4503-B1A4-108D5F857D1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257800" y="3886200"/>
            <a:ext cx="6477000" cy="25146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r">
              <a:defRPr lang="en-US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 </a:t>
            </a:r>
          </a:p>
        </p:txBody>
      </p:sp>
      <p:sp>
        <p:nvSpPr>
          <p:cNvPr id="10" name="Picture">
            <a:extLst>
              <a:ext uri="{FF2B5EF4-FFF2-40B4-BE49-F238E27FC236}">
                <a16:creationId xmlns:a16="http://schemas.microsoft.com/office/drawing/2014/main" id="{E6D093F3-ED3C-4484-84B5-EAC2CCB96C4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257800" y="914400"/>
            <a:ext cx="6477000" cy="27432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r">
              <a:defRPr lang="en-US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 </a:t>
            </a:r>
          </a:p>
        </p:txBody>
      </p:sp>
      <p:sp>
        <p:nvSpPr>
          <p:cNvPr id="13" name="Text">
            <a:extLst>
              <a:ext uri="{FF2B5EF4-FFF2-40B4-BE49-F238E27FC236}">
                <a16:creationId xmlns:a16="http://schemas.microsoft.com/office/drawing/2014/main" id="{635274F4-DEFE-4EDD-B848-9F30F5BF1BC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409700" y="5715000"/>
            <a:ext cx="3619500" cy="67887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3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 </a:t>
            </a:r>
          </a:p>
        </p:txBody>
      </p:sp>
      <p:sp>
        <p:nvSpPr>
          <p:cNvPr id="12" name="Text">
            <a:extLst>
              <a:ext uri="{FF2B5EF4-FFF2-40B4-BE49-F238E27FC236}">
                <a16:creationId xmlns:a16="http://schemas.microsoft.com/office/drawing/2014/main" id="{EACB6B04-7D78-420C-A227-6088AB0653C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409700" y="4800600"/>
            <a:ext cx="3619500" cy="67887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3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 </a:t>
            </a:r>
          </a:p>
        </p:txBody>
      </p:sp>
      <p:sp>
        <p:nvSpPr>
          <p:cNvPr id="11" name="Text">
            <a:extLst>
              <a:ext uri="{FF2B5EF4-FFF2-40B4-BE49-F238E27FC236}">
                <a16:creationId xmlns:a16="http://schemas.microsoft.com/office/drawing/2014/main" id="{2898094A-56AA-4694-83D1-C0FA897C33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09700" y="3893126"/>
            <a:ext cx="3619500" cy="67887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3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 </a:t>
            </a:r>
          </a:p>
        </p:txBody>
      </p:sp>
      <p:sp>
        <p:nvSpPr>
          <p:cNvPr id="14" name="Picture">
            <a:extLst>
              <a:ext uri="{FF2B5EF4-FFF2-40B4-BE49-F238E27FC236}">
                <a16:creationId xmlns:a16="http://schemas.microsoft.com/office/drawing/2014/main" id="{8EF84345-26F4-F84C-999E-35292B5BB42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7201" y="3886202"/>
            <a:ext cx="723900" cy="685801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r">
              <a:defRPr lang="en-US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 </a:t>
            </a:r>
          </a:p>
        </p:txBody>
      </p:sp>
      <p:sp>
        <p:nvSpPr>
          <p:cNvPr id="15" name="Picture">
            <a:extLst>
              <a:ext uri="{FF2B5EF4-FFF2-40B4-BE49-F238E27FC236}">
                <a16:creationId xmlns:a16="http://schemas.microsoft.com/office/drawing/2014/main" id="{196A5646-1541-2D4E-A431-0119CA2409B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7201" y="4800602"/>
            <a:ext cx="723900" cy="685801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r">
              <a:defRPr lang="en-US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 </a:t>
            </a:r>
          </a:p>
        </p:txBody>
      </p:sp>
      <p:sp>
        <p:nvSpPr>
          <p:cNvPr id="16" name="Picture">
            <a:extLst>
              <a:ext uri="{FF2B5EF4-FFF2-40B4-BE49-F238E27FC236}">
                <a16:creationId xmlns:a16="http://schemas.microsoft.com/office/drawing/2014/main" id="{8599404F-9789-6D40-8749-27B4FA39042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57201" y="5715002"/>
            <a:ext cx="723900" cy="685801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r">
              <a:defRPr lang="en-US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 </a:t>
            </a:r>
          </a:p>
        </p:txBody>
      </p:sp>
      <p:sp>
        <p:nvSpPr>
          <p:cNvPr id="8" name="Text">
            <a:extLst>
              <a:ext uri="{FF2B5EF4-FFF2-40B4-BE49-F238E27FC236}">
                <a16:creationId xmlns:a16="http://schemas.microsoft.com/office/drawing/2014/main" id="{8F504382-8ECA-4BCC-BB7E-448D5DB4B91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600202"/>
            <a:ext cx="4572000" cy="20504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795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 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518DF063-B0BD-4053-ADC6-99766F39F9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2"/>
            <a:ext cx="4572000" cy="6857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Title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812682794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Multi-image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">
            <a:extLst>
              <a:ext uri="{FF2B5EF4-FFF2-40B4-BE49-F238E27FC236}">
                <a16:creationId xmlns:a16="http://schemas.microsoft.com/office/drawing/2014/main" id="{63CBCC71-2452-4503-B1A4-108D5F857D1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067800" y="3886200"/>
            <a:ext cx="2667000" cy="25146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r">
              <a:defRPr lang="en-US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 </a:t>
            </a:r>
          </a:p>
        </p:txBody>
      </p:sp>
      <p:sp>
        <p:nvSpPr>
          <p:cNvPr id="10" name="Picture">
            <a:extLst>
              <a:ext uri="{FF2B5EF4-FFF2-40B4-BE49-F238E27FC236}">
                <a16:creationId xmlns:a16="http://schemas.microsoft.com/office/drawing/2014/main" id="{E6D093F3-ED3C-4484-84B5-EAC2CCB96C4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10300" y="914400"/>
            <a:ext cx="5524500" cy="27432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r">
              <a:defRPr lang="en-US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 </a:t>
            </a:r>
          </a:p>
        </p:txBody>
      </p:sp>
      <p:sp>
        <p:nvSpPr>
          <p:cNvPr id="14" name="Picture">
            <a:extLst>
              <a:ext uri="{FF2B5EF4-FFF2-40B4-BE49-F238E27FC236}">
                <a16:creationId xmlns:a16="http://schemas.microsoft.com/office/drawing/2014/main" id="{B1434175-4EE8-4C23-B6F6-EB9CE5C8E24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210300" y="3886202"/>
            <a:ext cx="2628900" cy="2514599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r">
              <a:defRPr lang="en-US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 </a:t>
            </a:r>
          </a:p>
        </p:txBody>
      </p:sp>
      <p:sp>
        <p:nvSpPr>
          <p:cNvPr id="15" name="Picture">
            <a:extLst>
              <a:ext uri="{FF2B5EF4-FFF2-40B4-BE49-F238E27FC236}">
                <a16:creationId xmlns:a16="http://schemas.microsoft.com/office/drawing/2014/main" id="{D8477AEF-69A9-4639-87C4-67E33637187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57201" y="914399"/>
            <a:ext cx="5524500" cy="27432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r">
              <a:defRPr lang="en-US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 </a:t>
            </a:r>
          </a:p>
        </p:txBody>
      </p:sp>
      <p:sp>
        <p:nvSpPr>
          <p:cNvPr id="8" name="Text">
            <a:extLst>
              <a:ext uri="{FF2B5EF4-FFF2-40B4-BE49-F238E27FC236}">
                <a16:creationId xmlns:a16="http://schemas.microsoft.com/office/drawing/2014/main" id="{8F504382-8ECA-4BCC-BB7E-448D5DB4B91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5045412"/>
            <a:ext cx="4572000" cy="1126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59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 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518DF063-B0BD-4053-ADC6-99766F39F9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886203"/>
            <a:ext cx="4572000" cy="6857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Multi image slide title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608256402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Closing Slide with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laim">
            <a:extLst>
              <a:ext uri="{FF2B5EF4-FFF2-40B4-BE49-F238E27FC236}">
                <a16:creationId xmlns:a16="http://schemas.microsoft.com/office/drawing/2014/main" id="{43ABD71C-D8EF-4234-A2D0-085295E2EC52}"/>
              </a:ext>
            </a:extLst>
          </p:cNvPr>
          <p:cNvSpPr txBox="1"/>
          <p:nvPr userDrawn="1"/>
        </p:nvSpPr>
        <p:spPr>
          <a:xfrm>
            <a:off x="457201" y="6037945"/>
            <a:ext cx="2601190" cy="16619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lvl="0" indent="0" algn="l" defTabSz="984445" rtl="0" eaLnBrk="1" latinLnBrk="0" hangingPunct="1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</a:pPr>
            <a:r>
              <a:rPr lang="en-US" sz="1197" b="1" kern="120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Arcadis.</a:t>
            </a:r>
            <a:r>
              <a:rPr lang="en-US" sz="1197" b="1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mproving quality of life.</a:t>
            </a:r>
            <a:endParaRPr lang="en-PH" sz="1197" b="1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ail">
            <a:extLst>
              <a:ext uri="{FF2B5EF4-FFF2-40B4-BE49-F238E27FC236}">
                <a16:creationId xmlns:a16="http://schemas.microsoft.com/office/drawing/2014/main" id="{9AF3F018-2B2A-4D9F-BF18-FADB2BE121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409700" y="2745740"/>
            <a:ext cx="2628900" cy="2133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name@arcadis.com</a:t>
            </a:r>
          </a:p>
        </p:txBody>
      </p:sp>
      <p:sp>
        <p:nvSpPr>
          <p:cNvPr id="14" name="Name">
            <a:extLst>
              <a:ext uri="{FF2B5EF4-FFF2-40B4-BE49-F238E27FC236}">
                <a16:creationId xmlns:a16="http://schemas.microsoft.com/office/drawing/2014/main" id="{8D788D96-85C2-4AA3-9798-7A6DCCE7CAA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409700" y="3434483"/>
            <a:ext cx="2628900" cy="2135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Last</a:t>
            </a:r>
          </a:p>
        </p:txBody>
      </p:sp>
      <p:sp>
        <p:nvSpPr>
          <p:cNvPr id="15" name="Position">
            <a:extLst>
              <a:ext uri="{FF2B5EF4-FFF2-40B4-BE49-F238E27FC236}">
                <a16:creationId xmlns:a16="http://schemas.microsoft.com/office/drawing/2014/main" id="{4EE1C37F-6B8B-402C-90C4-8EB95105D3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09700" y="3755110"/>
            <a:ext cx="2628900" cy="228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6" name="Picture">
            <a:extLst>
              <a:ext uri="{FF2B5EF4-FFF2-40B4-BE49-F238E27FC236}">
                <a16:creationId xmlns:a16="http://schemas.microsoft.com/office/drawing/2014/main" id="{A0FAD612-061C-456B-8750-9FBD298633F7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7201" y="3444421"/>
            <a:ext cx="723899" cy="887846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ctr">
              <a:defRPr lang="en-US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 </a:t>
            </a:r>
          </a:p>
        </p:txBody>
      </p:sp>
      <p:sp>
        <p:nvSpPr>
          <p:cNvPr id="17" name="Email">
            <a:extLst>
              <a:ext uri="{FF2B5EF4-FFF2-40B4-BE49-F238E27FC236}">
                <a16:creationId xmlns:a16="http://schemas.microsoft.com/office/drawing/2014/main" id="{872B3707-2853-497B-9202-A64DFDF842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409700" y="4114800"/>
            <a:ext cx="2628900" cy="2133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name@arcadis.com</a:t>
            </a:r>
          </a:p>
        </p:txBody>
      </p:sp>
      <p:sp>
        <p:nvSpPr>
          <p:cNvPr id="7" name="Name">
            <a:extLst>
              <a:ext uri="{FF2B5EF4-FFF2-40B4-BE49-F238E27FC236}">
                <a16:creationId xmlns:a16="http://schemas.microsoft.com/office/drawing/2014/main" id="{99BBA926-2F06-4BAA-803E-52ECFB7751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09700" y="2071254"/>
            <a:ext cx="2628900" cy="2135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Last</a:t>
            </a:r>
          </a:p>
        </p:txBody>
      </p:sp>
      <p:sp>
        <p:nvSpPr>
          <p:cNvPr id="8" name="Position">
            <a:extLst>
              <a:ext uri="{FF2B5EF4-FFF2-40B4-BE49-F238E27FC236}">
                <a16:creationId xmlns:a16="http://schemas.microsoft.com/office/drawing/2014/main" id="{EDFC0252-57A3-46DD-9427-F2791D0270E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09700" y="2400993"/>
            <a:ext cx="2628900" cy="228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9" name="Picture">
            <a:extLst>
              <a:ext uri="{FF2B5EF4-FFF2-40B4-BE49-F238E27FC236}">
                <a16:creationId xmlns:a16="http://schemas.microsoft.com/office/drawing/2014/main" id="{75B3955F-7CDE-468A-AFD1-FBD8C68E0E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1" y="2071254"/>
            <a:ext cx="723899" cy="887846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ctr">
              <a:defRPr lang="en-US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 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688CAFCB-962C-446A-85AD-1C20E120FC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371601"/>
            <a:ext cx="3581400" cy="45719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95"/>
            </a:lvl1pPr>
          </a:lstStyle>
          <a:p>
            <a:r>
              <a:rPr lang="en-US"/>
              <a:t>Contact Us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2006259603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2_Closing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laim">
            <a:extLst>
              <a:ext uri="{FF2B5EF4-FFF2-40B4-BE49-F238E27FC236}">
                <a16:creationId xmlns:a16="http://schemas.microsoft.com/office/drawing/2014/main" id="{19D3C3DF-07C9-476C-AC69-B1DC18183ED0}"/>
              </a:ext>
            </a:extLst>
          </p:cNvPr>
          <p:cNvSpPr txBox="1"/>
          <p:nvPr userDrawn="1"/>
        </p:nvSpPr>
        <p:spPr>
          <a:xfrm>
            <a:off x="457201" y="6037945"/>
            <a:ext cx="2601190" cy="16619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lvl="0" indent="0" algn="l" defTabSz="984445" rtl="0" eaLnBrk="1" latinLnBrk="0" hangingPunct="1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</a:pPr>
            <a:r>
              <a:rPr lang="en-US" sz="1197" b="1" kern="120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Arcadis.</a:t>
            </a:r>
            <a:r>
              <a:rPr lang="en-US" sz="1197" b="1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mproving quality of life.</a:t>
            </a:r>
            <a:endParaRPr lang="en-PH" sz="1197" b="1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367696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tandard-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"/>
          <p:cNvSpPr/>
          <p:nvPr userDrawn="1"/>
        </p:nvSpPr>
        <p:spPr bwMode="ltGray">
          <a:xfrm flipH="1"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41806" marR="0" lvl="0" indent="0" algn="l" defTabSz="9121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4788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8C8159BF-71FF-4511-AE8D-E26F43B8F1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971803"/>
            <a:ext cx="4572000" cy="137159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190">
                <a:solidFill>
                  <a:schemeClr val="bg1"/>
                </a:solidFill>
              </a:defRPr>
            </a:lvl1pPr>
          </a:lstStyle>
          <a:p>
            <a:r>
              <a:rPr lang="en-US"/>
              <a:t>CVs – Org</a:t>
            </a:r>
            <a:endParaRPr lang="en-PH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76DBECB-29F9-4611-B0AB-B80C8DFDF3D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2"/>
            <a:ext cx="12191999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9537882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_21"/>
          <p:cNvSpPr>
            <a:spLocks noGrp="1"/>
          </p:cNvSpPr>
          <p:nvPr>
            <p:ph type="body" sz="quarter" idx="13" hasCustomPrompt="1"/>
          </p:nvPr>
        </p:nvSpPr>
        <p:spPr>
          <a:xfrm>
            <a:off x="478824" y="1350023"/>
            <a:ext cx="11255976" cy="478779"/>
          </a:xfrm>
        </p:spPr>
        <p:txBody>
          <a:bodyPr lIns="0" tIns="0" bIns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095" b="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err="1"/>
              <a:t>Subtitle</a:t>
            </a:r>
            <a:endParaRPr lang="de-DE"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3F81544C-BF5B-4E80-A940-90DDCBA23D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2"/>
            <a:ext cx="11277600" cy="6857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Title</a:t>
            </a:r>
            <a:endParaRPr lang="en-PH"/>
          </a:p>
        </p:txBody>
      </p:sp>
      <p:sp>
        <p:nvSpPr>
          <p:cNvPr id="6" name="Call out box">
            <a:extLst>
              <a:ext uri="{FF2B5EF4-FFF2-40B4-BE49-F238E27FC236}">
                <a16:creationId xmlns:a16="http://schemas.microsoft.com/office/drawing/2014/main" id="{BA33A125-C5AF-4BAC-90B0-E232343875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6511" y="3886202"/>
            <a:ext cx="1676398" cy="2514599"/>
          </a:xfrm>
          <a:prstGeom prst="rect">
            <a:avLst/>
          </a:prstGeom>
          <a:solidFill>
            <a:srgbClr val="F8D8C3"/>
          </a:solidFill>
        </p:spPr>
        <p:txBody>
          <a:bodyPr lIns="180000" tIns="180000" rIns="108000" bIns="180000"/>
          <a:lstStyle>
            <a:lvl1pPr>
              <a:lnSpc>
                <a:spcPct val="100000"/>
              </a:lnSpc>
              <a:spcBef>
                <a:spcPts val="1197"/>
              </a:spcBef>
              <a:spcAft>
                <a:spcPts val="0"/>
              </a:spcAft>
              <a:defRPr sz="1197" b="0" i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buNone/>
              <a:defRPr sz="1197" i="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98" i="0"/>
            </a:lvl3pPr>
          </a:lstStyle>
          <a:p>
            <a:pPr lvl="0"/>
            <a:r>
              <a:rPr lang="de-DE"/>
              <a:t>%</a:t>
            </a:r>
            <a:r>
              <a:rPr lang="de-DE" err="1"/>
              <a:t>DT:Position</a:t>
            </a:r>
            <a:r>
              <a:rPr lang="de-DE"/>
              <a:t>%</a:t>
            </a:r>
          </a:p>
          <a:p>
            <a:pPr lvl="1"/>
            <a:r>
              <a:rPr lang="de-DE"/>
              <a:t>%</a:t>
            </a:r>
            <a:r>
              <a:rPr lang="de-DE" err="1"/>
              <a:t>DT:Bezeichnung</a:t>
            </a:r>
            <a:r>
              <a:rPr lang="de-DE"/>
              <a:t>%</a:t>
            </a:r>
          </a:p>
          <a:p>
            <a:pPr lvl="0"/>
            <a:r>
              <a:rPr lang="de-DE"/>
              <a:t>%</a:t>
            </a:r>
            <a:r>
              <a:rPr lang="de-DE" err="1"/>
              <a:t>DT:Berufserfahrung</a:t>
            </a:r>
            <a:r>
              <a:rPr lang="de-DE"/>
              <a:t>%</a:t>
            </a:r>
          </a:p>
          <a:p>
            <a:pPr lvl="1"/>
            <a:r>
              <a:rPr lang="de-DE"/>
              <a:t>%</a:t>
            </a:r>
            <a:r>
              <a:rPr lang="de-DE" err="1"/>
              <a:t>DT:Jahre</a:t>
            </a:r>
            <a:r>
              <a:rPr lang="de-DE"/>
              <a:t>%</a:t>
            </a:r>
          </a:p>
          <a:p>
            <a:pPr lvl="0"/>
            <a:r>
              <a:rPr lang="de-DE"/>
              <a:t>%</a:t>
            </a:r>
            <a:r>
              <a:rPr lang="de-DE" err="1"/>
              <a:t>DT:Qualifikation</a:t>
            </a:r>
            <a:r>
              <a:rPr lang="de-DE"/>
              <a:t>%</a:t>
            </a:r>
          </a:p>
          <a:p>
            <a:pPr lvl="1"/>
            <a:r>
              <a:rPr lang="de-DE"/>
              <a:t>%</a:t>
            </a:r>
            <a:r>
              <a:rPr lang="de-DE" err="1"/>
              <a:t>DT:Titel</a:t>
            </a:r>
            <a:r>
              <a:rPr lang="de-DE"/>
              <a:t>%</a:t>
            </a:r>
          </a:p>
          <a:p>
            <a:pPr lvl="1"/>
            <a:r>
              <a:rPr lang="de-DE"/>
              <a:t>%</a:t>
            </a:r>
            <a:r>
              <a:rPr lang="de-DE" err="1"/>
              <a:t>DT:Fachrichtung</a:t>
            </a:r>
            <a:r>
              <a:rPr lang="de-DE"/>
              <a:t>%</a:t>
            </a:r>
            <a:endParaRPr lang="en-US"/>
          </a:p>
        </p:txBody>
      </p:sp>
      <p:sp>
        <p:nvSpPr>
          <p:cNvPr id="8" name="Picture">
            <a:extLst>
              <a:ext uri="{FF2B5EF4-FFF2-40B4-BE49-F238E27FC236}">
                <a16:creationId xmlns:a16="http://schemas.microsoft.com/office/drawing/2014/main" id="{4927AAEF-2480-43EB-84F0-6A0BA6BA8A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3" y="1834144"/>
            <a:ext cx="1676398" cy="1823457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ctr">
              <a:defRPr lang="en-US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034126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75339148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- 3 Ref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_21"/>
          <p:cNvSpPr>
            <a:spLocks noGrp="1"/>
          </p:cNvSpPr>
          <p:nvPr>
            <p:ph type="body" sz="quarter" idx="13" hasCustomPrompt="1"/>
          </p:nvPr>
        </p:nvSpPr>
        <p:spPr>
          <a:xfrm>
            <a:off x="478824" y="1350023"/>
            <a:ext cx="11255976" cy="478779"/>
          </a:xfrm>
        </p:spPr>
        <p:txBody>
          <a:bodyPr lIns="0" tIns="0" bIns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095" b="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err="1"/>
              <a:t>Subtitle</a:t>
            </a:r>
            <a:endParaRPr lang="de-DE"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3F81544C-BF5B-4E80-A940-90DDCBA23D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2"/>
            <a:ext cx="11277600" cy="6857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Title</a:t>
            </a:r>
            <a:endParaRPr lang="en-PH"/>
          </a:p>
        </p:txBody>
      </p:sp>
      <p:sp>
        <p:nvSpPr>
          <p:cNvPr id="6" name="Call out box">
            <a:extLst>
              <a:ext uri="{FF2B5EF4-FFF2-40B4-BE49-F238E27FC236}">
                <a16:creationId xmlns:a16="http://schemas.microsoft.com/office/drawing/2014/main" id="{BA33A125-C5AF-4BAC-90B0-E232343875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6511" y="3886202"/>
            <a:ext cx="1676398" cy="2514599"/>
          </a:xfrm>
          <a:prstGeom prst="rect">
            <a:avLst/>
          </a:prstGeom>
          <a:solidFill>
            <a:srgbClr val="F8D8C3"/>
          </a:solidFill>
        </p:spPr>
        <p:txBody>
          <a:bodyPr lIns="180000" tIns="180000" rIns="108000" bIns="180000"/>
          <a:lstStyle>
            <a:lvl1pPr>
              <a:lnSpc>
                <a:spcPct val="100000"/>
              </a:lnSpc>
              <a:spcBef>
                <a:spcPts val="1197"/>
              </a:spcBef>
              <a:spcAft>
                <a:spcPts val="0"/>
              </a:spcAft>
              <a:defRPr sz="1197" b="0" i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buNone/>
              <a:defRPr sz="1197" i="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98" i="0"/>
            </a:lvl3pPr>
          </a:lstStyle>
          <a:p>
            <a:pPr lvl="0"/>
            <a:r>
              <a:rPr lang="de-DE"/>
              <a:t>%</a:t>
            </a:r>
            <a:r>
              <a:rPr lang="de-DE" err="1"/>
              <a:t>DT:Position</a:t>
            </a:r>
            <a:r>
              <a:rPr lang="de-DE"/>
              <a:t>%</a:t>
            </a:r>
          </a:p>
          <a:p>
            <a:pPr lvl="1"/>
            <a:r>
              <a:rPr lang="de-DE"/>
              <a:t>%</a:t>
            </a:r>
            <a:r>
              <a:rPr lang="de-DE" err="1"/>
              <a:t>DT:Bezeichnung</a:t>
            </a:r>
            <a:r>
              <a:rPr lang="de-DE"/>
              <a:t>%</a:t>
            </a:r>
          </a:p>
          <a:p>
            <a:pPr lvl="0"/>
            <a:r>
              <a:rPr lang="de-DE"/>
              <a:t>%</a:t>
            </a:r>
            <a:r>
              <a:rPr lang="de-DE" err="1"/>
              <a:t>DT:Berufserfahrung</a:t>
            </a:r>
            <a:r>
              <a:rPr lang="de-DE"/>
              <a:t>%</a:t>
            </a:r>
          </a:p>
          <a:p>
            <a:pPr lvl="1"/>
            <a:r>
              <a:rPr lang="de-DE"/>
              <a:t>%</a:t>
            </a:r>
            <a:r>
              <a:rPr lang="de-DE" err="1"/>
              <a:t>DT:Jahre</a:t>
            </a:r>
            <a:r>
              <a:rPr lang="de-DE"/>
              <a:t>%</a:t>
            </a:r>
          </a:p>
          <a:p>
            <a:pPr lvl="0"/>
            <a:r>
              <a:rPr lang="de-DE"/>
              <a:t>%</a:t>
            </a:r>
            <a:r>
              <a:rPr lang="de-DE" err="1"/>
              <a:t>DT:Qualifikation</a:t>
            </a:r>
            <a:r>
              <a:rPr lang="de-DE"/>
              <a:t>%</a:t>
            </a:r>
          </a:p>
          <a:p>
            <a:pPr lvl="1"/>
            <a:r>
              <a:rPr lang="de-DE"/>
              <a:t>%</a:t>
            </a:r>
            <a:r>
              <a:rPr lang="de-DE" err="1"/>
              <a:t>DT:Titel</a:t>
            </a:r>
            <a:r>
              <a:rPr lang="de-DE"/>
              <a:t>%</a:t>
            </a:r>
          </a:p>
          <a:p>
            <a:pPr lvl="1"/>
            <a:r>
              <a:rPr lang="de-DE"/>
              <a:t>%</a:t>
            </a:r>
            <a:r>
              <a:rPr lang="de-DE" err="1"/>
              <a:t>DT:Fachrichtung</a:t>
            </a:r>
            <a:r>
              <a:rPr lang="de-DE"/>
              <a:t>%</a:t>
            </a:r>
            <a:endParaRPr lang="en-US"/>
          </a:p>
        </p:txBody>
      </p:sp>
      <p:sp>
        <p:nvSpPr>
          <p:cNvPr id="8" name="Picture">
            <a:extLst>
              <a:ext uri="{FF2B5EF4-FFF2-40B4-BE49-F238E27FC236}">
                <a16:creationId xmlns:a16="http://schemas.microsoft.com/office/drawing/2014/main" id="{4927AAEF-2480-43EB-84F0-6A0BA6BA8A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3" y="1834144"/>
            <a:ext cx="1676398" cy="1823457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ctr">
              <a:defRPr lang="en-US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 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4A5264AF-DB41-4271-8084-470AF0B96532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314700" y="4803775"/>
            <a:ext cx="2662762" cy="15912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>
            <a:normAutofit/>
          </a:bodyPr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998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6E98ACAE-4A78-483B-A4F6-F8C253E0631E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6210301" y="4803775"/>
            <a:ext cx="2618351" cy="15912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>
            <a:normAutofit/>
          </a:bodyPr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998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ECF005F2-1B0C-48AC-99E8-540DCD7E5563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9067800" y="4803775"/>
            <a:ext cx="2664000" cy="15912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>
            <a:normAutofit/>
          </a:bodyPr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998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26325153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- Key Persona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hteck 39">
            <a:hlinkClick r:id="" action="ppaction://noaction"/>
          </p:cNvPr>
          <p:cNvSpPr/>
          <p:nvPr userDrawn="1"/>
        </p:nvSpPr>
        <p:spPr>
          <a:xfrm>
            <a:off x="8109442" y="216570"/>
            <a:ext cx="3360777" cy="5053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21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95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itle 11">
            <a:extLst>
              <a:ext uri="{FF2B5EF4-FFF2-40B4-BE49-F238E27FC236}">
                <a16:creationId xmlns:a16="http://schemas.microsoft.com/office/drawing/2014/main" id="{9207BBA2-1C6E-4D16-B540-1FEA983B16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24808"/>
            <a:ext cx="11013017" cy="49859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de-DE" dirty="0"/>
            </a:lvl1pPr>
          </a:lstStyle>
          <a:p>
            <a:pPr lvl="0"/>
            <a:r>
              <a:rPr lang="de-DE"/>
              <a:t>Add title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8FC8AF80-D5EF-4080-BAFD-E9D58E85036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1" y="1835722"/>
            <a:ext cx="1094509" cy="13500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ctr">
              <a:defRPr lang="en-US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Click to add an image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06EFF854-57CB-4F80-A768-54BB018F6C2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57201" y="3438696"/>
            <a:ext cx="1094509" cy="13536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ctr">
              <a:defRPr lang="en-US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Click to add an image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358BB29D-E979-417B-9F5B-F19028AC0A4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7201" y="5043056"/>
            <a:ext cx="1094509" cy="13320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ctr">
              <a:defRPr lang="en-US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Click to add an image</a:t>
            </a:r>
          </a:p>
        </p:txBody>
      </p:sp>
    </p:spTree>
    <p:extLst>
      <p:ext uri="{BB962C8B-B14F-4D97-AF65-F5344CB8AC3E}">
        <p14:creationId xmlns:p14="http://schemas.microsoft.com/office/powerpoint/2010/main" val="5205884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58">
          <p15:clr>
            <a:srgbClr val="FBAE40"/>
          </p15:clr>
        </p15:guide>
        <p15:guide id="2" orient="horz" pos="4133">
          <p15:clr>
            <a:srgbClr val="FBAE40"/>
          </p15:clr>
        </p15:guide>
        <p15:guide id="3" pos="5602">
          <p15:clr>
            <a:srgbClr val="FBAE40"/>
          </p15:clr>
        </p15:guide>
        <p15:guide id="4" orient="horz" pos="1139">
          <p15:clr>
            <a:srgbClr val="FBAE4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tandard-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"/>
          <p:cNvSpPr/>
          <p:nvPr userDrawn="1"/>
        </p:nvSpPr>
        <p:spPr bwMode="ltGray">
          <a:xfrm flipH="1"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41806" marR="0" lvl="0" indent="0" algn="l" defTabSz="9121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4788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8C8159BF-71FF-4511-AE8D-E26F43B8F1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971803"/>
            <a:ext cx="4572000" cy="137159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190">
                <a:solidFill>
                  <a:schemeClr val="bg1"/>
                </a:solidFill>
              </a:defRPr>
            </a:lvl1pPr>
          </a:lstStyle>
          <a:p>
            <a:r>
              <a:rPr lang="en-US"/>
              <a:t>References</a:t>
            </a:r>
            <a:endParaRPr lang="en-PH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0C3668D-F7CF-4FA0-92A7-F8F031AB17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1579300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 - Full Sc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"/>
          <p:cNvSpPr>
            <a:spLocks noGrp="1"/>
          </p:cNvSpPr>
          <p:nvPr>
            <p:ph type="pic" sz="quarter" idx="33" hasCustomPrompt="1"/>
          </p:nvPr>
        </p:nvSpPr>
        <p:spPr>
          <a:xfrm>
            <a:off x="2" y="0"/>
            <a:ext cx="12189883" cy="68580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109227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8">
          <p15:clr>
            <a:srgbClr val="FBAE40"/>
          </p15:clr>
        </p15:guide>
        <p15:guide id="2" orient="horz" pos="4133">
          <p15:clr>
            <a:srgbClr val="FBAE40"/>
          </p15:clr>
        </p15:guide>
        <p15:guide id="3" pos="5602">
          <p15:clr>
            <a:srgbClr val="FBAE4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_White - 1 x Pic full">
    <p:bg>
      <p:bgPr>
        <a:solidFill>
          <a:schemeClr val="bg1">
            <a:alpha val="6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Picture">
            <a:extLst>
              <a:ext uri="{FF2B5EF4-FFF2-40B4-BE49-F238E27FC236}">
                <a16:creationId xmlns:a16="http://schemas.microsoft.com/office/drawing/2014/main" id="{43E26DCD-807C-4FA1-B826-B38F553740F4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038601" y="0"/>
            <a:ext cx="8153400" cy="68580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vert="horz" lIns="0" tIns="0" rIns="0" bIns="0" rtlCol="0" anchor="ctr" anchorCtr="0">
            <a:normAutofit/>
          </a:bodyPr>
          <a:lstStyle>
            <a:lvl1pPr>
              <a:defRPr lang="de-DE" sz="1397" b="1">
                <a:solidFill>
                  <a:schemeClr val="tx2"/>
                </a:solidFill>
              </a:defRPr>
            </a:lvl1pPr>
          </a:lstStyle>
          <a:p>
            <a:pPr marR="0" lvl="0" algn="ctr" fontAlgn="auto">
              <a:buClrTx/>
              <a:buSzTx/>
              <a:buNone/>
              <a:tabLst/>
            </a:pPr>
            <a:r>
              <a:rPr lang="de-DE"/>
              <a:t> </a:t>
            </a:r>
          </a:p>
        </p:txBody>
      </p:sp>
      <p:sp>
        <p:nvSpPr>
          <p:cNvPr id="40" name="Subtitle">
            <a:extLst>
              <a:ext uri="{FF2B5EF4-FFF2-40B4-BE49-F238E27FC236}">
                <a16:creationId xmlns:a16="http://schemas.microsoft.com/office/drawing/2014/main" id="{1E0A3B63-0A0E-442D-A549-9CF098EA78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38436"/>
            <a:ext cx="4038600" cy="278292"/>
          </a:xfrm>
          <a:prstGeom prst="rect">
            <a:avLst/>
          </a:prstGeom>
        </p:spPr>
        <p:txBody>
          <a:bodyPr lIns="468000" tIns="0" rIns="21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97" b="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/>
              <a:t>XX Subheadline</a:t>
            </a:r>
          </a:p>
        </p:txBody>
      </p:sp>
      <p:sp>
        <p:nvSpPr>
          <p:cNvPr id="41" name="Title">
            <a:extLst>
              <a:ext uri="{FF2B5EF4-FFF2-40B4-BE49-F238E27FC236}">
                <a16:creationId xmlns:a16="http://schemas.microsoft.com/office/drawing/2014/main" id="{6387950E-0C68-406D-AE09-FAB7F8F35C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" y="924375"/>
            <a:ext cx="4038600" cy="278292"/>
          </a:xfrm>
          <a:prstGeom prst="rect">
            <a:avLst/>
          </a:prstGeom>
        </p:spPr>
        <p:txBody>
          <a:bodyPr lIns="468000" tIns="0" rIns="216000">
            <a:noAutofit/>
          </a:bodyPr>
          <a:lstStyle>
            <a:lvl1pPr>
              <a:lnSpc>
                <a:spcPct val="80000"/>
              </a:lnSpc>
              <a:defRPr sz="2793" b="1" cap="none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XX Headline</a:t>
            </a:r>
          </a:p>
        </p:txBody>
      </p:sp>
      <p:sp>
        <p:nvSpPr>
          <p:cNvPr id="42" name="Textbox">
            <a:extLst>
              <a:ext uri="{FF2B5EF4-FFF2-40B4-BE49-F238E27FC236}">
                <a16:creationId xmlns:a16="http://schemas.microsoft.com/office/drawing/2014/main" id="{46F834EE-895F-45D0-8BA6-8C6C9C7AA74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" y="2535478"/>
            <a:ext cx="4038600" cy="4322522"/>
          </a:xfrm>
          <a:prstGeom prst="rect">
            <a:avLst/>
          </a:prstGeom>
          <a:noFill/>
        </p:spPr>
        <p:txBody>
          <a:bodyPr lIns="468000" tIns="0" rIns="28800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197" b="1">
                <a:solidFill>
                  <a:schemeClr val="accent1"/>
                </a:solidFill>
              </a:defRPr>
            </a:lvl1pPr>
            <a:lvl2pPr marL="175772" indent="-17577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197" baseline="0">
                <a:solidFill>
                  <a:schemeClr val="tx1"/>
                </a:solidFill>
              </a:defRPr>
            </a:lvl2pPr>
            <a:lvl3pPr marL="361045" indent="-18527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97">
                <a:solidFill>
                  <a:schemeClr val="tx1"/>
                </a:solidFill>
              </a:defRPr>
            </a:lvl3pPr>
            <a:lvl4pPr marL="538650" indent="0">
              <a:buClr>
                <a:schemeClr val="accent1"/>
              </a:buClr>
              <a:buFont typeface="Arial" panose="020B0604020202020204" pitchFamily="34" charset="0"/>
              <a:buChar char="•"/>
              <a:defRPr sz="1197">
                <a:solidFill>
                  <a:schemeClr val="tx1"/>
                </a:solidFill>
              </a:defRPr>
            </a:lvl4pPr>
            <a:lvl5pPr marL="807975" indent="0">
              <a:buClr>
                <a:schemeClr val="accent1"/>
              </a:buClr>
              <a:buFont typeface="Arial" panose="020B0604020202020204" pitchFamily="34" charset="0"/>
              <a:buChar char="•"/>
              <a:defRPr sz="1197">
                <a:solidFill>
                  <a:schemeClr val="tx1"/>
                </a:solidFill>
              </a:defRPr>
            </a:lvl5pPr>
            <a:lvl6pPr>
              <a:defRPr sz="1197"/>
            </a:lvl6pPr>
            <a:lvl7pPr>
              <a:defRPr sz="1197"/>
            </a:lvl7pPr>
            <a:lvl8pPr>
              <a:defRPr sz="1197"/>
            </a:lvl8pPr>
            <a:lvl9pPr>
              <a:defRPr sz="1197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1"/>
            <a:r>
              <a:rPr lang="en-US"/>
              <a:t>Third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6564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8">
          <p15:clr>
            <a:srgbClr val="FBAE40"/>
          </p15:clr>
        </p15:guide>
        <p15:guide id="2" orient="horz" pos="4133">
          <p15:clr>
            <a:srgbClr val="FBAE40"/>
          </p15:clr>
        </p15:guide>
        <p15:guide id="3" pos="5602">
          <p15:clr>
            <a:srgbClr val="FBAE40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_White - Summary">
    <p:bg>
      <p:bgPr>
        <a:solidFill>
          <a:schemeClr val="bg1">
            <a:alpha val="6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ubtitle">
            <a:extLst>
              <a:ext uri="{FF2B5EF4-FFF2-40B4-BE49-F238E27FC236}">
                <a16:creationId xmlns:a16="http://schemas.microsoft.com/office/drawing/2014/main" id="{EB784CA8-DA5F-488A-A084-ED11B36D0C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38436"/>
            <a:ext cx="4038600" cy="278292"/>
          </a:xfrm>
          <a:prstGeom prst="rect">
            <a:avLst/>
          </a:prstGeom>
        </p:spPr>
        <p:txBody>
          <a:bodyPr lIns="468000" tIns="0" rIns="21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97" b="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/>
              <a:t>XX Subheadline</a:t>
            </a:r>
          </a:p>
        </p:txBody>
      </p:sp>
      <p:sp>
        <p:nvSpPr>
          <p:cNvPr id="36" name="Title">
            <a:extLst>
              <a:ext uri="{FF2B5EF4-FFF2-40B4-BE49-F238E27FC236}">
                <a16:creationId xmlns:a16="http://schemas.microsoft.com/office/drawing/2014/main" id="{A60CA348-4945-4A81-9258-F0BE1CA196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" y="924375"/>
            <a:ext cx="4038600" cy="278292"/>
          </a:xfrm>
          <a:prstGeom prst="rect">
            <a:avLst/>
          </a:prstGeom>
        </p:spPr>
        <p:txBody>
          <a:bodyPr lIns="468000" tIns="0" rIns="216000">
            <a:noAutofit/>
          </a:bodyPr>
          <a:lstStyle>
            <a:lvl1pPr>
              <a:lnSpc>
                <a:spcPct val="80000"/>
              </a:lnSpc>
              <a:defRPr sz="2793" b="1" cap="none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XX Headline</a:t>
            </a:r>
          </a:p>
        </p:txBody>
      </p:sp>
      <p:sp>
        <p:nvSpPr>
          <p:cNvPr id="37" name="Textbox">
            <a:extLst>
              <a:ext uri="{FF2B5EF4-FFF2-40B4-BE49-F238E27FC236}">
                <a16:creationId xmlns:a16="http://schemas.microsoft.com/office/drawing/2014/main" id="{A5E0D69A-22CD-4DE7-90E1-2A14FE7D017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" y="4343400"/>
            <a:ext cx="4038600" cy="2514600"/>
          </a:xfrm>
          <a:prstGeom prst="rect">
            <a:avLst/>
          </a:prstGeom>
          <a:noFill/>
        </p:spPr>
        <p:txBody>
          <a:bodyPr lIns="468000" tIns="0" rIns="28800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197" b="1">
                <a:solidFill>
                  <a:schemeClr val="accent1"/>
                </a:solidFill>
              </a:defRPr>
            </a:lvl1pPr>
            <a:lvl2pPr marL="175772" indent="-17577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197" baseline="0">
                <a:solidFill>
                  <a:schemeClr val="tx1"/>
                </a:solidFill>
              </a:defRPr>
            </a:lvl2pPr>
            <a:lvl3pPr marL="361045" indent="-18527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97">
                <a:solidFill>
                  <a:schemeClr val="tx1"/>
                </a:solidFill>
              </a:defRPr>
            </a:lvl3pPr>
            <a:lvl4pPr marL="538650" indent="0">
              <a:buClr>
                <a:schemeClr val="accent1"/>
              </a:buClr>
              <a:buFont typeface="Arial" panose="020B0604020202020204" pitchFamily="34" charset="0"/>
              <a:buChar char="•"/>
              <a:defRPr sz="1197">
                <a:solidFill>
                  <a:schemeClr val="tx1"/>
                </a:solidFill>
              </a:defRPr>
            </a:lvl4pPr>
            <a:lvl5pPr marL="807975" indent="0">
              <a:buClr>
                <a:schemeClr val="accent1"/>
              </a:buClr>
              <a:buFont typeface="Arial" panose="020B0604020202020204" pitchFamily="34" charset="0"/>
              <a:buChar char="•"/>
              <a:defRPr sz="1197">
                <a:solidFill>
                  <a:schemeClr val="tx1"/>
                </a:solidFill>
              </a:defRPr>
            </a:lvl5pPr>
            <a:lvl6pPr>
              <a:defRPr sz="1197"/>
            </a:lvl6pPr>
            <a:lvl7pPr>
              <a:defRPr sz="1197"/>
            </a:lvl7pPr>
            <a:lvl8pPr>
              <a:defRPr sz="1197"/>
            </a:lvl8pPr>
            <a:lvl9pPr>
              <a:defRPr sz="1197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1"/>
            <a:r>
              <a:rPr lang="en-US"/>
              <a:t>Third level</a:t>
            </a:r>
            <a:endParaRPr lang="de-DE"/>
          </a:p>
        </p:txBody>
      </p:sp>
      <p:sp>
        <p:nvSpPr>
          <p:cNvPr id="24" name="Picture">
            <a:extLst>
              <a:ext uri="{FF2B5EF4-FFF2-40B4-BE49-F238E27FC236}">
                <a16:creationId xmlns:a16="http://schemas.microsoft.com/office/drawing/2014/main" id="{C2349FBB-D67D-4BFB-A476-461A34BD3160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57200" y="2519363"/>
            <a:ext cx="3581400" cy="1595439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vert="horz" lIns="0" tIns="0" rIns="0" bIns="0" rtlCol="0" anchor="ctr" anchorCtr="0">
            <a:normAutofit/>
          </a:bodyPr>
          <a:lstStyle>
            <a:lvl1pPr>
              <a:defRPr lang="de-DE" sz="1397" b="1">
                <a:solidFill>
                  <a:schemeClr val="tx2"/>
                </a:solidFill>
              </a:defRPr>
            </a:lvl1pPr>
          </a:lstStyle>
          <a:p>
            <a:pPr marR="0" lvl="0" algn="ctr" fontAlgn="auto">
              <a:buClrTx/>
              <a:buSzTx/>
              <a:buNone/>
              <a:tabLst/>
            </a:pP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7729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8">
          <p15:clr>
            <a:srgbClr val="FBAE40"/>
          </p15:clr>
        </p15:guide>
        <p15:guide id="2" orient="horz" pos="4133">
          <p15:clr>
            <a:srgbClr val="FBAE40"/>
          </p15:clr>
        </p15:guide>
        <p15:guide id="3" pos="5602">
          <p15:clr>
            <a:srgbClr val="FBAE4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_White - Summary short">
    <p:bg>
      <p:bgPr>
        <a:solidFill>
          <a:schemeClr val="bg1">
            <a:alpha val="6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ubtitle">
            <a:extLst>
              <a:ext uri="{FF2B5EF4-FFF2-40B4-BE49-F238E27FC236}">
                <a16:creationId xmlns:a16="http://schemas.microsoft.com/office/drawing/2014/main" id="{EB784CA8-DA5F-488A-A084-ED11B36D0C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38436"/>
            <a:ext cx="4038600" cy="278292"/>
          </a:xfrm>
          <a:prstGeom prst="rect">
            <a:avLst/>
          </a:prstGeom>
        </p:spPr>
        <p:txBody>
          <a:bodyPr lIns="468000" tIns="0" rIns="21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97" b="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/>
              <a:t>XX Subheadline</a:t>
            </a:r>
          </a:p>
        </p:txBody>
      </p:sp>
      <p:sp>
        <p:nvSpPr>
          <p:cNvPr id="36" name="Title">
            <a:extLst>
              <a:ext uri="{FF2B5EF4-FFF2-40B4-BE49-F238E27FC236}">
                <a16:creationId xmlns:a16="http://schemas.microsoft.com/office/drawing/2014/main" id="{A60CA348-4945-4A81-9258-F0BE1CA196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" y="924375"/>
            <a:ext cx="4038600" cy="278292"/>
          </a:xfrm>
          <a:prstGeom prst="rect">
            <a:avLst/>
          </a:prstGeom>
        </p:spPr>
        <p:txBody>
          <a:bodyPr lIns="468000" tIns="0" rIns="216000">
            <a:noAutofit/>
          </a:bodyPr>
          <a:lstStyle>
            <a:lvl1pPr>
              <a:lnSpc>
                <a:spcPct val="80000"/>
              </a:lnSpc>
              <a:defRPr sz="2793" b="1" cap="none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XX Headline</a:t>
            </a:r>
          </a:p>
        </p:txBody>
      </p:sp>
      <p:sp>
        <p:nvSpPr>
          <p:cNvPr id="37" name="Textbox">
            <a:extLst>
              <a:ext uri="{FF2B5EF4-FFF2-40B4-BE49-F238E27FC236}">
                <a16:creationId xmlns:a16="http://schemas.microsoft.com/office/drawing/2014/main" id="{A5E0D69A-22CD-4DE7-90E1-2A14FE7D017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" y="4343400"/>
            <a:ext cx="4038600" cy="2514600"/>
          </a:xfrm>
          <a:prstGeom prst="rect">
            <a:avLst/>
          </a:prstGeom>
          <a:noFill/>
        </p:spPr>
        <p:txBody>
          <a:bodyPr lIns="468000" tIns="0" rIns="28800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197" b="1">
                <a:solidFill>
                  <a:schemeClr val="accent1"/>
                </a:solidFill>
              </a:defRPr>
            </a:lvl1pPr>
            <a:lvl2pPr marL="175772" indent="-17577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197" baseline="0">
                <a:solidFill>
                  <a:schemeClr val="tx1"/>
                </a:solidFill>
              </a:defRPr>
            </a:lvl2pPr>
            <a:lvl3pPr marL="361045" indent="-18527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97">
                <a:solidFill>
                  <a:schemeClr val="tx1"/>
                </a:solidFill>
              </a:defRPr>
            </a:lvl3pPr>
            <a:lvl4pPr marL="538650" indent="0">
              <a:buClr>
                <a:schemeClr val="accent1"/>
              </a:buClr>
              <a:buFont typeface="Arial" panose="020B0604020202020204" pitchFamily="34" charset="0"/>
              <a:buChar char="•"/>
              <a:defRPr sz="1197">
                <a:solidFill>
                  <a:schemeClr val="tx1"/>
                </a:solidFill>
              </a:defRPr>
            </a:lvl4pPr>
            <a:lvl5pPr marL="807975" indent="0">
              <a:buClr>
                <a:schemeClr val="accent1"/>
              </a:buClr>
              <a:buFont typeface="Arial" panose="020B0604020202020204" pitchFamily="34" charset="0"/>
              <a:buChar char="•"/>
              <a:defRPr sz="1197">
                <a:solidFill>
                  <a:schemeClr val="tx1"/>
                </a:solidFill>
              </a:defRPr>
            </a:lvl5pPr>
            <a:lvl6pPr>
              <a:defRPr sz="1197"/>
            </a:lvl6pPr>
            <a:lvl7pPr>
              <a:defRPr sz="1197"/>
            </a:lvl7pPr>
            <a:lvl8pPr>
              <a:defRPr sz="1197"/>
            </a:lvl8pPr>
            <a:lvl9pPr>
              <a:defRPr sz="1197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1"/>
            <a:r>
              <a:rPr lang="en-US"/>
              <a:t>Third level</a:t>
            </a:r>
            <a:endParaRPr lang="de-DE"/>
          </a:p>
        </p:txBody>
      </p:sp>
      <p:sp>
        <p:nvSpPr>
          <p:cNvPr id="26" name="Picture">
            <a:extLst>
              <a:ext uri="{FF2B5EF4-FFF2-40B4-BE49-F238E27FC236}">
                <a16:creationId xmlns:a16="http://schemas.microsoft.com/office/drawing/2014/main" id="{FAEE1A2A-1423-40CE-9CFA-383617907316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267200" y="924375"/>
            <a:ext cx="7467600" cy="2733226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vert="horz" lIns="0" tIns="0" rIns="0" bIns="0" rtlCol="0" anchor="ctr" anchorCtr="0">
            <a:normAutofit/>
          </a:bodyPr>
          <a:lstStyle>
            <a:lvl1pPr>
              <a:defRPr lang="de-DE" sz="1397" b="1">
                <a:solidFill>
                  <a:schemeClr val="tx2"/>
                </a:solidFill>
              </a:defRPr>
            </a:lvl1pPr>
          </a:lstStyle>
          <a:p>
            <a:pPr marR="0" lvl="0" algn="ctr" fontAlgn="auto">
              <a:buClrTx/>
              <a:buSzTx/>
              <a:buNone/>
              <a:tabLst/>
            </a:pP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605655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8">
          <p15:clr>
            <a:srgbClr val="FBAE40"/>
          </p15:clr>
        </p15:guide>
        <p15:guide id="2" orient="horz" pos="4133">
          <p15:clr>
            <a:srgbClr val="FBAE40"/>
          </p15:clr>
        </p15:guide>
        <p15:guide id="3" pos="5602">
          <p15:clr>
            <a:srgbClr val="FBAE40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_White - 1 x Pic">
    <p:bg>
      <p:bgPr>
        <a:solidFill>
          <a:schemeClr val="bg1">
            <a:alpha val="6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">
            <a:extLst>
              <a:ext uri="{FF2B5EF4-FFF2-40B4-BE49-F238E27FC236}">
                <a16:creationId xmlns:a16="http://schemas.microsoft.com/office/drawing/2014/main" id="{AA6A753D-E865-4994-B3AF-DBC47B7A31EE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267200" y="457202"/>
            <a:ext cx="7467600" cy="5943599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vert="horz" lIns="0" tIns="0" rIns="0" bIns="0" rtlCol="0" anchor="ctr" anchorCtr="0">
            <a:normAutofit/>
          </a:bodyPr>
          <a:lstStyle>
            <a:lvl1pPr>
              <a:defRPr lang="de-DE" sz="1397" b="1">
                <a:solidFill>
                  <a:schemeClr val="tx2"/>
                </a:solidFill>
              </a:defRPr>
            </a:lvl1pPr>
          </a:lstStyle>
          <a:p>
            <a:pPr marR="0" lvl="0" algn="ctr" fontAlgn="auto">
              <a:buClrTx/>
              <a:buSzTx/>
              <a:buNone/>
              <a:tabLst/>
            </a:pPr>
            <a:r>
              <a:rPr lang="de-DE"/>
              <a:t> </a:t>
            </a:r>
          </a:p>
        </p:txBody>
      </p:sp>
      <p:sp>
        <p:nvSpPr>
          <p:cNvPr id="26" name="Rectangle_grey" hidden="1">
            <a:extLst>
              <a:ext uri="{FF2B5EF4-FFF2-40B4-BE49-F238E27FC236}">
                <a16:creationId xmlns:a16="http://schemas.microsoft.com/office/drawing/2014/main" id="{7B001268-EC39-4A0D-A37C-34132914DDCE}"/>
              </a:ext>
            </a:extLst>
          </p:cNvPr>
          <p:cNvSpPr/>
          <p:nvPr userDrawn="1"/>
        </p:nvSpPr>
        <p:spPr>
          <a:xfrm>
            <a:off x="0" y="0"/>
            <a:ext cx="4039200" cy="6858000"/>
          </a:xfrm>
          <a:prstGeom prst="rect">
            <a:avLst/>
          </a:prstGeom>
          <a:solidFill>
            <a:srgbClr val="E1E1E1">
              <a:alpha val="74902"/>
            </a:srgbClr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44"/>
              <a:t> </a:t>
            </a:r>
            <a:endParaRPr lang="en-PH" sz="2044"/>
          </a:p>
        </p:txBody>
      </p:sp>
      <p:sp>
        <p:nvSpPr>
          <p:cNvPr id="27" name="Subtitle">
            <a:extLst>
              <a:ext uri="{FF2B5EF4-FFF2-40B4-BE49-F238E27FC236}">
                <a16:creationId xmlns:a16="http://schemas.microsoft.com/office/drawing/2014/main" id="{B72E32D3-8E0D-46CF-8D6B-04F7A5918D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38436"/>
            <a:ext cx="4038600" cy="278292"/>
          </a:xfrm>
          <a:prstGeom prst="rect">
            <a:avLst/>
          </a:prstGeom>
        </p:spPr>
        <p:txBody>
          <a:bodyPr lIns="468000" tIns="0" rIns="21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97" b="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/>
              <a:t>XX Subheadline</a:t>
            </a:r>
          </a:p>
        </p:txBody>
      </p:sp>
      <p:sp>
        <p:nvSpPr>
          <p:cNvPr id="32" name="Title">
            <a:extLst>
              <a:ext uri="{FF2B5EF4-FFF2-40B4-BE49-F238E27FC236}">
                <a16:creationId xmlns:a16="http://schemas.microsoft.com/office/drawing/2014/main" id="{B26F5D9D-70B7-4599-8A80-06FAD0EBF9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" y="924375"/>
            <a:ext cx="4038600" cy="278292"/>
          </a:xfrm>
          <a:prstGeom prst="rect">
            <a:avLst/>
          </a:prstGeom>
        </p:spPr>
        <p:txBody>
          <a:bodyPr lIns="468000" tIns="0" rIns="216000">
            <a:noAutofit/>
          </a:bodyPr>
          <a:lstStyle>
            <a:lvl1pPr>
              <a:lnSpc>
                <a:spcPct val="80000"/>
              </a:lnSpc>
              <a:defRPr sz="2793" b="1" cap="none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XX Headline</a:t>
            </a:r>
          </a:p>
        </p:txBody>
      </p:sp>
      <p:sp>
        <p:nvSpPr>
          <p:cNvPr id="34" name="Textbox">
            <a:extLst>
              <a:ext uri="{FF2B5EF4-FFF2-40B4-BE49-F238E27FC236}">
                <a16:creationId xmlns:a16="http://schemas.microsoft.com/office/drawing/2014/main" id="{80FE1A79-E6BA-4E65-99B2-90347DC9C34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" y="2535478"/>
            <a:ext cx="4038600" cy="4322522"/>
          </a:xfrm>
          <a:prstGeom prst="rect">
            <a:avLst/>
          </a:prstGeom>
          <a:noFill/>
        </p:spPr>
        <p:txBody>
          <a:bodyPr lIns="468000" tIns="0" rIns="28800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197" b="1">
                <a:solidFill>
                  <a:schemeClr val="accent1"/>
                </a:solidFill>
              </a:defRPr>
            </a:lvl1pPr>
            <a:lvl2pPr marL="175772" indent="-17577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197" baseline="0">
                <a:solidFill>
                  <a:schemeClr val="tx1"/>
                </a:solidFill>
              </a:defRPr>
            </a:lvl2pPr>
            <a:lvl3pPr marL="361045" indent="-18527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97">
                <a:solidFill>
                  <a:schemeClr val="tx1"/>
                </a:solidFill>
              </a:defRPr>
            </a:lvl3pPr>
            <a:lvl4pPr marL="538650" indent="0">
              <a:buClr>
                <a:schemeClr val="accent1"/>
              </a:buClr>
              <a:buFont typeface="Arial" panose="020B0604020202020204" pitchFamily="34" charset="0"/>
              <a:buChar char="•"/>
              <a:defRPr sz="1197">
                <a:solidFill>
                  <a:schemeClr val="tx1"/>
                </a:solidFill>
              </a:defRPr>
            </a:lvl4pPr>
            <a:lvl5pPr marL="807975" indent="0">
              <a:buClr>
                <a:schemeClr val="accent1"/>
              </a:buClr>
              <a:buFont typeface="Arial" panose="020B0604020202020204" pitchFamily="34" charset="0"/>
              <a:buChar char="•"/>
              <a:defRPr sz="1197">
                <a:solidFill>
                  <a:schemeClr val="tx1"/>
                </a:solidFill>
              </a:defRPr>
            </a:lvl5pPr>
            <a:lvl6pPr>
              <a:defRPr sz="1197"/>
            </a:lvl6pPr>
            <a:lvl7pPr>
              <a:defRPr sz="1197"/>
            </a:lvl7pPr>
            <a:lvl8pPr>
              <a:defRPr sz="1197"/>
            </a:lvl8pPr>
            <a:lvl9pPr>
              <a:defRPr sz="1197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1"/>
            <a:r>
              <a:rPr lang="en-US"/>
              <a:t>Third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83442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8">
          <p15:clr>
            <a:srgbClr val="FBAE40"/>
          </p15:clr>
        </p15:guide>
        <p15:guide id="2" orient="horz" pos="4133">
          <p15:clr>
            <a:srgbClr val="FBAE40"/>
          </p15:clr>
        </p15:guide>
        <p15:guide id="3" pos="5602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_White - 1 x Pic">
    <p:bg>
      <p:bgPr>
        <a:solidFill>
          <a:schemeClr val="bg1">
            <a:alpha val="6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">
            <a:extLst>
              <a:ext uri="{FF2B5EF4-FFF2-40B4-BE49-F238E27FC236}">
                <a16:creationId xmlns:a16="http://schemas.microsoft.com/office/drawing/2014/main" id="{AA6A753D-E865-4994-B3AF-DBC47B7A31EE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267200" y="914401"/>
            <a:ext cx="7467600" cy="50292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vert="horz" lIns="0" tIns="0" rIns="0" bIns="0" rtlCol="0" anchor="ctr" anchorCtr="0">
            <a:normAutofit/>
          </a:bodyPr>
          <a:lstStyle>
            <a:lvl1pPr>
              <a:defRPr lang="de-DE" sz="1397" b="1">
                <a:solidFill>
                  <a:schemeClr val="tx2"/>
                </a:solidFill>
              </a:defRPr>
            </a:lvl1pPr>
          </a:lstStyle>
          <a:p>
            <a:pPr marR="0" lvl="0" algn="ctr" fontAlgn="auto">
              <a:buClrTx/>
              <a:buSzTx/>
              <a:buNone/>
              <a:tabLst/>
            </a:pPr>
            <a:r>
              <a:rPr lang="de-DE"/>
              <a:t> </a:t>
            </a:r>
          </a:p>
        </p:txBody>
      </p:sp>
      <p:sp>
        <p:nvSpPr>
          <p:cNvPr id="26" name="Rectangle_grey" hidden="1">
            <a:extLst>
              <a:ext uri="{FF2B5EF4-FFF2-40B4-BE49-F238E27FC236}">
                <a16:creationId xmlns:a16="http://schemas.microsoft.com/office/drawing/2014/main" id="{7B001268-EC39-4A0D-A37C-34132914DDCE}"/>
              </a:ext>
            </a:extLst>
          </p:cNvPr>
          <p:cNvSpPr/>
          <p:nvPr userDrawn="1"/>
        </p:nvSpPr>
        <p:spPr>
          <a:xfrm>
            <a:off x="0" y="0"/>
            <a:ext cx="4039200" cy="6858000"/>
          </a:xfrm>
          <a:prstGeom prst="rect">
            <a:avLst/>
          </a:prstGeom>
          <a:solidFill>
            <a:srgbClr val="E1E1E1">
              <a:alpha val="74902"/>
            </a:srgbClr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44"/>
              <a:t> </a:t>
            </a:r>
            <a:endParaRPr lang="en-PH" sz="2044"/>
          </a:p>
        </p:txBody>
      </p:sp>
      <p:sp>
        <p:nvSpPr>
          <p:cNvPr id="27" name="Subtitle">
            <a:extLst>
              <a:ext uri="{FF2B5EF4-FFF2-40B4-BE49-F238E27FC236}">
                <a16:creationId xmlns:a16="http://schemas.microsoft.com/office/drawing/2014/main" id="{B72E32D3-8E0D-46CF-8D6B-04F7A5918D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38436"/>
            <a:ext cx="4038600" cy="278292"/>
          </a:xfrm>
          <a:prstGeom prst="rect">
            <a:avLst/>
          </a:prstGeom>
        </p:spPr>
        <p:txBody>
          <a:bodyPr lIns="468000" tIns="0" rIns="21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97" b="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/>
              <a:t>XX Subheadline</a:t>
            </a:r>
          </a:p>
        </p:txBody>
      </p:sp>
      <p:sp>
        <p:nvSpPr>
          <p:cNvPr id="32" name="Title">
            <a:extLst>
              <a:ext uri="{FF2B5EF4-FFF2-40B4-BE49-F238E27FC236}">
                <a16:creationId xmlns:a16="http://schemas.microsoft.com/office/drawing/2014/main" id="{B26F5D9D-70B7-4599-8A80-06FAD0EBF9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" y="924375"/>
            <a:ext cx="4038600" cy="278292"/>
          </a:xfrm>
          <a:prstGeom prst="rect">
            <a:avLst/>
          </a:prstGeom>
        </p:spPr>
        <p:txBody>
          <a:bodyPr lIns="468000" tIns="0" rIns="216000">
            <a:noAutofit/>
          </a:bodyPr>
          <a:lstStyle>
            <a:lvl1pPr>
              <a:lnSpc>
                <a:spcPct val="80000"/>
              </a:lnSpc>
              <a:defRPr sz="2793" b="1" cap="none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XX Headline</a:t>
            </a:r>
          </a:p>
        </p:txBody>
      </p:sp>
      <p:sp>
        <p:nvSpPr>
          <p:cNvPr id="34" name="Textbox">
            <a:extLst>
              <a:ext uri="{FF2B5EF4-FFF2-40B4-BE49-F238E27FC236}">
                <a16:creationId xmlns:a16="http://schemas.microsoft.com/office/drawing/2014/main" id="{80FE1A79-E6BA-4E65-99B2-90347DC9C34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" y="2535478"/>
            <a:ext cx="4038600" cy="4322522"/>
          </a:xfrm>
          <a:prstGeom prst="rect">
            <a:avLst/>
          </a:prstGeom>
          <a:noFill/>
        </p:spPr>
        <p:txBody>
          <a:bodyPr lIns="468000" tIns="0" rIns="28800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197" b="1">
                <a:solidFill>
                  <a:schemeClr val="accent1"/>
                </a:solidFill>
              </a:defRPr>
            </a:lvl1pPr>
            <a:lvl2pPr marL="175772" indent="-17577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197" baseline="0">
                <a:solidFill>
                  <a:schemeClr val="tx1"/>
                </a:solidFill>
              </a:defRPr>
            </a:lvl2pPr>
            <a:lvl3pPr marL="361045" indent="-18527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97">
                <a:solidFill>
                  <a:schemeClr val="tx1"/>
                </a:solidFill>
              </a:defRPr>
            </a:lvl3pPr>
            <a:lvl4pPr marL="538650" indent="0">
              <a:buClr>
                <a:schemeClr val="accent1"/>
              </a:buClr>
              <a:buFont typeface="Arial" panose="020B0604020202020204" pitchFamily="34" charset="0"/>
              <a:buChar char="•"/>
              <a:defRPr sz="1197">
                <a:solidFill>
                  <a:schemeClr val="tx1"/>
                </a:solidFill>
              </a:defRPr>
            </a:lvl4pPr>
            <a:lvl5pPr marL="807975" indent="0">
              <a:buClr>
                <a:schemeClr val="accent1"/>
              </a:buClr>
              <a:buFont typeface="Arial" panose="020B0604020202020204" pitchFamily="34" charset="0"/>
              <a:buChar char="•"/>
              <a:defRPr sz="1197">
                <a:solidFill>
                  <a:schemeClr val="tx1"/>
                </a:solidFill>
              </a:defRPr>
            </a:lvl5pPr>
            <a:lvl6pPr>
              <a:defRPr sz="1197"/>
            </a:lvl6pPr>
            <a:lvl7pPr>
              <a:defRPr sz="1197"/>
            </a:lvl7pPr>
            <a:lvl8pPr>
              <a:defRPr sz="1197"/>
            </a:lvl8pPr>
            <a:lvl9pPr>
              <a:defRPr sz="1197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1"/>
            <a:r>
              <a:rPr lang="en-US"/>
              <a:t>Third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16021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8">
          <p15:clr>
            <a:srgbClr val="FBAE40"/>
          </p15:clr>
        </p15:guide>
        <p15:guide id="2" orient="horz" pos="4133">
          <p15:clr>
            <a:srgbClr val="FBAE40"/>
          </p15:clr>
        </p15:guide>
        <p15:guide id="3" pos="5602">
          <p15:clr>
            <a:srgbClr val="FBAE40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_White - 3 x Pic">
    <p:bg>
      <p:bgPr>
        <a:solidFill>
          <a:schemeClr val="bg1">
            <a:alpha val="6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_grey" hidden="1">
            <a:extLst>
              <a:ext uri="{FF2B5EF4-FFF2-40B4-BE49-F238E27FC236}">
                <a16:creationId xmlns:a16="http://schemas.microsoft.com/office/drawing/2014/main" id="{7B001268-EC39-4A0D-A37C-34132914DDCE}"/>
              </a:ext>
            </a:extLst>
          </p:cNvPr>
          <p:cNvSpPr/>
          <p:nvPr userDrawn="1"/>
        </p:nvSpPr>
        <p:spPr>
          <a:xfrm>
            <a:off x="0" y="0"/>
            <a:ext cx="4039200" cy="6858000"/>
          </a:xfrm>
          <a:prstGeom prst="rect">
            <a:avLst/>
          </a:prstGeom>
          <a:solidFill>
            <a:srgbClr val="E1E1E1">
              <a:alpha val="74902"/>
            </a:srgbClr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44"/>
              <a:t> </a:t>
            </a:r>
            <a:endParaRPr lang="en-PH" sz="2044"/>
          </a:p>
        </p:txBody>
      </p:sp>
      <p:sp>
        <p:nvSpPr>
          <p:cNvPr id="27" name="Subtitle">
            <a:extLst>
              <a:ext uri="{FF2B5EF4-FFF2-40B4-BE49-F238E27FC236}">
                <a16:creationId xmlns:a16="http://schemas.microsoft.com/office/drawing/2014/main" id="{B72E32D3-8E0D-46CF-8D6B-04F7A5918D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38436"/>
            <a:ext cx="4038600" cy="278292"/>
          </a:xfrm>
          <a:prstGeom prst="rect">
            <a:avLst/>
          </a:prstGeom>
        </p:spPr>
        <p:txBody>
          <a:bodyPr lIns="468000" tIns="0" rIns="21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97" b="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/>
              <a:t>XX Subheadline</a:t>
            </a:r>
          </a:p>
        </p:txBody>
      </p:sp>
      <p:sp>
        <p:nvSpPr>
          <p:cNvPr id="32" name="Title">
            <a:extLst>
              <a:ext uri="{FF2B5EF4-FFF2-40B4-BE49-F238E27FC236}">
                <a16:creationId xmlns:a16="http://schemas.microsoft.com/office/drawing/2014/main" id="{B26F5D9D-70B7-4599-8A80-06FAD0EBF9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" y="924375"/>
            <a:ext cx="4038600" cy="278292"/>
          </a:xfrm>
          <a:prstGeom prst="rect">
            <a:avLst/>
          </a:prstGeom>
        </p:spPr>
        <p:txBody>
          <a:bodyPr lIns="468000" tIns="0" rIns="216000">
            <a:noAutofit/>
          </a:bodyPr>
          <a:lstStyle>
            <a:lvl1pPr>
              <a:lnSpc>
                <a:spcPct val="80000"/>
              </a:lnSpc>
              <a:defRPr sz="2793" b="1" cap="none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XX Headline</a:t>
            </a:r>
          </a:p>
        </p:txBody>
      </p:sp>
      <p:sp>
        <p:nvSpPr>
          <p:cNvPr id="34" name="Textbox">
            <a:extLst>
              <a:ext uri="{FF2B5EF4-FFF2-40B4-BE49-F238E27FC236}">
                <a16:creationId xmlns:a16="http://schemas.microsoft.com/office/drawing/2014/main" id="{80FE1A79-E6BA-4E65-99B2-90347DC9C34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" y="2535478"/>
            <a:ext cx="4038600" cy="4322522"/>
          </a:xfrm>
          <a:prstGeom prst="rect">
            <a:avLst/>
          </a:prstGeom>
          <a:noFill/>
        </p:spPr>
        <p:txBody>
          <a:bodyPr lIns="468000" tIns="0" rIns="28800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197" b="1">
                <a:solidFill>
                  <a:schemeClr val="accent1"/>
                </a:solidFill>
              </a:defRPr>
            </a:lvl1pPr>
            <a:lvl2pPr marL="175772" indent="-17577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197" baseline="0">
                <a:solidFill>
                  <a:schemeClr val="tx1"/>
                </a:solidFill>
              </a:defRPr>
            </a:lvl2pPr>
            <a:lvl3pPr marL="361045" indent="-18527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97">
                <a:solidFill>
                  <a:schemeClr val="tx1"/>
                </a:solidFill>
              </a:defRPr>
            </a:lvl3pPr>
            <a:lvl4pPr marL="538650" indent="0">
              <a:buClr>
                <a:schemeClr val="accent1"/>
              </a:buClr>
              <a:buFont typeface="Arial" panose="020B0604020202020204" pitchFamily="34" charset="0"/>
              <a:buChar char="•"/>
              <a:defRPr sz="1197">
                <a:solidFill>
                  <a:schemeClr val="tx1"/>
                </a:solidFill>
              </a:defRPr>
            </a:lvl4pPr>
            <a:lvl5pPr marL="807975" indent="0">
              <a:buClr>
                <a:schemeClr val="accent1"/>
              </a:buClr>
              <a:buFont typeface="Arial" panose="020B0604020202020204" pitchFamily="34" charset="0"/>
              <a:buChar char="•"/>
              <a:defRPr sz="1197">
                <a:solidFill>
                  <a:schemeClr val="tx1"/>
                </a:solidFill>
              </a:defRPr>
            </a:lvl5pPr>
            <a:lvl6pPr>
              <a:defRPr sz="1197"/>
            </a:lvl6pPr>
            <a:lvl7pPr>
              <a:defRPr sz="1197"/>
            </a:lvl7pPr>
            <a:lvl8pPr>
              <a:defRPr sz="1197"/>
            </a:lvl8pPr>
            <a:lvl9pPr>
              <a:defRPr sz="1197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1"/>
            <a:r>
              <a:rPr lang="en-US"/>
              <a:t>Third level</a:t>
            </a:r>
            <a:endParaRPr lang="de-DE"/>
          </a:p>
        </p:txBody>
      </p:sp>
      <p:sp>
        <p:nvSpPr>
          <p:cNvPr id="7" name="Picture">
            <a:extLst>
              <a:ext uri="{FF2B5EF4-FFF2-40B4-BE49-F238E27FC236}">
                <a16:creationId xmlns:a16="http://schemas.microsoft.com/office/drawing/2014/main" id="{E64D931F-96B5-447C-A062-50B830E3E81F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267200" y="228600"/>
            <a:ext cx="7467600" cy="34290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vert="horz" lIns="0" tIns="0" rIns="0" bIns="0" rtlCol="0" anchor="ctr" anchorCtr="0">
            <a:normAutofit/>
          </a:bodyPr>
          <a:lstStyle>
            <a:lvl1pPr>
              <a:defRPr lang="de-DE" sz="1397" b="1">
                <a:solidFill>
                  <a:schemeClr val="tx2"/>
                </a:solidFill>
              </a:defRPr>
            </a:lvl1pPr>
          </a:lstStyle>
          <a:p>
            <a:pPr marR="0" lvl="0" algn="ctr" fontAlgn="auto">
              <a:buClrTx/>
              <a:buSzTx/>
              <a:buNone/>
              <a:tabLst/>
            </a:pPr>
            <a:r>
              <a:rPr lang="de-DE"/>
              <a:t> </a:t>
            </a:r>
          </a:p>
        </p:txBody>
      </p:sp>
      <p:sp>
        <p:nvSpPr>
          <p:cNvPr id="8" name="Picture">
            <a:extLst>
              <a:ext uri="{FF2B5EF4-FFF2-40B4-BE49-F238E27FC236}">
                <a16:creationId xmlns:a16="http://schemas.microsoft.com/office/drawing/2014/main" id="{D39F976E-7C76-4088-BADD-634604FC6054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267200" y="3886962"/>
            <a:ext cx="3619500" cy="2513838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vert="horz" lIns="0" tIns="0" rIns="0" bIns="0" rtlCol="0" anchor="ctr" anchorCtr="0">
            <a:normAutofit/>
          </a:bodyPr>
          <a:lstStyle>
            <a:lvl1pPr>
              <a:defRPr lang="de-DE" sz="1397" b="1">
                <a:solidFill>
                  <a:schemeClr val="tx2"/>
                </a:solidFill>
              </a:defRPr>
            </a:lvl1pPr>
          </a:lstStyle>
          <a:p>
            <a:pPr marR="0" lvl="0" algn="ctr" fontAlgn="auto">
              <a:buClrTx/>
              <a:buSzTx/>
              <a:buNone/>
              <a:tabLst/>
            </a:pPr>
            <a:r>
              <a:rPr lang="de-DE"/>
              <a:t> </a:t>
            </a:r>
          </a:p>
        </p:txBody>
      </p:sp>
      <p:sp>
        <p:nvSpPr>
          <p:cNvPr id="9" name="Picture">
            <a:extLst>
              <a:ext uri="{FF2B5EF4-FFF2-40B4-BE49-F238E27FC236}">
                <a16:creationId xmlns:a16="http://schemas.microsoft.com/office/drawing/2014/main" id="{CFF6C0DF-F8DF-4F37-B9D8-454AC09874A8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8115300" y="3886964"/>
            <a:ext cx="3619500" cy="2513837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vert="horz" lIns="0" tIns="0" rIns="0" bIns="0" rtlCol="0" anchor="ctr" anchorCtr="0">
            <a:normAutofit/>
          </a:bodyPr>
          <a:lstStyle>
            <a:lvl1pPr>
              <a:defRPr lang="de-DE" sz="1397" b="1">
                <a:solidFill>
                  <a:schemeClr val="tx2"/>
                </a:solidFill>
              </a:defRPr>
            </a:lvl1pPr>
          </a:lstStyle>
          <a:p>
            <a:pPr marR="0" lvl="0" algn="ctr" fontAlgn="auto">
              <a:buClrTx/>
              <a:buSzTx/>
              <a:buNone/>
              <a:tabLst/>
            </a:pP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020102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8">
          <p15:clr>
            <a:srgbClr val="FBAE40"/>
          </p15:clr>
        </p15:guide>
        <p15:guide id="2" orient="horz" pos="4133">
          <p15:clr>
            <a:srgbClr val="FBAE40"/>
          </p15:clr>
        </p15:guide>
        <p15:guide id="3" pos="5602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6E7A677-451E-4572-B02E-6D99DF9053B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6200" y="457200"/>
            <a:ext cx="1498600" cy="228631"/>
          </a:xfrm>
          <a:prstGeom prst="rect">
            <a:avLst/>
          </a:prstGeom>
        </p:spPr>
      </p:pic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36FC3B7-CE63-45A8-AF2C-CCB25DA9F1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286000"/>
            <a:ext cx="11277600" cy="1371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0"/>
              </a:spcAft>
              <a:defRPr sz="5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Presentation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E5723794-4E50-48A6-BA6C-7CDB91BB63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4103370"/>
            <a:ext cx="112776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600"/>
              </a:spcBef>
              <a:spcAft>
                <a:spcPts val="1200"/>
              </a:spcAft>
              <a:defRPr sz="21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60CA5305-0A60-41DB-809C-6E372BA944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4572000"/>
            <a:ext cx="112776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600"/>
              </a:spcBef>
              <a:spcAft>
                <a:spcPts val="1200"/>
              </a:spcAft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850783311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_White - 3 x Pic -">
    <p:bg>
      <p:bgPr>
        <a:solidFill>
          <a:schemeClr val="bg1">
            <a:alpha val="6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_grey" hidden="1">
            <a:extLst>
              <a:ext uri="{FF2B5EF4-FFF2-40B4-BE49-F238E27FC236}">
                <a16:creationId xmlns:a16="http://schemas.microsoft.com/office/drawing/2014/main" id="{7B001268-EC39-4A0D-A37C-34132914DDCE}"/>
              </a:ext>
            </a:extLst>
          </p:cNvPr>
          <p:cNvSpPr/>
          <p:nvPr userDrawn="1"/>
        </p:nvSpPr>
        <p:spPr>
          <a:xfrm>
            <a:off x="0" y="0"/>
            <a:ext cx="4039200" cy="6858000"/>
          </a:xfrm>
          <a:prstGeom prst="rect">
            <a:avLst/>
          </a:prstGeom>
          <a:solidFill>
            <a:srgbClr val="E1E1E1">
              <a:alpha val="74902"/>
            </a:srgbClr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44"/>
              <a:t> </a:t>
            </a:r>
            <a:endParaRPr lang="en-PH" sz="2044"/>
          </a:p>
        </p:txBody>
      </p:sp>
      <p:sp>
        <p:nvSpPr>
          <p:cNvPr id="27" name="Subtitle">
            <a:extLst>
              <a:ext uri="{FF2B5EF4-FFF2-40B4-BE49-F238E27FC236}">
                <a16:creationId xmlns:a16="http://schemas.microsoft.com/office/drawing/2014/main" id="{B72E32D3-8E0D-46CF-8D6B-04F7A5918D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38436"/>
            <a:ext cx="4038600" cy="278292"/>
          </a:xfrm>
          <a:prstGeom prst="rect">
            <a:avLst/>
          </a:prstGeom>
        </p:spPr>
        <p:txBody>
          <a:bodyPr lIns="468000" tIns="0" rIns="21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97" b="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/>
              <a:t>XX Subheadline</a:t>
            </a:r>
          </a:p>
        </p:txBody>
      </p:sp>
      <p:sp>
        <p:nvSpPr>
          <p:cNvPr id="32" name="Title">
            <a:extLst>
              <a:ext uri="{FF2B5EF4-FFF2-40B4-BE49-F238E27FC236}">
                <a16:creationId xmlns:a16="http://schemas.microsoft.com/office/drawing/2014/main" id="{B26F5D9D-70B7-4599-8A80-06FAD0EBF9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" y="924375"/>
            <a:ext cx="4038600" cy="278292"/>
          </a:xfrm>
          <a:prstGeom prst="rect">
            <a:avLst/>
          </a:prstGeom>
        </p:spPr>
        <p:txBody>
          <a:bodyPr lIns="468000" tIns="0" rIns="216000">
            <a:noAutofit/>
          </a:bodyPr>
          <a:lstStyle>
            <a:lvl1pPr>
              <a:lnSpc>
                <a:spcPct val="80000"/>
              </a:lnSpc>
              <a:defRPr sz="2793" b="1" cap="none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XX Headline</a:t>
            </a:r>
          </a:p>
        </p:txBody>
      </p:sp>
      <p:sp>
        <p:nvSpPr>
          <p:cNvPr id="34" name="Textbox">
            <a:extLst>
              <a:ext uri="{FF2B5EF4-FFF2-40B4-BE49-F238E27FC236}">
                <a16:creationId xmlns:a16="http://schemas.microsoft.com/office/drawing/2014/main" id="{80FE1A79-E6BA-4E65-99B2-90347DC9C34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" y="2535478"/>
            <a:ext cx="4038600" cy="4322522"/>
          </a:xfrm>
          <a:prstGeom prst="rect">
            <a:avLst/>
          </a:prstGeom>
          <a:noFill/>
        </p:spPr>
        <p:txBody>
          <a:bodyPr lIns="468000" tIns="0" rIns="28800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197" b="1">
                <a:solidFill>
                  <a:schemeClr val="accent1"/>
                </a:solidFill>
              </a:defRPr>
            </a:lvl1pPr>
            <a:lvl2pPr marL="175772" indent="-17577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197" baseline="0">
                <a:solidFill>
                  <a:schemeClr val="tx1"/>
                </a:solidFill>
              </a:defRPr>
            </a:lvl2pPr>
            <a:lvl3pPr marL="361045" indent="-18527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97">
                <a:solidFill>
                  <a:schemeClr val="tx1"/>
                </a:solidFill>
              </a:defRPr>
            </a:lvl3pPr>
            <a:lvl4pPr marL="538650" indent="0">
              <a:buClr>
                <a:schemeClr val="accent1"/>
              </a:buClr>
              <a:buFont typeface="Arial" panose="020B0604020202020204" pitchFamily="34" charset="0"/>
              <a:buChar char="•"/>
              <a:defRPr sz="1197">
                <a:solidFill>
                  <a:schemeClr val="tx1"/>
                </a:solidFill>
              </a:defRPr>
            </a:lvl4pPr>
            <a:lvl5pPr marL="807975" indent="0">
              <a:buClr>
                <a:schemeClr val="accent1"/>
              </a:buClr>
              <a:buFont typeface="Arial" panose="020B0604020202020204" pitchFamily="34" charset="0"/>
              <a:buChar char="•"/>
              <a:defRPr sz="1197">
                <a:solidFill>
                  <a:schemeClr val="tx1"/>
                </a:solidFill>
              </a:defRPr>
            </a:lvl5pPr>
            <a:lvl6pPr>
              <a:defRPr sz="1197"/>
            </a:lvl6pPr>
            <a:lvl7pPr>
              <a:defRPr sz="1197"/>
            </a:lvl7pPr>
            <a:lvl8pPr>
              <a:defRPr sz="1197"/>
            </a:lvl8pPr>
            <a:lvl9pPr>
              <a:defRPr sz="1197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1"/>
            <a:r>
              <a:rPr lang="en-US"/>
              <a:t>Third level</a:t>
            </a:r>
            <a:endParaRPr lang="de-DE"/>
          </a:p>
        </p:txBody>
      </p:sp>
      <p:sp>
        <p:nvSpPr>
          <p:cNvPr id="7" name="Picture">
            <a:extLst>
              <a:ext uri="{FF2B5EF4-FFF2-40B4-BE49-F238E27FC236}">
                <a16:creationId xmlns:a16="http://schemas.microsoft.com/office/drawing/2014/main" id="{E64D931F-96B5-447C-A062-50B830E3E81F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267200" y="924376"/>
            <a:ext cx="7467600" cy="2733225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vert="horz" lIns="0" tIns="0" rIns="0" bIns="0" rtlCol="0" anchor="ctr" anchorCtr="0">
            <a:normAutofit/>
          </a:bodyPr>
          <a:lstStyle>
            <a:lvl1pPr>
              <a:defRPr lang="de-DE" sz="1397" b="1">
                <a:solidFill>
                  <a:schemeClr val="tx2"/>
                </a:solidFill>
              </a:defRPr>
            </a:lvl1pPr>
          </a:lstStyle>
          <a:p>
            <a:pPr marR="0" lvl="0" algn="ctr" fontAlgn="auto">
              <a:buClrTx/>
              <a:buSzTx/>
              <a:buNone/>
              <a:tabLst/>
            </a:pPr>
            <a:r>
              <a:rPr lang="de-DE"/>
              <a:t> </a:t>
            </a:r>
          </a:p>
        </p:txBody>
      </p:sp>
      <p:sp>
        <p:nvSpPr>
          <p:cNvPr id="8" name="Picture">
            <a:extLst>
              <a:ext uri="{FF2B5EF4-FFF2-40B4-BE49-F238E27FC236}">
                <a16:creationId xmlns:a16="http://schemas.microsoft.com/office/drawing/2014/main" id="{D39F976E-7C76-4088-BADD-634604FC6054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267200" y="3886962"/>
            <a:ext cx="3619500" cy="2513838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vert="horz" lIns="0" tIns="0" rIns="0" bIns="0" rtlCol="0" anchor="ctr" anchorCtr="0">
            <a:normAutofit/>
          </a:bodyPr>
          <a:lstStyle>
            <a:lvl1pPr>
              <a:defRPr lang="de-DE" sz="1397" b="1">
                <a:solidFill>
                  <a:schemeClr val="tx2"/>
                </a:solidFill>
              </a:defRPr>
            </a:lvl1pPr>
          </a:lstStyle>
          <a:p>
            <a:pPr marR="0" lvl="0" algn="ctr" fontAlgn="auto">
              <a:buClrTx/>
              <a:buSzTx/>
              <a:buNone/>
              <a:tabLst/>
            </a:pPr>
            <a:r>
              <a:rPr lang="de-DE"/>
              <a:t> </a:t>
            </a:r>
          </a:p>
        </p:txBody>
      </p:sp>
      <p:sp>
        <p:nvSpPr>
          <p:cNvPr id="9" name="Picture">
            <a:extLst>
              <a:ext uri="{FF2B5EF4-FFF2-40B4-BE49-F238E27FC236}">
                <a16:creationId xmlns:a16="http://schemas.microsoft.com/office/drawing/2014/main" id="{CFF6C0DF-F8DF-4F37-B9D8-454AC09874A8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8115300" y="3886964"/>
            <a:ext cx="3619500" cy="2513837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vert="horz" lIns="0" tIns="0" rIns="0" bIns="0" rtlCol="0" anchor="ctr" anchorCtr="0">
            <a:normAutofit/>
          </a:bodyPr>
          <a:lstStyle>
            <a:lvl1pPr>
              <a:defRPr lang="de-DE" sz="1397" b="1">
                <a:solidFill>
                  <a:schemeClr val="tx2"/>
                </a:solidFill>
              </a:defRPr>
            </a:lvl1pPr>
          </a:lstStyle>
          <a:p>
            <a:pPr marR="0" lvl="0" algn="ctr" fontAlgn="auto">
              <a:buClrTx/>
              <a:buSzTx/>
              <a:buNone/>
              <a:tabLst/>
            </a:pP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835071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8">
          <p15:clr>
            <a:srgbClr val="FBAE40"/>
          </p15:clr>
        </p15:guide>
        <p15:guide id="2" orient="horz" pos="4133">
          <p15:clr>
            <a:srgbClr val="FBAE40"/>
          </p15:clr>
        </p15:guide>
        <p15:guide id="3" pos="5602">
          <p15:clr>
            <a:srgbClr val="FBAE4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F_White - 3 x Pic">
    <p:bg>
      <p:bgPr>
        <a:solidFill>
          <a:schemeClr val="bg1">
            <a:alpha val="6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_grey" hidden="1">
            <a:extLst>
              <a:ext uri="{FF2B5EF4-FFF2-40B4-BE49-F238E27FC236}">
                <a16:creationId xmlns:a16="http://schemas.microsoft.com/office/drawing/2014/main" id="{7B001268-EC39-4A0D-A37C-34132914DDCE}"/>
              </a:ext>
            </a:extLst>
          </p:cNvPr>
          <p:cNvSpPr/>
          <p:nvPr userDrawn="1"/>
        </p:nvSpPr>
        <p:spPr>
          <a:xfrm>
            <a:off x="0" y="0"/>
            <a:ext cx="4039200" cy="6858000"/>
          </a:xfrm>
          <a:prstGeom prst="rect">
            <a:avLst/>
          </a:prstGeom>
          <a:solidFill>
            <a:srgbClr val="E1E1E1">
              <a:alpha val="74902"/>
            </a:srgbClr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44"/>
              <a:t> </a:t>
            </a:r>
            <a:endParaRPr lang="en-PH" sz="2044"/>
          </a:p>
        </p:txBody>
      </p:sp>
      <p:sp>
        <p:nvSpPr>
          <p:cNvPr id="27" name="Subtitle">
            <a:extLst>
              <a:ext uri="{FF2B5EF4-FFF2-40B4-BE49-F238E27FC236}">
                <a16:creationId xmlns:a16="http://schemas.microsoft.com/office/drawing/2014/main" id="{B72E32D3-8E0D-46CF-8D6B-04F7A5918D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38436"/>
            <a:ext cx="4038600" cy="278292"/>
          </a:xfrm>
          <a:prstGeom prst="rect">
            <a:avLst/>
          </a:prstGeom>
        </p:spPr>
        <p:txBody>
          <a:bodyPr lIns="468000" tIns="0" rIns="21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97" b="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/>
              <a:t>XX Subheadline</a:t>
            </a:r>
          </a:p>
        </p:txBody>
      </p:sp>
      <p:sp>
        <p:nvSpPr>
          <p:cNvPr id="32" name="Title">
            <a:extLst>
              <a:ext uri="{FF2B5EF4-FFF2-40B4-BE49-F238E27FC236}">
                <a16:creationId xmlns:a16="http://schemas.microsoft.com/office/drawing/2014/main" id="{B26F5D9D-70B7-4599-8A80-06FAD0EBF9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" y="924375"/>
            <a:ext cx="4038600" cy="278292"/>
          </a:xfrm>
          <a:prstGeom prst="rect">
            <a:avLst/>
          </a:prstGeom>
        </p:spPr>
        <p:txBody>
          <a:bodyPr lIns="468000" tIns="0" rIns="216000">
            <a:noAutofit/>
          </a:bodyPr>
          <a:lstStyle>
            <a:lvl1pPr>
              <a:lnSpc>
                <a:spcPct val="80000"/>
              </a:lnSpc>
              <a:defRPr sz="2793" b="1" cap="none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XX Headline</a:t>
            </a:r>
          </a:p>
        </p:txBody>
      </p:sp>
      <p:sp>
        <p:nvSpPr>
          <p:cNvPr id="34" name="Textbox">
            <a:extLst>
              <a:ext uri="{FF2B5EF4-FFF2-40B4-BE49-F238E27FC236}">
                <a16:creationId xmlns:a16="http://schemas.microsoft.com/office/drawing/2014/main" id="{80FE1A79-E6BA-4E65-99B2-90347DC9C34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" y="2535478"/>
            <a:ext cx="4038600" cy="4322522"/>
          </a:xfrm>
          <a:prstGeom prst="rect">
            <a:avLst/>
          </a:prstGeom>
          <a:noFill/>
        </p:spPr>
        <p:txBody>
          <a:bodyPr lIns="468000" tIns="0" rIns="28800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197" b="1">
                <a:solidFill>
                  <a:schemeClr val="accent1"/>
                </a:solidFill>
              </a:defRPr>
            </a:lvl1pPr>
            <a:lvl2pPr marL="175772" indent="-17577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197" baseline="0">
                <a:solidFill>
                  <a:schemeClr val="tx1"/>
                </a:solidFill>
              </a:defRPr>
            </a:lvl2pPr>
            <a:lvl3pPr marL="361045" indent="-18527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97">
                <a:solidFill>
                  <a:schemeClr val="tx1"/>
                </a:solidFill>
              </a:defRPr>
            </a:lvl3pPr>
            <a:lvl4pPr marL="538650" indent="0">
              <a:buClr>
                <a:schemeClr val="accent1"/>
              </a:buClr>
              <a:buFont typeface="Arial" panose="020B0604020202020204" pitchFamily="34" charset="0"/>
              <a:buChar char="•"/>
              <a:defRPr sz="1197">
                <a:solidFill>
                  <a:schemeClr val="tx1"/>
                </a:solidFill>
              </a:defRPr>
            </a:lvl4pPr>
            <a:lvl5pPr marL="807975" indent="0">
              <a:buClr>
                <a:schemeClr val="accent1"/>
              </a:buClr>
              <a:buFont typeface="Arial" panose="020B0604020202020204" pitchFamily="34" charset="0"/>
              <a:buChar char="•"/>
              <a:defRPr sz="1197">
                <a:solidFill>
                  <a:schemeClr val="tx1"/>
                </a:solidFill>
              </a:defRPr>
            </a:lvl5pPr>
            <a:lvl6pPr>
              <a:defRPr sz="1197"/>
            </a:lvl6pPr>
            <a:lvl7pPr>
              <a:defRPr sz="1197"/>
            </a:lvl7pPr>
            <a:lvl8pPr>
              <a:defRPr sz="1197"/>
            </a:lvl8pPr>
            <a:lvl9pPr>
              <a:defRPr sz="1197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1"/>
            <a:r>
              <a:rPr lang="en-US"/>
              <a:t>Third level</a:t>
            </a:r>
            <a:endParaRPr lang="de-DE"/>
          </a:p>
        </p:txBody>
      </p:sp>
      <p:sp>
        <p:nvSpPr>
          <p:cNvPr id="10" name="Picture">
            <a:extLst>
              <a:ext uri="{FF2B5EF4-FFF2-40B4-BE49-F238E27FC236}">
                <a16:creationId xmlns:a16="http://schemas.microsoft.com/office/drawing/2014/main" id="{A6DC73F5-41DC-47F0-B5B9-6E80137E6FC2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267200" y="457200"/>
            <a:ext cx="3619500" cy="59436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vert="horz" lIns="0" tIns="0" rIns="0" bIns="0" rtlCol="0" anchor="ctr" anchorCtr="0">
            <a:normAutofit/>
          </a:bodyPr>
          <a:lstStyle>
            <a:lvl1pPr>
              <a:defRPr lang="de-DE" sz="1397" b="1">
                <a:solidFill>
                  <a:schemeClr val="tx2"/>
                </a:solidFill>
              </a:defRPr>
            </a:lvl1pPr>
          </a:lstStyle>
          <a:p>
            <a:pPr marR="0" lvl="0" algn="ctr" fontAlgn="auto">
              <a:buClrTx/>
              <a:buSzTx/>
              <a:buNone/>
              <a:tabLst/>
            </a:pPr>
            <a:r>
              <a:rPr lang="de-DE"/>
              <a:t> </a:t>
            </a:r>
          </a:p>
        </p:txBody>
      </p:sp>
      <p:sp>
        <p:nvSpPr>
          <p:cNvPr id="11" name="Picture">
            <a:extLst>
              <a:ext uri="{FF2B5EF4-FFF2-40B4-BE49-F238E27FC236}">
                <a16:creationId xmlns:a16="http://schemas.microsoft.com/office/drawing/2014/main" id="{B8164AC3-91E6-40EA-931D-9C79EB167324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8115300" y="457200"/>
            <a:ext cx="3619500" cy="3200401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vert="horz" lIns="0" tIns="0" rIns="0" bIns="0" rtlCol="0" anchor="ctr" anchorCtr="0">
            <a:normAutofit/>
          </a:bodyPr>
          <a:lstStyle>
            <a:lvl1pPr>
              <a:defRPr lang="de-DE" sz="1397" b="1">
                <a:solidFill>
                  <a:schemeClr val="tx2"/>
                </a:solidFill>
              </a:defRPr>
            </a:lvl1pPr>
          </a:lstStyle>
          <a:p>
            <a:pPr marR="0" lvl="0" algn="ctr" fontAlgn="auto">
              <a:buClrTx/>
              <a:buSzTx/>
              <a:buNone/>
              <a:tabLst/>
            </a:pPr>
            <a:r>
              <a:rPr lang="de-DE"/>
              <a:t> </a:t>
            </a:r>
          </a:p>
        </p:txBody>
      </p:sp>
      <p:sp>
        <p:nvSpPr>
          <p:cNvPr id="12" name="Picture">
            <a:extLst>
              <a:ext uri="{FF2B5EF4-FFF2-40B4-BE49-F238E27FC236}">
                <a16:creationId xmlns:a16="http://schemas.microsoft.com/office/drawing/2014/main" id="{70BE9148-10A1-4C05-919A-66F492C412FD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8115300" y="3886962"/>
            <a:ext cx="3619500" cy="2513838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vert="horz" lIns="0" tIns="0" rIns="0" bIns="0" rtlCol="0" anchor="ctr" anchorCtr="0">
            <a:normAutofit/>
          </a:bodyPr>
          <a:lstStyle>
            <a:lvl1pPr>
              <a:defRPr lang="de-DE" sz="1397" b="1">
                <a:solidFill>
                  <a:schemeClr val="tx2"/>
                </a:solidFill>
              </a:defRPr>
            </a:lvl1pPr>
          </a:lstStyle>
          <a:p>
            <a:pPr marR="0" lvl="0" algn="ctr" fontAlgn="auto">
              <a:buClrTx/>
              <a:buSzTx/>
              <a:buNone/>
              <a:tabLst/>
            </a:pP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516890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8">
          <p15:clr>
            <a:srgbClr val="FBAE40"/>
          </p15:clr>
        </p15:guide>
        <p15:guide id="2" orient="horz" pos="4133">
          <p15:clr>
            <a:srgbClr val="FBAE40"/>
          </p15:clr>
        </p15:guide>
        <p15:guide id="3" pos="5602">
          <p15:clr>
            <a:srgbClr val="FBAE4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F_White - 3 x Pic">
    <p:bg>
      <p:bgPr>
        <a:solidFill>
          <a:schemeClr val="bg1">
            <a:alpha val="6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_grey" hidden="1">
            <a:extLst>
              <a:ext uri="{FF2B5EF4-FFF2-40B4-BE49-F238E27FC236}">
                <a16:creationId xmlns:a16="http://schemas.microsoft.com/office/drawing/2014/main" id="{7B001268-EC39-4A0D-A37C-34132914DDCE}"/>
              </a:ext>
            </a:extLst>
          </p:cNvPr>
          <p:cNvSpPr/>
          <p:nvPr userDrawn="1"/>
        </p:nvSpPr>
        <p:spPr>
          <a:xfrm>
            <a:off x="0" y="0"/>
            <a:ext cx="4039200" cy="6858000"/>
          </a:xfrm>
          <a:prstGeom prst="rect">
            <a:avLst/>
          </a:prstGeom>
          <a:solidFill>
            <a:srgbClr val="E1E1E1">
              <a:alpha val="74902"/>
            </a:srgbClr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44"/>
              <a:t> </a:t>
            </a:r>
            <a:endParaRPr lang="en-PH" sz="2044"/>
          </a:p>
        </p:txBody>
      </p:sp>
      <p:sp>
        <p:nvSpPr>
          <p:cNvPr id="27" name="Subtitle">
            <a:extLst>
              <a:ext uri="{FF2B5EF4-FFF2-40B4-BE49-F238E27FC236}">
                <a16:creationId xmlns:a16="http://schemas.microsoft.com/office/drawing/2014/main" id="{B72E32D3-8E0D-46CF-8D6B-04F7A5918D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38436"/>
            <a:ext cx="4038600" cy="278292"/>
          </a:xfrm>
          <a:prstGeom prst="rect">
            <a:avLst/>
          </a:prstGeom>
        </p:spPr>
        <p:txBody>
          <a:bodyPr lIns="468000" tIns="0" rIns="21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97" b="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/>
              <a:t>XX Subheadline</a:t>
            </a:r>
          </a:p>
        </p:txBody>
      </p:sp>
      <p:sp>
        <p:nvSpPr>
          <p:cNvPr id="32" name="Title">
            <a:extLst>
              <a:ext uri="{FF2B5EF4-FFF2-40B4-BE49-F238E27FC236}">
                <a16:creationId xmlns:a16="http://schemas.microsoft.com/office/drawing/2014/main" id="{B26F5D9D-70B7-4599-8A80-06FAD0EBF9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" y="924375"/>
            <a:ext cx="4038600" cy="278292"/>
          </a:xfrm>
          <a:prstGeom prst="rect">
            <a:avLst/>
          </a:prstGeom>
        </p:spPr>
        <p:txBody>
          <a:bodyPr lIns="468000" tIns="0" rIns="216000">
            <a:noAutofit/>
          </a:bodyPr>
          <a:lstStyle>
            <a:lvl1pPr>
              <a:lnSpc>
                <a:spcPct val="80000"/>
              </a:lnSpc>
              <a:defRPr sz="2793" b="1" cap="none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XX Headline</a:t>
            </a:r>
          </a:p>
        </p:txBody>
      </p:sp>
      <p:sp>
        <p:nvSpPr>
          <p:cNvPr id="34" name="Textbox">
            <a:extLst>
              <a:ext uri="{FF2B5EF4-FFF2-40B4-BE49-F238E27FC236}">
                <a16:creationId xmlns:a16="http://schemas.microsoft.com/office/drawing/2014/main" id="{80FE1A79-E6BA-4E65-99B2-90347DC9C34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" y="2535478"/>
            <a:ext cx="4038600" cy="4322522"/>
          </a:xfrm>
          <a:prstGeom prst="rect">
            <a:avLst/>
          </a:prstGeom>
          <a:noFill/>
        </p:spPr>
        <p:txBody>
          <a:bodyPr lIns="468000" tIns="0" rIns="28800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197" b="1">
                <a:solidFill>
                  <a:schemeClr val="accent1"/>
                </a:solidFill>
              </a:defRPr>
            </a:lvl1pPr>
            <a:lvl2pPr marL="175772" indent="-17577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197" baseline="0">
                <a:solidFill>
                  <a:schemeClr val="tx1"/>
                </a:solidFill>
              </a:defRPr>
            </a:lvl2pPr>
            <a:lvl3pPr marL="361045" indent="-18527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97">
                <a:solidFill>
                  <a:schemeClr val="tx1"/>
                </a:solidFill>
              </a:defRPr>
            </a:lvl3pPr>
            <a:lvl4pPr marL="538650" indent="0">
              <a:buClr>
                <a:schemeClr val="accent1"/>
              </a:buClr>
              <a:buFont typeface="Arial" panose="020B0604020202020204" pitchFamily="34" charset="0"/>
              <a:buChar char="•"/>
              <a:defRPr sz="1197">
                <a:solidFill>
                  <a:schemeClr val="tx1"/>
                </a:solidFill>
              </a:defRPr>
            </a:lvl4pPr>
            <a:lvl5pPr marL="807975" indent="0">
              <a:buClr>
                <a:schemeClr val="accent1"/>
              </a:buClr>
              <a:buFont typeface="Arial" panose="020B0604020202020204" pitchFamily="34" charset="0"/>
              <a:buChar char="•"/>
              <a:defRPr sz="1197">
                <a:solidFill>
                  <a:schemeClr val="tx1"/>
                </a:solidFill>
              </a:defRPr>
            </a:lvl5pPr>
            <a:lvl6pPr>
              <a:defRPr sz="1197"/>
            </a:lvl6pPr>
            <a:lvl7pPr>
              <a:defRPr sz="1197"/>
            </a:lvl7pPr>
            <a:lvl8pPr>
              <a:defRPr sz="1197"/>
            </a:lvl8pPr>
            <a:lvl9pPr>
              <a:defRPr sz="1197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1"/>
            <a:r>
              <a:rPr lang="en-US"/>
              <a:t>Third level</a:t>
            </a:r>
            <a:endParaRPr lang="de-DE"/>
          </a:p>
        </p:txBody>
      </p:sp>
      <p:sp>
        <p:nvSpPr>
          <p:cNvPr id="11" name="Picture">
            <a:extLst>
              <a:ext uri="{FF2B5EF4-FFF2-40B4-BE49-F238E27FC236}">
                <a16:creationId xmlns:a16="http://schemas.microsoft.com/office/drawing/2014/main" id="{B8164AC3-91E6-40EA-931D-9C79EB167324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267200" y="457200"/>
            <a:ext cx="7467600" cy="3200401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vert="horz" lIns="0" tIns="0" rIns="0" bIns="0" rtlCol="0" anchor="ctr" anchorCtr="0">
            <a:normAutofit/>
          </a:bodyPr>
          <a:lstStyle>
            <a:lvl1pPr>
              <a:defRPr lang="de-DE" sz="1397" b="1">
                <a:solidFill>
                  <a:schemeClr val="tx2"/>
                </a:solidFill>
              </a:defRPr>
            </a:lvl1pPr>
          </a:lstStyle>
          <a:p>
            <a:pPr marR="0" lvl="0" algn="ctr" fontAlgn="auto">
              <a:buClrTx/>
              <a:buSzTx/>
              <a:buNone/>
              <a:tabLst/>
            </a:pPr>
            <a:r>
              <a:rPr lang="de-DE"/>
              <a:t> </a:t>
            </a:r>
          </a:p>
        </p:txBody>
      </p:sp>
      <p:sp>
        <p:nvSpPr>
          <p:cNvPr id="12" name="Picture">
            <a:extLst>
              <a:ext uri="{FF2B5EF4-FFF2-40B4-BE49-F238E27FC236}">
                <a16:creationId xmlns:a16="http://schemas.microsoft.com/office/drawing/2014/main" id="{70BE9148-10A1-4C05-919A-66F492C412FD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4267200" y="3886962"/>
            <a:ext cx="7467600" cy="2513838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vert="horz" lIns="0" tIns="0" rIns="0" bIns="0" rtlCol="0" anchor="ctr" anchorCtr="0">
            <a:normAutofit/>
          </a:bodyPr>
          <a:lstStyle>
            <a:lvl1pPr>
              <a:defRPr lang="de-DE" sz="1397" b="1">
                <a:solidFill>
                  <a:schemeClr val="tx2"/>
                </a:solidFill>
              </a:defRPr>
            </a:lvl1pPr>
          </a:lstStyle>
          <a:p>
            <a:pPr marR="0" lvl="0" algn="ctr" fontAlgn="auto">
              <a:buClrTx/>
              <a:buSzTx/>
              <a:buNone/>
              <a:tabLst/>
            </a:pP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08501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8">
          <p15:clr>
            <a:srgbClr val="FBAE40"/>
          </p15:clr>
        </p15:guide>
        <p15:guide id="2" orient="horz" pos="4133">
          <p15:clr>
            <a:srgbClr val="FBAE40"/>
          </p15:clr>
        </p15:guide>
        <p15:guide id="3" pos="5602">
          <p15:clr>
            <a:srgbClr val="FBAE4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_Grey - 1 x Pic full">
    <p:bg>
      <p:bgPr>
        <a:solidFill>
          <a:schemeClr val="bg1">
            <a:alpha val="6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>
            <a:extLst>
              <a:ext uri="{FF2B5EF4-FFF2-40B4-BE49-F238E27FC236}">
                <a16:creationId xmlns:a16="http://schemas.microsoft.com/office/drawing/2014/main" id="{2B581113-560A-4F73-874C-1FF1627DB48B}"/>
              </a:ext>
            </a:extLst>
          </p:cNvPr>
          <p:cNvSpPr/>
          <p:nvPr userDrawn="1"/>
        </p:nvSpPr>
        <p:spPr>
          <a:xfrm>
            <a:off x="1" y="2"/>
            <a:ext cx="4038600" cy="6857999"/>
          </a:xfrm>
          <a:prstGeom prst="rect">
            <a:avLst/>
          </a:prstGeom>
          <a:solidFill>
            <a:srgbClr val="E7E6E6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sz="2044"/>
          </a:p>
        </p:txBody>
      </p:sp>
      <p:sp>
        <p:nvSpPr>
          <p:cNvPr id="44" name="Picture">
            <a:extLst>
              <a:ext uri="{FF2B5EF4-FFF2-40B4-BE49-F238E27FC236}">
                <a16:creationId xmlns:a16="http://schemas.microsoft.com/office/drawing/2014/main" id="{43E26DCD-807C-4FA1-B826-B38F553740F4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038601" y="0"/>
            <a:ext cx="8153400" cy="68580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vert="horz" lIns="0" tIns="0" rIns="0" bIns="0" rtlCol="0" anchor="ctr" anchorCtr="0">
            <a:normAutofit/>
          </a:bodyPr>
          <a:lstStyle>
            <a:lvl1pPr>
              <a:defRPr lang="de-DE" sz="1397" b="1">
                <a:solidFill>
                  <a:schemeClr val="tx2"/>
                </a:solidFill>
              </a:defRPr>
            </a:lvl1pPr>
          </a:lstStyle>
          <a:p>
            <a:pPr marR="0" lvl="0" algn="ctr" fontAlgn="auto">
              <a:buClrTx/>
              <a:buSzTx/>
              <a:buNone/>
              <a:tabLst/>
            </a:pPr>
            <a:r>
              <a:rPr lang="de-DE"/>
              <a:t> </a:t>
            </a:r>
          </a:p>
        </p:txBody>
      </p:sp>
      <p:sp>
        <p:nvSpPr>
          <p:cNvPr id="40" name="Subtitle">
            <a:extLst>
              <a:ext uri="{FF2B5EF4-FFF2-40B4-BE49-F238E27FC236}">
                <a16:creationId xmlns:a16="http://schemas.microsoft.com/office/drawing/2014/main" id="{1E0A3B63-0A0E-442D-A549-9CF098EA78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38436"/>
            <a:ext cx="4038600" cy="278292"/>
          </a:xfrm>
          <a:prstGeom prst="rect">
            <a:avLst/>
          </a:prstGeom>
        </p:spPr>
        <p:txBody>
          <a:bodyPr lIns="468000" tIns="0" rIns="21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97" b="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/>
              <a:t>XX Subheadline</a:t>
            </a:r>
          </a:p>
        </p:txBody>
      </p:sp>
      <p:sp>
        <p:nvSpPr>
          <p:cNvPr id="41" name="Title">
            <a:extLst>
              <a:ext uri="{FF2B5EF4-FFF2-40B4-BE49-F238E27FC236}">
                <a16:creationId xmlns:a16="http://schemas.microsoft.com/office/drawing/2014/main" id="{6387950E-0C68-406D-AE09-FAB7F8F35C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" y="924375"/>
            <a:ext cx="4038600" cy="278292"/>
          </a:xfrm>
          <a:prstGeom prst="rect">
            <a:avLst/>
          </a:prstGeom>
        </p:spPr>
        <p:txBody>
          <a:bodyPr lIns="468000" tIns="0" rIns="216000">
            <a:noAutofit/>
          </a:bodyPr>
          <a:lstStyle>
            <a:lvl1pPr>
              <a:lnSpc>
                <a:spcPct val="80000"/>
              </a:lnSpc>
              <a:defRPr sz="2793" b="1" cap="none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XX Headline</a:t>
            </a:r>
          </a:p>
        </p:txBody>
      </p:sp>
      <p:sp>
        <p:nvSpPr>
          <p:cNvPr id="42" name="Textbox">
            <a:extLst>
              <a:ext uri="{FF2B5EF4-FFF2-40B4-BE49-F238E27FC236}">
                <a16:creationId xmlns:a16="http://schemas.microsoft.com/office/drawing/2014/main" id="{46F834EE-895F-45D0-8BA6-8C6C9C7AA74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" y="2535478"/>
            <a:ext cx="4038600" cy="4322522"/>
          </a:xfrm>
          <a:prstGeom prst="rect">
            <a:avLst/>
          </a:prstGeom>
          <a:noFill/>
        </p:spPr>
        <p:txBody>
          <a:bodyPr lIns="468000" tIns="0" rIns="28800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197" b="1">
                <a:solidFill>
                  <a:schemeClr val="accent1"/>
                </a:solidFill>
              </a:defRPr>
            </a:lvl1pPr>
            <a:lvl2pPr marL="175772" indent="-17577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197" baseline="0">
                <a:solidFill>
                  <a:schemeClr val="tx1"/>
                </a:solidFill>
              </a:defRPr>
            </a:lvl2pPr>
            <a:lvl3pPr marL="361045" indent="-18527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97">
                <a:solidFill>
                  <a:schemeClr val="tx1"/>
                </a:solidFill>
              </a:defRPr>
            </a:lvl3pPr>
            <a:lvl4pPr marL="538650" indent="0">
              <a:buClr>
                <a:schemeClr val="accent1"/>
              </a:buClr>
              <a:buFont typeface="Arial" panose="020B0604020202020204" pitchFamily="34" charset="0"/>
              <a:buChar char="•"/>
              <a:defRPr sz="1197">
                <a:solidFill>
                  <a:schemeClr val="tx1"/>
                </a:solidFill>
              </a:defRPr>
            </a:lvl4pPr>
            <a:lvl5pPr marL="807975" indent="0">
              <a:buClr>
                <a:schemeClr val="accent1"/>
              </a:buClr>
              <a:buFont typeface="Arial" panose="020B0604020202020204" pitchFamily="34" charset="0"/>
              <a:buChar char="•"/>
              <a:defRPr sz="1197">
                <a:solidFill>
                  <a:schemeClr val="tx1"/>
                </a:solidFill>
              </a:defRPr>
            </a:lvl5pPr>
            <a:lvl6pPr>
              <a:defRPr sz="1197"/>
            </a:lvl6pPr>
            <a:lvl7pPr>
              <a:defRPr sz="1197"/>
            </a:lvl7pPr>
            <a:lvl8pPr>
              <a:defRPr sz="1197"/>
            </a:lvl8pPr>
            <a:lvl9pPr>
              <a:defRPr sz="1197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1"/>
            <a:r>
              <a:rPr lang="en-US"/>
              <a:t>Third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965611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8">
          <p15:clr>
            <a:srgbClr val="FBAE40"/>
          </p15:clr>
        </p15:guide>
        <p15:guide id="2" orient="horz" pos="4133">
          <p15:clr>
            <a:srgbClr val="FBAE40"/>
          </p15:clr>
        </p15:guide>
        <p15:guide id="3" pos="5602">
          <p15:clr>
            <a:srgbClr val="FBAE4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_Grey - Summary">
    <p:bg>
      <p:bgPr>
        <a:solidFill>
          <a:schemeClr val="bg1">
            <a:alpha val="6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>
            <a:extLst>
              <a:ext uri="{FF2B5EF4-FFF2-40B4-BE49-F238E27FC236}">
                <a16:creationId xmlns:a16="http://schemas.microsoft.com/office/drawing/2014/main" id="{A39E5DF3-1251-4FF0-9AE9-D8A30557AB8A}"/>
              </a:ext>
            </a:extLst>
          </p:cNvPr>
          <p:cNvSpPr/>
          <p:nvPr userDrawn="1"/>
        </p:nvSpPr>
        <p:spPr>
          <a:xfrm>
            <a:off x="1" y="2"/>
            <a:ext cx="4038600" cy="6857999"/>
          </a:xfrm>
          <a:prstGeom prst="rect">
            <a:avLst/>
          </a:prstGeom>
          <a:solidFill>
            <a:srgbClr val="E7E6E6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sz="2044"/>
          </a:p>
        </p:txBody>
      </p:sp>
      <p:sp>
        <p:nvSpPr>
          <p:cNvPr id="35" name="Subtitle">
            <a:extLst>
              <a:ext uri="{FF2B5EF4-FFF2-40B4-BE49-F238E27FC236}">
                <a16:creationId xmlns:a16="http://schemas.microsoft.com/office/drawing/2014/main" id="{EB784CA8-DA5F-488A-A084-ED11B36D0C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38436"/>
            <a:ext cx="4038600" cy="278292"/>
          </a:xfrm>
          <a:prstGeom prst="rect">
            <a:avLst/>
          </a:prstGeom>
        </p:spPr>
        <p:txBody>
          <a:bodyPr lIns="468000" tIns="0" rIns="21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97" b="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/>
              <a:t>XX Subheadline</a:t>
            </a:r>
          </a:p>
        </p:txBody>
      </p:sp>
      <p:sp>
        <p:nvSpPr>
          <p:cNvPr id="36" name="Title">
            <a:extLst>
              <a:ext uri="{FF2B5EF4-FFF2-40B4-BE49-F238E27FC236}">
                <a16:creationId xmlns:a16="http://schemas.microsoft.com/office/drawing/2014/main" id="{A60CA348-4945-4A81-9258-F0BE1CA196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" y="924375"/>
            <a:ext cx="4038600" cy="278292"/>
          </a:xfrm>
          <a:prstGeom prst="rect">
            <a:avLst/>
          </a:prstGeom>
        </p:spPr>
        <p:txBody>
          <a:bodyPr lIns="468000" tIns="0" rIns="216000">
            <a:noAutofit/>
          </a:bodyPr>
          <a:lstStyle>
            <a:lvl1pPr>
              <a:lnSpc>
                <a:spcPct val="80000"/>
              </a:lnSpc>
              <a:defRPr sz="2793" b="1" cap="none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XX Headline</a:t>
            </a:r>
          </a:p>
        </p:txBody>
      </p:sp>
      <p:sp>
        <p:nvSpPr>
          <p:cNvPr id="37" name="Textbox">
            <a:extLst>
              <a:ext uri="{FF2B5EF4-FFF2-40B4-BE49-F238E27FC236}">
                <a16:creationId xmlns:a16="http://schemas.microsoft.com/office/drawing/2014/main" id="{A5E0D69A-22CD-4DE7-90E1-2A14FE7D017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" y="4343400"/>
            <a:ext cx="4038600" cy="2514600"/>
          </a:xfrm>
          <a:prstGeom prst="rect">
            <a:avLst/>
          </a:prstGeom>
          <a:noFill/>
        </p:spPr>
        <p:txBody>
          <a:bodyPr lIns="468000" tIns="0" rIns="28800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197" b="1">
                <a:solidFill>
                  <a:schemeClr val="accent1"/>
                </a:solidFill>
              </a:defRPr>
            </a:lvl1pPr>
            <a:lvl2pPr marL="175772" indent="-17577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197" baseline="0">
                <a:solidFill>
                  <a:schemeClr val="tx1"/>
                </a:solidFill>
              </a:defRPr>
            </a:lvl2pPr>
            <a:lvl3pPr marL="361045" indent="-18527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97">
                <a:solidFill>
                  <a:schemeClr val="tx1"/>
                </a:solidFill>
              </a:defRPr>
            </a:lvl3pPr>
            <a:lvl4pPr marL="538650" indent="0">
              <a:buClr>
                <a:schemeClr val="accent1"/>
              </a:buClr>
              <a:buFont typeface="Arial" panose="020B0604020202020204" pitchFamily="34" charset="0"/>
              <a:buChar char="•"/>
              <a:defRPr sz="1197">
                <a:solidFill>
                  <a:schemeClr val="tx1"/>
                </a:solidFill>
              </a:defRPr>
            </a:lvl4pPr>
            <a:lvl5pPr marL="807975" indent="0">
              <a:buClr>
                <a:schemeClr val="accent1"/>
              </a:buClr>
              <a:buFont typeface="Arial" panose="020B0604020202020204" pitchFamily="34" charset="0"/>
              <a:buChar char="•"/>
              <a:defRPr sz="1197">
                <a:solidFill>
                  <a:schemeClr val="tx1"/>
                </a:solidFill>
              </a:defRPr>
            </a:lvl5pPr>
            <a:lvl6pPr>
              <a:defRPr sz="1197"/>
            </a:lvl6pPr>
            <a:lvl7pPr>
              <a:defRPr sz="1197"/>
            </a:lvl7pPr>
            <a:lvl8pPr>
              <a:defRPr sz="1197"/>
            </a:lvl8pPr>
            <a:lvl9pPr>
              <a:defRPr sz="1197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1"/>
            <a:r>
              <a:rPr lang="en-US"/>
              <a:t>Third level</a:t>
            </a:r>
            <a:endParaRPr lang="de-DE"/>
          </a:p>
        </p:txBody>
      </p:sp>
      <p:sp>
        <p:nvSpPr>
          <p:cNvPr id="24" name="Picture">
            <a:extLst>
              <a:ext uri="{FF2B5EF4-FFF2-40B4-BE49-F238E27FC236}">
                <a16:creationId xmlns:a16="http://schemas.microsoft.com/office/drawing/2014/main" id="{C2349FBB-D67D-4BFB-A476-461A34BD3160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57200" y="2519363"/>
            <a:ext cx="3365500" cy="1595439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vert="horz" lIns="0" tIns="0" rIns="0" bIns="0" rtlCol="0" anchor="ctr" anchorCtr="0">
            <a:normAutofit/>
          </a:bodyPr>
          <a:lstStyle>
            <a:lvl1pPr>
              <a:defRPr lang="de-DE" sz="1397" b="1">
                <a:solidFill>
                  <a:schemeClr val="tx2"/>
                </a:solidFill>
              </a:defRPr>
            </a:lvl1pPr>
          </a:lstStyle>
          <a:p>
            <a:pPr marR="0" lvl="0" algn="ctr" fontAlgn="auto">
              <a:buClrTx/>
              <a:buSzTx/>
              <a:buNone/>
              <a:tabLst/>
            </a:pP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710686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8">
          <p15:clr>
            <a:srgbClr val="FBAE40"/>
          </p15:clr>
        </p15:guide>
        <p15:guide id="2" orient="horz" pos="4133">
          <p15:clr>
            <a:srgbClr val="FBAE40"/>
          </p15:clr>
        </p15:guide>
        <p15:guide id="3" pos="5602">
          <p15:clr>
            <a:srgbClr val="FBAE40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_Grey - Summary short">
    <p:bg>
      <p:bgPr>
        <a:solidFill>
          <a:schemeClr val="bg1">
            <a:alpha val="6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>
            <a:extLst>
              <a:ext uri="{FF2B5EF4-FFF2-40B4-BE49-F238E27FC236}">
                <a16:creationId xmlns:a16="http://schemas.microsoft.com/office/drawing/2014/main" id="{7025BDCC-E106-4956-8A34-605624CE8E91}"/>
              </a:ext>
            </a:extLst>
          </p:cNvPr>
          <p:cNvSpPr/>
          <p:nvPr userDrawn="1"/>
        </p:nvSpPr>
        <p:spPr>
          <a:xfrm>
            <a:off x="1" y="2"/>
            <a:ext cx="4038600" cy="6857999"/>
          </a:xfrm>
          <a:prstGeom prst="rect">
            <a:avLst/>
          </a:prstGeom>
          <a:solidFill>
            <a:srgbClr val="E7E6E6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sz="2044"/>
          </a:p>
        </p:txBody>
      </p:sp>
      <p:sp>
        <p:nvSpPr>
          <p:cNvPr id="35" name="Subtitle">
            <a:extLst>
              <a:ext uri="{FF2B5EF4-FFF2-40B4-BE49-F238E27FC236}">
                <a16:creationId xmlns:a16="http://schemas.microsoft.com/office/drawing/2014/main" id="{EB784CA8-DA5F-488A-A084-ED11B36D0C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38436"/>
            <a:ext cx="4038600" cy="278292"/>
          </a:xfrm>
          <a:prstGeom prst="rect">
            <a:avLst/>
          </a:prstGeom>
        </p:spPr>
        <p:txBody>
          <a:bodyPr lIns="468000" tIns="0" rIns="21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97" b="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/>
              <a:t>XX Subheadline</a:t>
            </a:r>
          </a:p>
        </p:txBody>
      </p:sp>
      <p:sp>
        <p:nvSpPr>
          <p:cNvPr id="36" name="Title">
            <a:extLst>
              <a:ext uri="{FF2B5EF4-FFF2-40B4-BE49-F238E27FC236}">
                <a16:creationId xmlns:a16="http://schemas.microsoft.com/office/drawing/2014/main" id="{A60CA348-4945-4A81-9258-F0BE1CA196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" y="924375"/>
            <a:ext cx="4038600" cy="278292"/>
          </a:xfrm>
          <a:prstGeom prst="rect">
            <a:avLst/>
          </a:prstGeom>
        </p:spPr>
        <p:txBody>
          <a:bodyPr lIns="468000" tIns="0" rIns="216000">
            <a:noAutofit/>
          </a:bodyPr>
          <a:lstStyle>
            <a:lvl1pPr>
              <a:lnSpc>
                <a:spcPct val="80000"/>
              </a:lnSpc>
              <a:defRPr sz="2793" b="1" cap="none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XX Headline</a:t>
            </a:r>
          </a:p>
        </p:txBody>
      </p:sp>
      <p:sp>
        <p:nvSpPr>
          <p:cNvPr id="37" name="Textbox">
            <a:extLst>
              <a:ext uri="{FF2B5EF4-FFF2-40B4-BE49-F238E27FC236}">
                <a16:creationId xmlns:a16="http://schemas.microsoft.com/office/drawing/2014/main" id="{A5E0D69A-22CD-4DE7-90E1-2A14FE7D017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" y="4343400"/>
            <a:ext cx="4038600" cy="2514600"/>
          </a:xfrm>
          <a:prstGeom prst="rect">
            <a:avLst/>
          </a:prstGeom>
          <a:noFill/>
        </p:spPr>
        <p:txBody>
          <a:bodyPr lIns="468000" tIns="0" rIns="28800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197" b="1">
                <a:solidFill>
                  <a:schemeClr val="accent1"/>
                </a:solidFill>
              </a:defRPr>
            </a:lvl1pPr>
            <a:lvl2pPr marL="175772" indent="-17577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197" baseline="0">
                <a:solidFill>
                  <a:schemeClr val="tx1"/>
                </a:solidFill>
              </a:defRPr>
            </a:lvl2pPr>
            <a:lvl3pPr marL="361045" indent="-18527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97">
                <a:solidFill>
                  <a:schemeClr val="tx1"/>
                </a:solidFill>
              </a:defRPr>
            </a:lvl3pPr>
            <a:lvl4pPr marL="538650" indent="0">
              <a:buClr>
                <a:schemeClr val="accent1"/>
              </a:buClr>
              <a:buFont typeface="Arial" panose="020B0604020202020204" pitchFamily="34" charset="0"/>
              <a:buChar char="•"/>
              <a:defRPr sz="1197">
                <a:solidFill>
                  <a:schemeClr val="tx1"/>
                </a:solidFill>
              </a:defRPr>
            </a:lvl4pPr>
            <a:lvl5pPr marL="807975" indent="0">
              <a:buClr>
                <a:schemeClr val="accent1"/>
              </a:buClr>
              <a:buFont typeface="Arial" panose="020B0604020202020204" pitchFamily="34" charset="0"/>
              <a:buChar char="•"/>
              <a:defRPr sz="1197">
                <a:solidFill>
                  <a:schemeClr val="tx1"/>
                </a:solidFill>
              </a:defRPr>
            </a:lvl5pPr>
            <a:lvl6pPr>
              <a:defRPr sz="1197"/>
            </a:lvl6pPr>
            <a:lvl7pPr>
              <a:defRPr sz="1197"/>
            </a:lvl7pPr>
            <a:lvl8pPr>
              <a:defRPr sz="1197"/>
            </a:lvl8pPr>
            <a:lvl9pPr>
              <a:defRPr sz="1197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1"/>
            <a:r>
              <a:rPr lang="en-US"/>
              <a:t>Third level</a:t>
            </a:r>
            <a:endParaRPr lang="de-DE"/>
          </a:p>
        </p:txBody>
      </p:sp>
      <p:sp>
        <p:nvSpPr>
          <p:cNvPr id="26" name="Picture">
            <a:extLst>
              <a:ext uri="{FF2B5EF4-FFF2-40B4-BE49-F238E27FC236}">
                <a16:creationId xmlns:a16="http://schemas.microsoft.com/office/drawing/2014/main" id="{FAEE1A2A-1423-40CE-9CFA-383617907316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267200" y="924375"/>
            <a:ext cx="7467600" cy="2733226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vert="horz" lIns="0" tIns="0" rIns="0" bIns="0" rtlCol="0" anchor="ctr" anchorCtr="0">
            <a:normAutofit/>
          </a:bodyPr>
          <a:lstStyle>
            <a:lvl1pPr>
              <a:defRPr lang="de-DE" sz="1397" b="1">
                <a:solidFill>
                  <a:schemeClr val="tx2"/>
                </a:solidFill>
              </a:defRPr>
            </a:lvl1pPr>
          </a:lstStyle>
          <a:p>
            <a:pPr marR="0" lvl="0" algn="ctr" fontAlgn="auto">
              <a:buClrTx/>
              <a:buSzTx/>
              <a:buNone/>
              <a:tabLst/>
            </a:pP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863264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8">
          <p15:clr>
            <a:srgbClr val="FBAE40"/>
          </p15:clr>
        </p15:guide>
        <p15:guide id="2" orient="horz" pos="4133">
          <p15:clr>
            <a:srgbClr val="FBAE40"/>
          </p15:clr>
        </p15:guide>
        <p15:guide id="3" pos="5602">
          <p15:clr>
            <a:srgbClr val="FBAE40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_Grey - 1 x Pic">
    <p:bg>
      <p:bgPr>
        <a:solidFill>
          <a:schemeClr val="bg1">
            <a:alpha val="6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4">
            <a:extLst>
              <a:ext uri="{FF2B5EF4-FFF2-40B4-BE49-F238E27FC236}">
                <a16:creationId xmlns:a16="http://schemas.microsoft.com/office/drawing/2014/main" id="{AB03DED3-0E0C-409A-9021-42FA8501D028}"/>
              </a:ext>
            </a:extLst>
          </p:cNvPr>
          <p:cNvSpPr/>
          <p:nvPr userDrawn="1"/>
        </p:nvSpPr>
        <p:spPr>
          <a:xfrm>
            <a:off x="1" y="2"/>
            <a:ext cx="4038600" cy="6857999"/>
          </a:xfrm>
          <a:prstGeom prst="rect">
            <a:avLst/>
          </a:prstGeom>
          <a:solidFill>
            <a:srgbClr val="E7E6E6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sz="2044"/>
          </a:p>
        </p:txBody>
      </p:sp>
      <p:sp>
        <p:nvSpPr>
          <p:cNvPr id="24" name="Picture">
            <a:extLst>
              <a:ext uri="{FF2B5EF4-FFF2-40B4-BE49-F238E27FC236}">
                <a16:creationId xmlns:a16="http://schemas.microsoft.com/office/drawing/2014/main" id="{AA6A753D-E865-4994-B3AF-DBC47B7A31EE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267200" y="457202"/>
            <a:ext cx="7467600" cy="5943599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vert="horz" lIns="0" tIns="0" rIns="0" bIns="0" rtlCol="0" anchor="ctr" anchorCtr="0">
            <a:normAutofit/>
          </a:bodyPr>
          <a:lstStyle>
            <a:lvl1pPr>
              <a:defRPr lang="de-DE" sz="1397" b="1">
                <a:solidFill>
                  <a:schemeClr val="tx2"/>
                </a:solidFill>
              </a:defRPr>
            </a:lvl1pPr>
          </a:lstStyle>
          <a:p>
            <a:pPr marR="0" lvl="0" algn="ctr" fontAlgn="auto">
              <a:buClrTx/>
              <a:buSzTx/>
              <a:buNone/>
              <a:tabLst/>
            </a:pPr>
            <a:r>
              <a:rPr lang="de-DE"/>
              <a:t> </a:t>
            </a:r>
          </a:p>
        </p:txBody>
      </p:sp>
      <p:sp>
        <p:nvSpPr>
          <p:cNvPr id="26" name="Rectangle_grey" hidden="1">
            <a:extLst>
              <a:ext uri="{FF2B5EF4-FFF2-40B4-BE49-F238E27FC236}">
                <a16:creationId xmlns:a16="http://schemas.microsoft.com/office/drawing/2014/main" id="{7B001268-EC39-4A0D-A37C-34132914DDCE}"/>
              </a:ext>
            </a:extLst>
          </p:cNvPr>
          <p:cNvSpPr/>
          <p:nvPr userDrawn="1"/>
        </p:nvSpPr>
        <p:spPr>
          <a:xfrm>
            <a:off x="0" y="0"/>
            <a:ext cx="4039200" cy="6858000"/>
          </a:xfrm>
          <a:prstGeom prst="rect">
            <a:avLst/>
          </a:prstGeom>
          <a:solidFill>
            <a:srgbClr val="E1E1E1">
              <a:alpha val="74902"/>
            </a:srgbClr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44"/>
              <a:t> </a:t>
            </a:r>
            <a:endParaRPr lang="en-PH" sz="2044"/>
          </a:p>
        </p:txBody>
      </p:sp>
      <p:sp>
        <p:nvSpPr>
          <p:cNvPr id="27" name="Subtitle">
            <a:extLst>
              <a:ext uri="{FF2B5EF4-FFF2-40B4-BE49-F238E27FC236}">
                <a16:creationId xmlns:a16="http://schemas.microsoft.com/office/drawing/2014/main" id="{B72E32D3-8E0D-46CF-8D6B-04F7A5918D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38436"/>
            <a:ext cx="4038600" cy="278292"/>
          </a:xfrm>
          <a:prstGeom prst="rect">
            <a:avLst/>
          </a:prstGeom>
        </p:spPr>
        <p:txBody>
          <a:bodyPr lIns="468000" tIns="0" rIns="21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97" b="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/>
              <a:t>XX Subheadline</a:t>
            </a:r>
          </a:p>
        </p:txBody>
      </p:sp>
      <p:sp>
        <p:nvSpPr>
          <p:cNvPr id="32" name="Title">
            <a:extLst>
              <a:ext uri="{FF2B5EF4-FFF2-40B4-BE49-F238E27FC236}">
                <a16:creationId xmlns:a16="http://schemas.microsoft.com/office/drawing/2014/main" id="{B26F5D9D-70B7-4599-8A80-06FAD0EBF9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" y="924375"/>
            <a:ext cx="4038600" cy="278292"/>
          </a:xfrm>
          <a:prstGeom prst="rect">
            <a:avLst/>
          </a:prstGeom>
        </p:spPr>
        <p:txBody>
          <a:bodyPr lIns="468000" tIns="0" rIns="216000">
            <a:noAutofit/>
          </a:bodyPr>
          <a:lstStyle>
            <a:lvl1pPr>
              <a:lnSpc>
                <a:spcPct val="80000"/>
              </a:lnSpc>
              <a:defRPr sz="2793" b="1" cap="none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XX Headline</a:t>
            </a:r>
          </a:p>
        </p:txBody>
      </p:sp>
      <p:sp>
        <p:nvSpPr>
          <p:cNvPr id="34" name="Textbox">
            <a:extLst>
              <a:ext uri="{FF2B5EF4-FFF2-40B4-BE49-F238E27FC236}">
                <a16:creationId xmlns:a16="http://schemas.microsoft.com/office/drawing/2014/main" id="{80FE1A79-E6BA-4E65-99B2-90347DC9C34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" y="2535478"/>
            <a:ext cx="4038600" cy="4322522"/>
          </a:xfrm>
          <a:prstGeom prst="rect">
            <a:avLst/>
          </a:prstGeom>
          <a:noFill/>
        </p:spPr>
        <p:txBody>
          <a:bodyPr lIns="468000" tIns="0" rIns="28800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197" b="1">
                <a:solidFill>
                  <a:schemeClr val="accent1"/>
                </a:solidFill>
              </a:defRPr>
            </a:lvl1pPr>
            <a:lvl2pPr marL="175772" indent="-17577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197" baseline="0">
                <a:solidFill>
                  <a:schemeClr val="tx1"/>
                </a:solidFill>
              </a:defRPr>
            </a:lvl2pPr>
            <a:lvl3pPr marL="361045" indent="-18527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97">
                <a:solidFill>
                  <a:schemeClr val="tx1"/>
                </a:solidFill>
              </a:defRPr>
            </a:lvl3pPr>
            <a:lvl4pPr marL="538650" indent="0">
              <a:buClr>
                <a:schemeClr val="accent1"/>
              </a:buClr>
              <a:buFont typeface="Arial" panose="020B0604020202020204" pitchFamily="34" charset="0"/>
              <a:buChar char="•"/>
              <a:defRPr sz="1197">
                <a:solidFill>
                  <a:schemeClr val="tx1"/>
                </a:solidFill>
              </a:defRPr>
            </a:lvl4pPr>
            <a:lvl5pPr marL="807975" indent="0">
              <a:buClr>
                <a:schemeClr val="accent1"/>
              </a:buClr>
              <a:buFont typeface="Arial" panose="020B0604020202020204" pitchFamily="34" charset="0"/>
              <a:buChar char="•"/>
              <a:defRPr sz="1197">
                <a:solidFill>
                  <a:schemeClr val="tx1"/>
                </a:solidFill>
              </a:defRPr>
            </a:lvl5pPr>
            <a:lvl6pPr>
              <a:defRPr sz="1197"/>
            </a:lvl6pPr>
            <a:lvl7pPr>
              <a:defRPr sz="1197"/>
            </a:lvl7pPr>
            <a:lvl8pPr>
              <a:defRPr sz="1197"/>
            </a:lvl8pPr>
            <a:lvl9pPr>
              <a:defRPr sz="1197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1"/>
            <a:r>
              <a:rPr lang="en-US"/>
              <a:t>Third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82270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8">
          <p15:clr>
            <a:srgbClr val="FBAE40"/>
          </p15:clr>
        </p15:guide>
        <p15:guide id="2" orient="horz" pos="4133">
          <p15:clr>
            <a:srgbClr val="FBAE40"/>
          </p15:clr>
        </p15:guide>
        <p15:guide id="3" pos="5602">
          <p15:clr>
            <a:srgbClr val="FBAE4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_Grey - 3 x Pic">
    <p:bg>
      <p:bgPr>
        <a:solidFill>
          <a:schemeClr val="bg1">
            <a:alpha val="6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4">
            <a:extLst>
              <a:ext uri="{FF2B5EF4-FFF2-40B4-BE49-F238E27FC236}">
                <a16:creationId xmlns:a16="http://schemas.microsoft.com/office/drawing/2014/main" id="{3A242985-A0C4-44D6-8C38-3C075E4973FE}"/>
              </a:ext>
            </a:extLst>
          </p:cNvPr>
          <p:cNvSpPr/>
          <p:nvPr userDrawn="1"/>
        </p:nvSpPr>
        <p:spPr>
          <a:xfrm>
            <a:off x="1" y="2"/>
            <a:ext cx="4038600" cy="6857999"/>
          </a:xfrm>
          <a:prstGeom prst="rect">
            <a:avLst/>
          </a:prstGeom>
          <a:solidFill>
            <a:srgbClr val="E7E6E6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sz="2044"/>
          </a:p>
        </p:txBody>
      </p:sp>
      <p:sp>
        <p:nvSpPr>
          <p:cNvPr id="26" name="Rectangle_grey" hidden="1">
            <a:extLst>
              <a:ext uri="{FF2B5EF4-FFF2-40B4-BE49-F238E27FC236}">
                <a16:creationId xmlns:a16="http://schemas.microsoft.com/office/drawing/2014/main" id="{7B001268-EC39-4A0D-A37C-34132914DDCE}"/>
              </a:ext>
            </a:extLst>
          </p:cNvPr>
          <p:cNvSpPr/>
          <p:nvPr userDrawn="1"/>
        </p:nvSpPr>
        <p:spPr>
          <a:xfrm>
            <a:off x="0" y="0"/>
            <a:ext cx="4039200" cy="6858000"/>
          </a:xfrm>
          <a:prstGeom prst="rect">
            <a:avLst/>
          </a:prstGeom>
          <a:solidFill>
            <a:srgbClr val="E1E1E1">
              <a:alpha val="74902"/>
            </a:srgbClr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44"/>
              <a:t> </a:t>
            </a:r>
            <a:endParaRPr lang="en-PH" sz="2044"/>
          </a:p>
        </p:txBody>
      </p:sp>
      <p:sp>
        <p:nvSpPr>
          <p:cNvPr id="27" name="Subtitle">
            <a:extLst>
              <a:ext uri="{FF2B5EF4-FFF2-40B4-BE49-F238E27FC236}">
                <a16:creationId xmlns:a16="http://schemas.microsoft.com/office/drawing/2014/main" id="{B72E32D3-8E0D-46CF-8D6B-04F7A5918D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38436"/>
            <a:ext cx="4038600" cy="278292"/>
          </a:xfrm>
          <a:prstGeom prst="rect">
            <a:avLst/>
          </a:prstGeom>
        </p:spPr>
        <p:txBody>
          <a:bodyPr lIns="468000" tIns="0" rIns="21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97" b="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/>
              <a:t>XX Subheadline</a:t>
            </a:r>
          </a:p>
        </p:txBody>
      </p:sp>
      <p:sp>
        <p:nvSpPr>
          <p:cNvPr id="32" name="Title">
            <a:extLst>
              <a:ext uri="{FF2B5EF4-FFF2-40B4-BE49-F238E27FC236}">
                <a16:creationId xmlns:a16="http://schemas.microsoft.com/office/drawing/2014/main" id="{B26F5D9D-70B7-4599-8A80-06FAD0EBF9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" y="924375"/>
            <a:ext cx="4038600" cy="278292"/>
          </a:xfrm>
          <a:prstGeom prst="rect">
            <a:avLst/>
          </a:prstGeom>
        </p:spPr>
        <p:txBody>
          <a:bodyPr lIns="468000" tIns="0" rIns="216000">
            <a:noAutofit/>
          </a:bodyPr>
          <a:lstStyle>
            <a:lvl1pPr>
              <a:lnSpc>
                <a:spcPct val="80000"/>
              </a:lnSpc>
              <a:defRPr sz="2793" b="1" cap="none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XX Headline</a:t>
            </a:r>
          </a:p>
        </p:txBody>
      </p:sp>
      <p:sp>
        <p:nvSpPr>
          <p:cNvPr id="34" name="Textbox">
            <a:extLst>
              <a:ext uri="{FF2B5EF4-FFF2-40B4-BE49-F238E27FC236}">
                <a16:creationId xmlns:a16="http://schemas.microsoft.com/office/drawing/2014/main" id="{80FE1A79-E6BA-4E65-99B2-90347DC9C34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" y="2535478"/>
            <a:ext cx="4038600" cy="4322522"/>
          </a:xfrm>
          <a:prstGeom prst="rect">
            <a:avLst/>
          </a:prstGeom>
          <a:noFill/>
        </p:spPr>
        <p:txBody>
          <a:bodyPr lIns="468000" tIns="0" rIns="28800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197" b="1">
                <a:solidFill>
                  <a:schemeClr val="accent1"/>
                </a:solidFill>
              </a:defRPr>
            </a:lvl1pPr>
            <a:lvl2pPr marL="175772" indent="-17577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197" baseline="0">
                <a:solidFill>
                  <a:schemeClr val="tx1"/>
                </a:solidFill>
              </a:defRPr>
            </a:lvl2pPr>
            <a:lvl3pPr marL="361045" indent="-18527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97">
                <a:solidFill>
                  <a:schemeClr val="tx1"/>
                </a:solidFill>
              </a:defRPr>
            </a:lvl3pPr>
            <a:lvl4pPr marL="538650" indent="0">
              <a:buClr>
                <a:schemeClr val="accent1"/>
              </a:buClr>
              <a:buFont typeface="Arial" panose="020B0604020202020204" pitchFamily="34" charset="0"/>
              <a:buChar char="•"/>
              <a:defRPr sz="1197">
                <a:solidFill>
                  <a:schemeClr val="tx1"/>
                </a:solidFill>
              </a:defRPr>
            </a:lvl4pPr>
            <a:lvl5pPr marL="807975" indent="0">
              <a:buClr>
                <a:schemeClr val="accent1"/>
              </a:buClr>
              <a:buFont typeface="Arial" panose="020B0604020202020204" pitchFamily="34" charset="0"/>
              <a:buChar char="•"/>
              <a:defRPr sz="1197">
                <a:solidFill>
                  <a:schemeClr val="tx1"/>
                </a:solidFill>
              </a:defRPr>
            </a:lvl5pPr>
            <a:lvl6pPr>
              <a:defRPr sz="1197"/>
            </a:lvl6pPr>
            <a:lvl7pPr>
              <a:defRPr sz="1197"/>
            </a:lvl7pPr>
            <a:lvl8pPr>
              <a:defRPr sz="1197"/>
            </a:lvl8pPr>
            <a:lvl9pPr>
              <a:defRPr sz="1197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1"/>
            <a:r>
              <a:rPr lang="en-US"/>
              <a:t>Third level</a:t>
            </a:r>
            <a:endParaRPr lang="de-DE"/>
          </a:p>
        </p:txBody>
      </p:sp>
      <p:sp>
        <p:nvSpPr>
          <p:cNvPr id="7" name="Picture">
            <a:extLst>
              <a:ext uri="{FF2B5EF4-FFF2-40B4-BE49-F238E27FC236}">
                <a16:creationId xmlns:a16="http://schemas.microsoft.com/office/drawing/2014/main" id="{E64D931F-96B5-447C-A062-50B830E3E81F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267200" y="457200"/>
            <a:ext cx="7467600" cy="32004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vert="horz" lIns="0" tIns="0" rIns="0" bIns="0" rtlCol="0" anchor="ctr" anchorCtr="0">
            <a:normAutofit/>
          </a:bodyPr>
          <a:lstStyle>
            <a:lvl1pPr>
              <a:defRPr lang="de-DE" sz="1397" b="1">
                <a:solidFill>
                  <a:schemeClr val="tx2"/>
                </a:solidFill>
              </a:defRPr>
            </a:lvl1pPr>
          </a:lstStyle>
          <a:p>
            <a:pPr marR="0" lvl="0" algn="ctr" fontAlgn="auto">
              <a:buClrTx/>
              <a:buSzTx/>
              <a:buNone/>
              <a:tabLst/>
            </a:pPr>
            <a:r>
              <a:rPr lang="de-DE"/>
              <a:t> </a:t>
            </a:r>
          </a:p>
        </p:txBody>
      </p:sp>
      <p:sp>
        <p:nvSpPr>
          <p:cNvPr id="8" name="Picture">
            <a:extLst>
              <a:ext uri="{FF2B5EF4-FFF2-40B4-BE49-F238E27FC236}">
                <a16:creationId xmlns:a16="http://schemas.microsoft.com/office/drawing/2014/main" id="{D39F976E-7C76-4088-BADD-634604FC6054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267200" y="3886962"/>
            <a:ext cx="3619500" cy="2513838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vert="horz" lIns="0" tIns="0" rIns="0" bIns="0" rtlCol="0" anchor="ctr" anchorCtr="0">
            <a:normAutofit/>
          </a:bodyPr>
          <a:lstStyle>
            <a:lvl1pPr>
              <a:defRPr lang="de-DE" sz="1397" b="1">
                <a:solidFill>
                  <a:schemeClr val="tx2"/>
                </a:solidFill>
              </a:defRPr>
            </a:lvl1pPr>
          </a:lstStyle>
          <a:p>
            <a:pPr marR="0" lvl="0" algn="ctr" fontAlgn="auto">
              <a:buClrTx/>
              <a:buSzTx/>
              <a:buNone/>
              <a:tabLst/>
            </a:pPr>
            <a:r>
              <a:rPr lang="de-DE"/>
              <a:t> </a:t>
            </a:r>
          </a:p>
        </p:txBody>
      </p:sp>
      <p:sp>
        <p:nvSpPr>
          <p:cNvPr id="9" name="Picture">
            <a:extLst>
              <a:ext uri="{FF2B5EF4-FFF2-40B4-BE49-F238E27FC236}">
                <a16:creationId xmlns:a16="http://schemas.microsoft.com/office/drawing/2014/main" id="{CFF6C0DF-F8DF-4F37-B9D8-454AC09874A8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8115300" y="3886964"/>
            <a:ext cx="3619500" cy="2513837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vert="horz" lIns="0" tIns="0" rIns="0" bIns="0" rtlCol="0" anchor="ctr" anchorCtr="0">
            <a:normAutofit/>
          </a:bodyPr>
          <a:lstStyle>
            <a:lvl1pPr>
              <a:defRPr lang="de-DE" sz="1397" b="1">
                <a:solidFill>
                  <a:schemeClr val="tx2"/>
                </a:solidFill>
              </a:defRPr>
            </a:lvl1pPr>
          </a:lstStyle>
          <a:p>
            <a:pPr marR="0" lvl="0" algn="ctr" fontAlgn="auto">
              <a:buClrTx/>
              <a:buSzTx/>
              <a:buNone/>
              <a:tabLst/>
            </a:pP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015076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8">
          <p15:clr>
            <a:srgbClr val="FBAE40"/>
          </p15:clr>
        </p15:guide>
        <p15:guide id="2" orient="horz" pos="4133">
          <p15:clr>
            <a:srgbClr val="FBAE40"/>
          </p15:clr>
        </p15:guide>
        <p15:guide id="3" pos="5602">
          <p15:clr>
            <a:srgbClr val="FBAE40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_Grey - 3 x Pic -">
    <p:bg>
      <p:bgPr>
        <a:solidFill>
          <a:schemeClr val="bg1">
            <a:alpha val="6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4">
            <a:extLst>
              <a:ext uri="{FF2B5EF4-FFF2-40B4-BE49-F238E27FC236}">
                <a16:creationId xmlns:a16="http://schemas.microsoft.com/office/drawing/2014/main" id="{FFC5853C-04D7-4961-9401-3E9D33726849}"/>
              </a:ext>
            </a:extLst>
          </p:cNvPr>
          <p:cNvSpPr/>
          <p:nvPr userDrawn="1"/>
        </p:nvSpPr>
        <p:spPr>
          <a:xfrm>
            <a:off x="1" y="2"/>
            <a:ext cx="4038600" cy="6857999"/>
          </a:xfrm>
          <a:prstGeom prst="rect">
            <a:avLst/>
          </a:prstGeom>
          <a:solidFill>
            <a:srgbClr val="E7E6E6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sz="2044"/>
          </a:p>
        </p:txBody>
      </p:sp>
      <p:sp>
        <p:nvSpPr>
          <p:cNvPr id="26" name="Rectangle_grey" hidden="1">
            <a:extLst>
              <a:ext uri="{FF2B5EF4-FFF2-40B4-BE49-F238E27FC236}">
                <a16:creationId xmlns:a16="http://schemas.microsoft.com/office/drawing/2014/main" id="{7B001268-EC39-4A0D-A37C-34132914DDCE}"/>
              </a:ext>
            </a:extLst>
          </p:cNvPr>
          <p:cNvSpPr/>
          <p:nvPr userDrawn="1"/>
        </p:nvSpPr>
        <p:spPr>
          <a:xfrm>
            <a:off x="0" y="0"/>
            <a:ext cx="4039200" cy="6858000"/>
          </a:xfrm>
          <a:prstGeom prst="rect">
            <a:avLst/>
          </a:prstGeom>
          <a:solidFill>
            <a:srgbClr val="E1E1E1">
              <a:alpha val="74902"/>
            </a:srgbClr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44"/>
              <a:t> </a:t>
            </a:r>
            <a:endParaRPr lang="en-PH" sz="2044"/>
          </a:p>
        </p:txBody>
      </p:sp>
      <p:sp>
        <p:nvSpPr>
          <p:cNvPr id="27" name="Subtitle">
            <a:extLst>
              <a:ext uri="{FF2B5EF4-FFF2-40B4-BE49-F238E27FC236}">
                <a16:creationId xmlns:a16="http://schemas.microsoft.com/office/drawing/2014/main" id="{B72E32D3-8E0D-46CF-8D6B-04F7A5918D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38436"/>
            <a:ext cx="4038600" cy="278292"/>
          </a:xfrm>
          <a:prstGeom prst="rect">
            <a:avLst/>
          </a:prstGeom>
        </p:spPr>
        <p:txBody>
          <a:bodyPr lIns="468000" tIns="0" rIns="21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97" b="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/>
              <a:t>XX Subheadline</a:t>
            </a:r>
          </a:p>
        </p:txBody>
      </p:sp>
      <p:sp>
        <p:nvSpPr>
          <p:cNvPr id="32" name="Title">
            <a:extLst>
              <a:ext uri="{FF2B5EF4-FFF2-40B4-BE49-F238E27FC236}">
                <a16:creationId xmlns:a16="http://schemas.microsoft.com/office/drawing/2014/main" id="{B26F5D9D-70B7-4599-8A80-06FAD0EBF9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" y="924375"/>
            <a:ext cx="4038600" cy="278292"/>
          </a:xfrm>
          <a:prstGeom prst="rect">
            <a:avLst/>
          </a:prstGeom>
        </p:spPr>
        <p:txBody>
          <a:bodyPr lIns="468000" tIns="0" rIns="216000">
            <a:noAutofit/>
          </a:bodyPr>
          <a:lstStyle>
            <a:lvl1pPr>
              <a:lnSpc>
                <a:spcPct val="80000"/>
              </a:lnSpc>
              <a:defRPr sz="2793" b="1" cap="none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XX Headline</a:t>
            </a:r>
          </a:p>
        </p:txBody>
      </p:sp>
      <p:sp>
        <p:nvSpPr>
          <p:cNvPr id="34" name="Textbox">
            <a:extLst>
              <a:ext uri="{FF2B5EF4-FFF2-40B4-BE49-F238E27FC236}">
                <a16:creationId xmlns:a16="http://schemas.microsoft.com/office/drawing/2014/main" id="{80FE1A79-E6BA-4E65-99B2-90347DC9C34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" y="2535478"/>
            <a:ext cx="4038600" cy="4322522"/>
          </a:xfrm>
          <a:prstGeom prst="rect">
            <a:avLst/>
          </a:prstGeom>
          <a:noFill/>
        </p:spPr>
        <p:txBody>
          <a:bodyPr lIns="468000" tIns="0" rIns="28800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197" b="1">
                <a:solidFill>
                  <a:schemeClr val="accent1"/>
                </a:solidFill>
              </a:defRPr>
            </a:lvl1pPr>
            <a:lvl2pPr marL="175772" indent="-17577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197" baseline="0">
                <a:solidFill>
                  <a:schemeClr val="tx1"/>
                </a:solidFill>
              </a:defRPr>
            </a:lvl2pPr>
            <a:lvl3pPr marL="361045" indent="-18527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97">
                <a:solidFill>
                  <a:schemeClr val="tx1"/>
                </a:solidFill>
              </a:defRPr>
            </a:lvl3pPr>
            <a:lvl4pPr marL="538650" indent="0">
              <a:buClr>
                <a:schemeClr val="accent1"/>
              </a:buClr>
              <a:buFont typeface="Arial" panose="020B0604020202020204" pitchFamily="34" charset="0"/>
              <a:buChar char="•"/>
              <a:defRPr sz="1197">
                <a:solidFill>
                  <a:schemeClr val="tx1"/>
                </a:solidFill>
              </a:defRPr>
            </a:lvl4pPr>
            <a:lvl5pPr marL="807975" indent="0">
              <a:buClr>
                <a:schemeClr val="accent1"/>
              </a:buClr>
              <a:buFont typeface="Arial" panose="020B0604020202020204" pitchFamily="34" charset="0"/>
              <a:buChar char="•"/>
              <a:defRPr sz="1197">
                <a:solidFill>
                  <a:schemeClr val="tx1"/>
                </a:solidFill>
              </a:defRPr>
            </a:lvl5pPr>
            <a:lvl6pPr>
              <a:defRPr sz="1197"/>
            </a:lvl6pPr>
            <a:lvl7pPr>
              <a:defRPr sz="1197"/>
            </a:lvl7pPr>
            <a:lvl8pPr>
              <a:defRPr sz="1197"/>
            </a:lvl8pPr>
            <a:lvl9pPr>
              <a:defRPr sz="1197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1"/>
            <a:r>
              <a:rPr lang="en-US"/>
              <a:t>Third level</a:t>
            </a:r>
            <a:endParaRPr lang="de-DE"/>
          </a:p>
        </p:txBody>
      </p:sp>
      <p:sp>
        <p:nvSpPr>
          <p:cNvPr id="7" name="Picture">
            <a:extLst>
              <a:ext uri="{FF2B5EF4-FFF2-40B4-BE49-F238E27FC236}">
                <a16:creationId xmlns:a16="http://schemas.microsoft.com/office/drawing/2014/main" id="{E64D931F-96B5-447C-A062-50B830E3E81F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267200" y="924376"/>
            <a:ext cx="7467600" cy="2733225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vert="horz" lIns="0" tIns="0" rIns="0" bIns="0" rtlCol="0" anchor="ctr" anchorCtr="0">
            <a:normAutofit/>
          </a:bodyPr>
          <a:lstStyle>
            <a:lvl1pPr>
              <a:defRPr lang="de-DE" sz="1397" b="1">
                <a:solidFill>
                  <a:schemeClr val="tx2"/>
                </a:solidFill>
              </a:defRPr>
            </a:lvl1pPr>
          </a:lstStyle>
          <a:p>
            <a:pPr marR="0" lvl="0" algn="ctr" fontAlgn="auto">
              <a:buClrTx/>
              <a:buSzTx/>
              <a:buNone/>
              <a:tabLst/>
            </a:pPr>
            <a:r>
              <a:rPr lang="de-DE"/>
              <a:t> </a:t>
            </a:r>
          </a:p>
        </p:txBody>
      </p:sp>
      <p:sp>
        <p:nvSpPr>
          <p:cNvPr id="8" name="Picture">
            <a:extLst>
              <a:ext uri="{FF2B5EF4-FFF2-40B4-BE49-F238E27FC236}">
                <a16:creationId xmlns:a16="http://schemas.microsoft.com/office/drawing/2014/main" id="{D39F976E-7C76-4088-BADD-634604FC6054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267200" y="3886962"/>
            <a:ext cx="3619500" cy="2513838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vert="horz" lIns="0" tIns="0" rIns="0" bIns="0" rtlCol="0" anchor="ctr" anchorCtr="0">
            <a:normAutofit/>
          </a:bodyPr>
          <a:lstStyle>
            <a:lvl1pPr>
              <a:defRPr lang="de-DE" sz="1397" b="1">
                <a:solidFill>
                  <a:schemeClr val="tx2"/>
                </a:solidFill>
              </a:defRPr>
            </a:lvl1pPr>
          </a:lstStyle>
          <a:p>
            <a:pPr marR="0" lvl="0" algn="ctr" fontAlgn="auto">
              <a:buClrTx/>
              <a:buSzTx/>
              <a:buNone/>
              <a:tabLst/>
            </a:pPr>
            <a:r>
              <a:rPr lang="de-DE"/>
              <a:t> </a:t>
            </a:r>
          </a:p>
        </p:txBody>
      </p:sp>
      <p:sp>
        <p:nvSpPr>
          <p:cNvPr id="9" name="Picture">
            <a:extLst>
              <a:ext uri="{FF2B5EF4-FFF2-40B4-BE49-F238E27FC236}">
                <a16:creationId xmlns:a16="http://schemas.microsoft.com/office/drawing/2014/main" id="{CFF6C0DF-F8DF-4F37-B9D8-454AC09874A8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8115300" y="3886964"/>
            <a:ext cx="3619500" cy="2513837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vert="horz" lIns="0" tIns="0" rIns="0" bIns="0" rtlCol="0" anchor="ctr" anchorCtr="0">
            <a:normAutofit/>
          </a:bodyPr>
          <a:lstStyle>
            <a:lvl1pPr>
              <a:defRPr lang="de-DE" sz="1397" b="1">
                <a:solidFill>
                  <a:schemeClr val="tx2"/>
                </a:solidFill>
              </a:defRPr>
            </a:lvl1pPr>
          </a:lstStyle>
          <a:p>
            <a:pPr marR="0" lvl="0" algn="ctr" fontAlgn="auto">
              <a:buClrTx/>
              <a:buSzTx/>
              <a:buNone/>
              <a:tabLst/>
            </a:pP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860748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8">
          <p15:clr>
            <a:srgbClr val="FBAE40"/>
          </p15:clr>
        </p15:guide>
        <p15:guide id="2" orient="horz" pos="4133">
          <p15:clr>
            <a:srgbClr val="FBAE40"/>
          </p15:clr>
        </p15:guide>
        <p15:guide id="3" pos="5602">
          <p15:clr>
            <a:srgbClr val="FBAE40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_Grey - 3 x Pic full">
    <p:bg>
      <p:bgPr>
        <a:solidFill>
          <a:schemeClr val="bg1">
            <a:alpha val="6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4">
            <a:extLst>
              <a:ext uri="{FF2B5EF4-FFF2-40B4-BE49-F238E27FC236}">
                <a16:creationId xmlns:a16="http://schemas.microsoft.com/office/drawing/2014/main" id="{AA05129A-D4DC-403D-A7D0-31A1891AE987}"/>
              </a:ext>
            </a:extLst>
          </p:cNvPr>
          <p:cNvSpPr/>
          <p:nvPr userDrawn="1"/>
        </p:nvSpPr>
        <p:spPr>
          <a:xfrm>
            <a:off x="1" y="2"/>
            <a:ext cx="4038600" cy="6857999"/>
          </a:xfrm>
          <a:prstGeom prst="rect">
            <a:avLst/>
          </a:prstGeom>
          <a:solidFill>
            <a:srgbClr val="E7E6E6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sz="2044"/>
          </a:p>
        </p:txBody>
      </p:sp>
      <p:sp>
        <p:nvSpPr>
          <p:cNvPr id="26" name="Rectangle_grey" hidden="1">
            <a:extLst>
              <a:ext uri="{FF2B5EF4-FFF2-40B4-BE49-F238E27FC236}">
                <a16:creationId xmlns:a16="http://schemas.microsoft.com/office/drawing/2014/main" id="{7B001268-EC39-4A0D-A37C-34132914DDCE}"/>
              </a:ext>
            </a:extLst>
          </p:cNvPr>
          <p:cNvSpPr/>
          <p:nvPr userDrawn="1"/>
        </p:nvSpPr>
        <p:spPr>
          <a:xfrm>
            <a:off x="0" y="0"/>
            <a:ext cx="4039200" cy="6858000"/>
          </a:xfrm>
          <a:prstGeom prst="rect">
            <a:avLst/>
          </a:prstGeom>
          <a:solidFill>
            <a:srgbClr val="E1E1E1">
              <a:alpha val="74902"/>
            </a:srgbClr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44"/>
              <a:t> </a:t>
            </a:r>
            <a:endParaRPr lang="en-PH" sz="2044"/>
          </a:p>
        </p:txBody>
      </p:sp>
      <p:sp>
        <p:nvSpPr>
          <p:cNvPr id="27" name="Subtitle">
            <a:extLst>
              <a:ext uri="{FF2B5EF4-FFF2-40B4-BE49-F238E27FC236}">
                <a16:creationId xmlns:a16="http://schemas.microsoft.com/office/drawing/2014/main" id="{B72E32D3-8E0D-46CF-8D6B-04F7A5918D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38436"/>
            <a:ext cx="4038600" cy="278292"/>
          </a:xfrm>
          <a:prstGeom prst="rect">
            <a:avLst/>
          </a:prstGeom>
        </p:spPr>
        <p:txBody>
          <a:bodyPr lIns="468000" tIns="0" rIns="21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97" b="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/>
              <a:t>XX Subheadline</a:t>
            </a:r>
          </a:p>
        </p:txBody>
      </p:sp>
      <p:sp>
        <p:nvSpPr>
          <p:cNvPr id="32" name="Title">
            <a:extLst>
              <a:ext uri="{FF2B5EF4-FFF2-40B4-BE49-F238E27FC236}">
                <a16:creationId xmlns:a16="http://schemas.microsoft.com/office/drawing/2014/main" id="{B26F5D9D-70B7-4599-8A80-06FAD0EBF9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" y="924375"/>
            <a:ext cx="4038600" cy="278292"/>
          </a:xfrm>
          <a:prstGeom prst="rect">
            <a:avLst/>
          </a:prstGeom>
        </p:spPr>
        <p:txBody>
          <a:bodyPr lIns="468000" tIns="0" rIns="216000">
            <a:noAutofit/>
          </a:bodyPr>
          <a:lstStyle>
            <a:lvl1pPr>
              <a:lnSpc>
                <a:spcPct val="80000"/>
              </a:lnSpc>
              <a:defRPr sz="2793" b="1" cap="none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XX Headline</a:t>
            </a:r>
          </a:p>
        </p:txBody>
      </p:sp>
      <p:sp>
        <p:nvSpPr>
          <p:cNvPr id="34" name="Textbox">
            <a:extLst>
              <a:ext uri="{FF2B5EF4-FFF2-40B4-BE49-F238E27FC236}">
                <a16:creationId xmlns:a16="http://schemas.microsoft.com/office/drawing/2014/main" id="{80FE1A79-E6BA-4E65-99B2-90347DC9C34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" y="2535478"/>
            <a:ext cx="4038600" cy="4322522"/>
          </a:xfrm>
          <a:prstGeom prst="rect">
            <a:avLst/>
          </a:prstGeom>
          <a:noFill/>
        </p:spPr>
        <p:txBody>
          <a:bodyPr lIns="468000" tIns="0" rIns="28800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197" b="1">
                <a:solidFill>
                  <a:schemeClr val="accent1"/>
                </a:solidFill>
              </a:defRPr>
            </a:lvl1pPr>
            <a:lvl2pPr marL="175772" indent="-17577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197" baseline="0">
                <a:solidFill>
                  <a:schemeClr val="tx1"/>
                </a:solidFill>
              </a:defRPr>
            </a:lvl2pPr>
            <a:lvl3pPr marL="361045" indent="-18527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97">
                <a:solidFill>
                  <a:schemeClr val="tx1"/>
                </a:solidFill>
              </a:defRPr>
            </a:lvl3pPr>
            <a:lvl4pPr marL="538650" indent="0">
              <a:buClr>
                <a:schemeClr val="accent1"/>
              </a:buClr>
              <a:buFont typeface="Arial" panose="020B0604020202020204" pitchFamily="34" charset="0"/>
              <a:buChar char="•"/>
              <a:defRPr sz="1197">
                <a:solidFill>
                  <a:schemeClr val="tx1"/>
                </a:solidFill>
              </a:defRPr>
            </a:lvl4pPr>
            <a:lvl5pPr marL="807975" indent="0">
              <a:buClr>
                <a:schemeClr val="accent1"/>
              </a:buClr>
              <a:buFont typeface="Arial" panose="020B0604020202020204" pitchFamily="34" charset="0"/>
              <a:buChar char="•"/>
              <a:defRPr sz="1197">
                <a:solidFill>
                  <a:schemeClr val="tx1"/>
                </a:solidFill>
              </a:defRPr>
            </a:lvl5pPr>
            <a:lvl6pPr>
              <a:defRPr sz="1197"/>
            </a:lvl6pPr>
            <a:lvl7pPr>
              <a:defRPr sz="1197"/>
            </a:lvl7pPr>
            <a:lvl8pPr>
              <a:defRPr sz="1197"/>
            </a:lvl8pPr>
            <a:lvl9pPr>
              <a:defRPr sz="1197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1"/>
            <a:r>
              <a:rPr lang="en-US"/>
              <a:t>Third level</a:t>
            </a:r>
            <a:endParaRPr lang="de-DE"/>
          </a:p>
        </p:txBody>
      </p:sp>
      <p:sp>
        <p:nvSpPr>
          <p:cNvPr id="10" name="Picture">
            <a:extLst>
              <a:ext uri="{FF2B5EF4-FFF2-40B4-BE49-F238E27FC236}">
                <a16:creationId xmlns:a16="http://schemas.microsoft.com/office/drawing/2014/main" id="{A6DC73F5-41DC-47F0-B5B9-6E80137E6FC2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267200" y="242456"/>
            <a:ext cx="3619500" cy="6158344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vert="horz" lIns="0" tIns="0" rIns="0" bIns="0" rtlCol="0" anchor="ctr" anchorCtr="0">
            <a:normAutofit/>
          </a:bodyPr>
          <a:lstStyle>
            <a:lvl1pPr>
              <a:defRPr lang="de-DE" sz="1397" b="1">
                <a:solidFill>
                  <a:schemeClr val="tx2"/>
                </a:solidFill>
              </a:defRPr>
            </a:lvl1pPr>
          </a:lstStyle>
          <a:p>
            <a:pPr marR="0" lvl="0" algn="ctr" fontAlgn="auto">
              <a:buClrTx/>
              <a:buSzTx/>
              <a:buNone/>
              <a:tabLst/>
            </a:pPr>
            <a:r>
              <a:rPr lang="de-DE"/>
              <a:t> </a:t>
            </a:r>
          </a:p>
        </p:txBody>
      </p:sp>
      <p:sp>
        <p:nvSpPr>
          <p:cNvPr id="11" name="Picture">
            <a:extLst>
              <a:ext uri="{FF2B5EF4-FFF2-40B4-BE49-F238E27FC236}">
                <a16:creationId xmlns:a16="http://schemas.microsoft.com/office/drawing/2014/main" id="{B8164AC3-91E6-40EA-931D-9C79EB167324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8115300" y="242457"/>
            <a:ext cx="3619500" cy="3415144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vert="horz" lIns="0" tIns="0" rIns="0" bIns="0" rtlCol="0" anchor="ctr" anchorCtr="0">
            <a:normAutofit/>
          </a:bodyPr>
          <a:lstStyle>
            <a:lvl1pPr>
              <a:defRPr lang="de-DE" sz="1397" b="1">
                <a:solidFill>
                  <a:schemeClr val="tx2"/>
                </a:solidFill>
              </a:defRPr>
            </a:lvl1pPr>
          </a:lstStyle>
          <a:p>
            <a:pPr marR="0" lvl="0" algn="ctr" fontAlgn="auto">
              <a:buClrTx/>
              <a:buSzTx/>
              <a:buNone/>
              <a:tabLst/>
            </a:pPr>
            <a:r>
              <a:rPr lang="de-DE"/>
              <a:t> </a:t>
            </a:r>
          </a:p>
        </p:txBody>
      </p:sp>
      <p:sp>
        <p:nvSpPr>
          <p:cNvPr id="12" name="Picture">
            <a:extLst>
              <a:ext uri="{FF2B5EF4-FFF2-40B4-BE49-F238E27FC236}">
                <a16:creationId xmlns:a16="http://schemas.microsoft.com/office/drawing/2014/main" id="{70BE9148-10A1-4C05-919A-66F492C412FD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8115300" y="3886962"/>
            <a:ext cx="3619500" cy="2513838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vert="horz" lIns="0" tIns="0" rIns="0" bIns="0" rtlCol="0" anchor="ctr" anchorCtr="0">
            <a:normAutofit/>
          </a:bodyPr>
          <a:lstStyle>
            <a:lvl1pPr>
              <a:defRPr lang="de-DE" sz="1397" b="1">
                <a:solidFill>
                  <a:schemeClr val="tx2"/>
                </a:solidFill>
              </a:defRPr>
            </a:lvl1pPr>
          </a:lstStyle>
          <a:p>
            <a:pPr marR="0" lvl="0" algn="ctr" fontAlgn="auto">
              <a:buClrTx/>
              <a:buSzTx/>
              <a:buNone/>
              <a:tabLst/>
            </a:pP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1255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8">
          <p15:clr>
            <a:srgbClr val="FBAE40"/>
          </p15:clr>
        </p15:guide>
        <p15:guide id="2" orient="horz" pos="4133">
          <p15:clr>
            <a:srgbClr val="FBAE40"/>
          </p15:clr>
        </p15:guide>
        <p15:guide id="3" pos="5602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 - Image-led v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09274F1A-9C10-417E-9AEE-4F143E201AEC}"/>
              </a:ext>
            </a:extLst>
          </p:cNvPr>
          <p:cNvSpPr/>
          <p:nvPr userDrawn="1"/>
        </p:nvSpPr>
        <p:spPr>
          <a:xfrm flipH="1">
            <a:off x="0" y="0"/>
            <a:ext cx="10020300" cy="6858000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chemeClr val="tx1">
                  <a:alpha val="0"/>
                </a:schemeClr>
              </a:gs>
            </a:gsLst>
            <a:lin ang="10800000" scaled="0"/>
          </a:gra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8EA2F65-C185-447C-ACCA-99B8A1EB92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971801"/>
            <a:ext cx="4572000" cy="1371599"/>
          </a:xfrm>
        </p:spPr>
        <p:txBody>
          <a:bodyPr>
            <a:normAutofit/>
          </a:bodyPr>
          <a:lstStyle>
            <a:lvl1pPr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US"/>
              <a:t>Image-led cover title</a:t>
            </a:r>
            <a:endParaRPr lang="en-PH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48109ABF-016F-4E47-9261-744ED08100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4814455"/>
            <a:ext cx="45720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600"/>
              </a:spcBef>
              <a:spcAft>
                <a:spcPts val="1200"/>
              </a:spcAft>
              <a:defRPr sz="21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Presentation Subtitle 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A670293C-AB2F-4468-BF52-B377EE380E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5257800"/>
            <a:ext cx="45720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600"/>
              </a:spcBef>
              <a:spcAft>
                <a:spcPts val="1200"/>
              </a:spcAft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 2020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7D5A90F7-5FDF-EA45-B744-518116FA814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b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 to insert an image &gt; Right Click &gt; Send to Back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AD0A271-9092-8544-B5BB-E912819FB2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6200" y="457200"/>
            <a:ext cx="1498600" cy="228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7981960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 - White - three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91E2E6-68F9-4B47-93D3-947FED19C9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2"/>
            <a:ext cx="11277600" cy="6857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Three column content slide title</a:t>
            </a:r>
            <a:endParaRPr lang="en-PH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98B0F4A-603D-4EE9-86E7-F8ECA1A3CF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4114800"/>
            <a:ext cx="3581400" cy="2265894"/>
          </a:xfrm>
          <a:prstGeom prst="rect">
            <a:avLst/>
          </a:prstGeom>
        </p:spPr>
        <p:txBody>
          <a:bodyPr lIns="0" tIns="0" rIns="0" bIns="0"/>
          <a:lstStyle>
            <a:lvl1pPr marL="269325" indent="-269325">
              <a:spcBef>
                <a:spcPts val="299"/>
              </a:spcBef>
              <a:spcAft>
                <a:spcPts val="599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397" b="0">
                <a:solidFill>
                  <a:schemeClr val="tx1"/>
                </a:solidFill>
              </a:defRPr>
            </a:lvl1pPr>
            <a:lvl2pPr marL="538650" indent="-269325">
              <a:spcBef>
                <a:spcPts val="299"/>
              </a:spcBef>
              <a:spcAft>
                <a:spcPts val="599"/>
              </a:spcAft>
              <a:buFont typeface="Arial" panose="020B0604020202020204" pitchFamily="34" charset="0"/>
              <a:buChar char="−"/>
              <a:defRPr/>
            </a:lvl2pPr>
          </a:lstStyle>
          <a:p>
            <a:pPr lvl="0"/>
            <a:r>
              <a:rPr lang="en-US"/>
              <a:t>Standard bullet 14</a:t>
            </a:r>
          </a:p>
          <a:p>
            <a:pPr lvl="1"/>
            <a:r>
              <a:rPr lang="en-US"/>
              <a:t>Second level standard bullet 14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AD203639-DCA9-4BBA-A1F3-753BF58A052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1833797"/>
            <a:ext cx="3581400" cy="238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59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23" name="Text Placeholder 16">
            <a:extLst>
              <a:ext uri="{FF2B5EF4-FFF2-40B4-BE49-F238E27FC236}">
                <a16:creationId xmlns:a16="http://schemas.microsoft.com/office/drawing/2014/main" id="{998836C9-68B5-4657-982E-52E03AACC2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67200" y="4114800"/>
            <a:ext cx="3581400" cy="2265894"/>
          </a:xfrm>
          <a:prstGeom prst="rect">
            <a:avLst/>
          </a:prstGeom>
        </p:spPr>
        <p:txBody>
          <a:bodyPr lIns="0" tIns="0" rIns="0" bIns="0"/>
          <a:lstStyle>
            <a:lvl1pPr marL="269325" indent="-269325">
              <a:spcBef>
                <a:spcPts val="299"/>
              </a:spcBef>
              <a:spcAft>
                <a:spcPts val="599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397" b="0">
                <a:solidFill>
                  <a:schemeClr val="tx1"/>
                </a:solidFill>
              </a:defRPr>
            </a:lvl1pPr>
            <a:lvl2pPr marL="538650" indent="-269325">
              <a:spcBef>
                <a:spcPts val="299"/>
              </a:spcBef>
              <a:spcAft>
                <a:spcPts val="599"/>
              </a:spcAft>
              <a:buFont typeface="Arial" panose="020B0604020202020204" pitchFamily="34" charset="0"/>
              <a:buChar char="−"/>
              <a:defRPr/>
            </a:lvl2pPr>
          </a:lstStyle>
          <a:p>
            <a:pPr lvl="0"/>
            <a:r>
              <a:rPr lang="en-US"/>
              <a:t>Standard bullet 14</a:t>
            </a:r>
          </a:p>
          <a:p>
            <a:pPr lvl="1"/>
            <a:r>
              <a:rPr lang="en-US"/>
              <a:t>Second level standard bullet 14</a:t>
            </a:r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id="{A6A9F80A-32AD-4602-AD0E-143DE6B70B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67200" y="1833797"/>
            <a:ext cx="3581400" cy="238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59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25" name="Text Placeholder 16">
            <a:extLst>
              <a:ext uri="{FF2B5EF4-FFF2-40B4-BE49-F238E27FC236}">
                <a16:creationId xmlns:a16="http://schemas.microsoft.com/office/drawing/2014/main" id="{134F5A69-A25D-405C-AD1C-37A59E633A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15300" y="4114800"/>
            <a:ext cx="3581400" cy="2265894"/>
          </a:xfrm>
          <a:prstGeom prst="rect">
            <a:avLst/>
          </a:prstGeom>
        </p:spPr>
        <p:txBody>
          <a:bodyPr lIns="0" tIns="0" rIns="0" bIns="0"/>
          <a:lstStyle>
            <a:lvl1pPr marL="269325" indent="-269325">
              <a:spcBef>
                <a:spcPts val="299"/>
              </a:spcBef>
              <a:spcAft>
                <a:spcPts val="599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397" b="0">
                <a:solidFill>
                  <a:schemeClr val="tx1"/>
                </a:solidFill>
              </a:defRPr>
            </a:lvl1pPr>
            <a:lvl2pPr marL="538650" indent="-269325">
              <a:spcBef>
                <a:spcPts val="299"/>
              </a:spcBef>
              <a:spcAft>
                <a:spcPts val="599"/>
              </a:spcAft>
              <a:buFont typeface="Arial" panose="020B0604020202020204" pitchFamily="34" charset="0"/>
              <a:buChar char="−"/>
              <a:defRPr/>
            </a:lvl2pPr>
          </a:lstStyle>
          <a:p>
            <a:pPr lvl="0"/>
            <a:r>
              <a:rPr lang="en-US"/>
              <a:t>Standard bullet 14</a:t>
            </a:r>
          </a:p>
          <a:p>
            <a:pPr lvl="1"/>
            <a:r>
              <a:rPr lang="en-US"/>
              <a:t>Second level standard bullet 14</a:t>
            </a: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72B29582-9D7B-409D-8BAF-67D6EDE8B4F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15300" y="1833797"/>
            <a:ext cx="3581400" cy="238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59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3D83EFEE-1A28-4845-BE8D-F727C55AD7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6200" y="457202"/>
            <a:ext cx="1498600" cy="228631"/>
          </a:xfrm>
          <a:prstGeom prst="rect">
            <a:avLst/>
          </a:prstGeom>
        </p:spPr>
      </p:pic>
      <p:sp>
        <p:nvSpPr>
          <p:cNvPr id="10" name="Picture">
            <a:extLst>
              <a:ext uri="{FF2B5EF4-FFF2-40B4-BE49-F238E27FC236}">
                <a16:creationId xmlns:a16="http://schemas.microsoft.com/office/drawing/2014/main" id="{1D57FF1A-3DF9-4100-AAB8-5BD1940AD10B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57200" y="2300523"/>
            <a:ext cx="3581400" cy="1595439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vert="horz" lIns="0" tIns="0" rIns="0" bIns="0" rtlCol="0" anchor="ctr" anchorCtr="0">
            <a:normAutofit/>
          </a:bodyPr>
          <a:lstStyle>
            <a:lvl1pPr>
              <a:defRPr lang="de-DE" sz="1397" b="1">
                <a:solidFill>
                  <a:schemeClr val="tx2"/>
                </a:solidFill>
              </a:defRPr>
            </a:lvl1pPr>
          </a:lstStyle>
          <a:p>
            <a:pPr marR="0" lvl="0" algn="ctr" fontAlgn="auto">
              <a:buClrTx/>
              <a:buSzTx/>
              <a:buNone/>
              <a:tabLst/>
            </a:pPr>
            <a:r>
              <a:rPr lang="de-DE"/>
              <a:t> </a:t>
            </a:r>
          </a:p>
        </p:txBody>
      </p:sp>
      <p:sp>
        <p:nvSpPr>
          <p:cNvPr id="11" name="Picture">
            <a:extLst>
              <a:ext uri="{FF2B5EF4-FFF2-40B4-BE49-F238E27FC236}">
                <a16:creationId xmlns:a16="http://schemas.microsoft.com/office/drawing/2014/main" id="{A74C5D1B-CBA3-46A9-86B4-C22EC3E05719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4267200" y="2300523"/>
            <a:ext cx="3581400" cy="1595439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vert="horz" lIns="0" tIns="0" rIns="0" bIns="0" rtlCol="0" anchor="ctr" anchorCtr="0">
            <a:normAutofit/>
          </a:bodyPr>
          <a:lstStyle>
            <a:lvl1pPr>
              <a:defRPr lang="de-DE" sz="1397" b="1">
                <a:solidFill>
                  <a:schemeClr val="tx2"/>
                </a:solidFill>
              </a:defRPr>
            </a:lvl1pPr>
          </a:lstStyle>
          <a:p>
            <a:pPr marR="0" lvl="0" algn="ctr" fontAlgn="auto">
              <a:buClrTx/>
              <a:buSzTx/>
              <a:buNone/>
              <a:tabLst/>
            </a:pPr>
            <a:r>
              <a:rPr lang="de-DE"/>
              <a:t> </a:t>
            </a:r>
          </a:p>
        </p:txBody>
      </p:sp>
      <p:sp>
        <p:nvSpPr>
          <p:cNvPr id="12" name="Picture">
            <a:extLst>
              <a:ext uri="{FF2B5EF4-FFF2-40B4-BE49-F238E27FC236}">
                <a16:creationId xmlns:a16="http://schemas.microsoft.com/office/drawing/2014/main" id="{71461297-F220-44A6-B7E3-6F7E167C4122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8115300" y="2300523"/>
            <a:ext cx="3581400" cy="1595439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vert="horz" lIns="0" tIns="0" rIns="0" bIns="0" rtlCol="0" anchor="ctr" anchorCtr="0">
            <a:normAutofit/>
          </a:bodyPr>
          <a:lstStyle>
            <a:lvl1pPr>
              <a:defRPr lang="de-DE" sz="1397" b="1">
                <a:solidFill>
                  <a:schemeClr val="tx2"/>
                </a:solidFill>
              </a:defRPr>
            </a:lvl1pPr>
          </a:lstStyle>
          <a:p>
            <a:pPr marR="0" lvl="0" algn="ctr" fontAlgn="auto">
              <a:buClrTx/>
              <a:buSzTx/>
              <a:buNone/>
              <a:tabLst/>
            </a:pP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736067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 - White -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">
            <a:extLst>
              <a:ext uri="{FF2B5EF4-FFF2-40B4-BE49-F238E27FC236}">
                <a16:creationId xmlns:a16="http://schemas.microsoft.com/office/drawing/2014/main" id="{F68EE003-0251-496B-8C8B-76B18E7545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3657600"/>
            <a:ext cx="3366655" cy="1600200"/>
          </a:xfrm>
          <a:prstGeom prst="rect">
            <a:avLst/>
          </a:prstGeom>
        </p:spPr>
        <p:txBody>
          <a:bodyPr lIns="0" tIns="0" rIns="90000" bIns="0"/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59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81AFEDCA-5DFA-4012-BB79-36C20DA068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1835728"/>
            <a:ext cx="3366654" cy="1593273"/>
          </a:xfrm>
          <a:prstGeom prst="rect">
            <a:avLst/>
          </a:prstGeom>
        </p:spPr>
        <p:txBody>
          <a:bodyPr rIns="90000">
            <a:noAutofit/>
          </a:bodyPr>
          <a:lstStyle>
            <a:lvl1pPr>
              <a:lnSpc>
                <a:spcPct val="90000"/>
              </a:lnSpc>
              <a:defRPr sz="2793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Title</a:t>
            </a:r>
            <a:endParaRPr lang="en-PH"/>
          </a:p>
        </p:txBody>
      </p:sp>
      <p:sp>
        <p:nvSpPr>
          <p:cNvPr id="23" name="Picture 6">
            <a:extLst>
              <a:ext uri="{FF2B5EF4-FFF2-40B4-BE49-F238E27FC236}">
                <a16:creationId xmlns:a16="http://schemas.microsoft.com/office/drawing/2014/main" id="{AC21982B-D749-4CAA-BF8F-83DD0AE10F66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8118650" y="4800600"/>
            <a:ext cx="3616150" cy="1597874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22" name="Picture 5">
            <a:extLst>
              <a:ext uri="{FF2B5EF4-FFF2-40B4-BE49-F238E27FC236}">
                <a16:creationId xmlns:a16="http://schemas.microsoft.com/office/drawing/2014/main" id="{F57FFF44-487A-417B-967F-B93652401840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4272395" y="4800600"/>
            <a:ext cx="3618000" cy="1597874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21" name="Picture 4">
            <a:extLst>
              <a:ext uri="{FF2B5EF4-FFF2-40B4-BE49-F238E27FC236}">
                <a16:creationId xmlns:a16="http://schemas.microsoft.com/office/drawing/2014/main" id="{042315CD-92F5-48C3-AE9E-FF8D2A5A266E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8118650" y="2968291"/>
            <a:ext cx="3616150" cy="1602574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20" name="Picture 3">
            <a:extLst>
              <a:ext uri="{FF2B5EF4-FFF2-40B4-BE49-F238E27FC236}">
                <a16:creationId xmlns:a16="http://schemas.microsoft.com/office/drawing/2014/main" id="{253E71A9-B618-4BCB-9115-C1AC497D7838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272395" y="2968291"/>
            <a:ext cx="3618000" cy="1602574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16" name="Picture 2">
            <a:extLst>
              <a:ext uri="{FF2B5EF4-FFF2-40B4-BE49-F238E27FC236}">
                <a16:creationId xmlns:a16="http://schemas.microsoft.com/office/drawing/2014/main" id="{1A0402B6-45A3-4EE8-AE47-08AE80B1C6B0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8118650" y="1141695"/>
            <a:ext cx="3616150" cy="1602575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15" name="Picture 1">
            <a:extLst>
              <a:ext uri="{FF2B5EF4-FFF2-40B4-BE49-F238E27FC236}">
                <a16:creationId xmlns:a16="http://schemas.microsoft.com/office/drawing/2014/main" id="{13927946-25DD-4D76-9994-50D48B6EA01B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4272395" y="1141695"/>
            <a:ext cx="3618000" cy="1602575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27" name="Black 75%">
            <a:extLst>
              <a:ext uri="{FF2B5EF4-FFF2-40B4-BE49-F238E27FC236}">
                <a16:creationId xmlns:a16="http://schemas.microsoft.com/office/drawing/2014/main" id="{71A6CB36-AED7-4C3D-8AEE-10CFE0CF31B0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118650" y="4800600"/>
            <a:ext cx="3616150" cy="457200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lIns="180000" tIns="72000" rIns="108000" bIns="72000" anchor="ctr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19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26" name="Black 75%">
            <a:extLst>
              <a:ext uri="{FF2B5EF4-FFF2-40B4-BE49-F238E27FC236}">
                <a16:creationId xmlns:a16="http://schemas.microsoft.com/office/drawing/2014/main" id="{9DEF0FAF-5995-4498-9B21-63EC09D53ED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272394" y="4800600"/>
            <a:ext cx="3619500" cy="457200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lIns="180000" tIns="72000" rIns="108000" bIns="72000" anchor="ctr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19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25" name="Black 75%">
            <a:extLst>
              <a:ext uri="{FF2B5EF4-FFF2-40B4-BE49-F238E27FC236}">
                <a16:creationId xmlns:a16="http://schemas.microsoft.com/office/drawing/2014/main" id="{C8598247-42E6-4C5B-8A54-B9836E3D1ACA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118650" y="2968291"/>
            <a:ext cx="3616150" cy="457200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lIns="180000" tIns="72000" rIns="108000" bIns="72000" anchor="ctr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19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24" name="Black 75%">
            <a:extLst>
              <a:ext uri="{FF2B5EF4-FFF2-40B4-BE49-F238E27FC236}">
                <a16:creationId xmlns:a16="http://schemas.microsoft.com/office/drawing/2014/main" id="{F385F335-8B21-462A-A83C-F6AA2441EAE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272394" y="2968291"/>
            <a:ext cx="3619500" cy="457200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lIns="180000" tIns="72000" rIns="108000" bIns="72000" anchor="ctr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19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28" name="Black 75%">
            <a:extLst>
              <a:ext uri="{FF2B5EF4-FFF2-40B4-BE49-F238E27FC236}">
                <a16:creationId xmlns:a16="http://schemas.microsoft.com/office/drawing/2014/main" id="{017E470A-1F60-4EBE-9B53-D0CE75DADE7C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8118650" y="1141694"/>
            <a:ext cx="3616150" cy="457200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lIns="180000" tIns="72000" rIns="108000" bIns="72000" anchor="ctr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19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17" name="Black 75%">
            <a:extLst>
              <a:ext uri="{FF2B5EF4-FFF2-40B4-BE49-F238E27FC236}">
                <a16:creationId xmlns:a16="http://schemas.microsoft.com/office/drawing/2014/main" id="{211A0290-1545-4077-8675-244EFBE1AB64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272394" y="1141694"/>
            <a:ext cx="3619500" cy="457200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lIns="180000" tIns="72000" rIns="108000" bIns="72000" anchor="ctr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19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</p:spTree>
    <p:extLst>
      <p:ext uri="{BB962C8B-B14F-4D97-AF65-F5344CB8AC3E}">
        <p14:creationId xmlns:p14="http://schemas.microsoft.com/office/powerpoint/2010/main" val="940764585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 - White - six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">
            <a:extLst>
              <a:ext uri="{FF2B5EF4-FFF2-40B4-BE49-F238E27FC236}">
                <a16:creationId xmlns:a16="http://schemas.microsoft.com/office/drawing/2014/main" id="{F68EE003-0251-496B-8C8B-76B18E7545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3657600"/>
            <a:ext cx="3366655" cy="1600200"/>
          </a:xfrm>
          <a:prstGeom prst="rect">
            <a:avLst/>
          </a:prstGeom>
        </p:spPr>
        <p:txBody>
          <a:bodyPr lIns="0" tIns="0" rIns="90000" bIns="0"/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59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81AFEDCA-5DFA-4012-BB79-36C20DA068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1835728"/>
            <a:ext cx="3366654" cy="1593273"/>
          </a:xfrm>
          <a:prstGeom prst="rect">
            <a:avLst/>
          </a:prstGeom>
        </p:spPr>
        <p:txBody>
          <a:bodyPr rIns="90000">
            <a:noAutofit/>
          </a:bodyPr>
          <a:lstStyle>
            <a:lvl1pPr>
              <a:lnSpc>
                <a:spcPct val="90000"/>
              </a:lnSpc>
              <a:defRPr sz="2793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Title</a:t>
            </a:r>
            <a:endParaRPr lang="en-PH"/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AC21982B-D749-4CAA-BF8F-83DD0AE10F66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8118650" y="4572000"/>
            <a:ext cx="3616150" cy="1826474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F57FFF44-487A-417B-967F-B93652401840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4272395" y="4572000"/>
            <a:ext cx="3618000" cy="1826474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042315CD-92F5-48C3-AE9E-FF8D2A5A266E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8118650" y="2519150"/>
            <a:ext cx="3616150" cy="18252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253E71A9-B618-4BCB-9115-C1AC497D7838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272395" y="2519150"/>
            <a:ext cx="3618000" cy="18252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1A0402B6-45A3-4EE8-AE47-08AE80B1C6B0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8118650" y="459527"/>
            <a:ext cx="3616150" cy="1816435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13927946-25DD-4D76-9994-50D48B6EA01B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4272395" y="459527"/>
            <a:ext cx="3618000" cy="1816435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27" name="Black 75%">
            <a:extLst>
              <a:ext uri="{FF2B5EF4-FFF2-40B4-BE49-F238E27FC236}">
                <a16:creationId xmlns:a16="http://schemas.microsoft.com/office/drawing/2014/main" id="{71A6CB36-AED7-4C3D-8AEE-10CFE0CF31B0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118650" y="4572000"/>
            <a:ext cx="3616150" cy="457200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lIns="180000" tIns="72000" rIns="108000" bIns="72000" anchor="ctr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19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24" name="Black 75%">
            <a:extLst>
              <a:ext uri="{FF2B5EF4-FFF2-40B4-BE49-F238E27FC236}">
                <a16:creationId xmlns:a16="http://schemas.microsoft.com/office/drawing/2014/main" id="{F385F335-8B21-462A-A83C-F6AA2441EAE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272394" y="2519150"/>
            <a:ext cx="3619500" cy="457200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lIns="180000" tIns="72000" rIns="108000" bIns="72000" anchor="ctr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19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25" name="Black 75%">
            <a:extLst>
              <a:ext uri="{FF2B5EF4-FFF2-40B4-BE49-F238E27FC236}">
                <a16:creationId xmlns:a16="http://schemas.microsoft.com/office/drawing/2014/main" id="{C8598247-42E6-4C5B-8A54-B9836E3D1ACA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118650" y="2519150"/>
            <a:ext cx="3616150" cy="457200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lIns="180000" tIns="72000" rIns="108000" bIns="72000" anchor="ctr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19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26" name="Black 75%">
            <a:extLst>
              <a:ext uri="{FF2B5EF4-FFF2-40B4-BE49-F238E27FC236}">
                <a16:creationId xmlns:a16="http://schemas.microsoft.com/office/drawing/2014/main" id="{9DEF0FAF-5995-4498-9B21-63EC09D53ED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272394" y="4572000"/>
            <a:ext cx="3619500" cy="457200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lIns="180000" tIns="72000" rIns="108000" bIns="72000" anchor="ctr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19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28" name="Black 75%">
            <a:extLst>
              <a:ext uri="{FF2B5EF4-FFF2-40B4-BE49-F238E27FC236}">
                <a16:creationId xmlns:a16="http://schemas.microsoft.com/office/drawing/2014/main" id="{017E470A-1F60-4EBE-9B53-D0CE75DADE7C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8118650" y="459525"/>
            <a:ext cx="3616150" cy="457200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lIns="180000" tIns="72000" rIns="108000" bIns="72000" anchor="ctr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19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17" name="Black 75%">
            <a:extLst>
              <a:ext uri="{FF2B5EF4-FFF2-40B4-BE49-F238E27FC236}">
                <a16:creationId xmlns:a16="http://schemas.microsoft.com/office/drawing/2014/main" id="{211A0290-1545-4077-8675-244EFBE1AB64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272394" y="459525"/>
            <a:ext cx="3619500" cy="457200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lIns="180000" tIns="72000" rIns="108000" bIns="72000" anchor="ctr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19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</p:spTree>
    <p:extLst>
      <p:ext uri="{BB962C8B-B14F-4D97-AF65-F5344CB8AC3E}">
        <p14:creationId xmlns:p14="http://schemas.microsoft.com/office/powerpoint/2010/main" val="1626958784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 - White -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Picture">
            <a:extLst>
              <a:ext uri="{FF2B5EF4-FFF2-40B4-BE49-F238E27FC236}">
                <a16:creationId xmlns:a16="http://schemas.microsoft.com/office/drawing/2014/main" id="{39F11821-AA67-4060-B15D-39AF24F84A0A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8118650" y="4118256"/>
            <a:ext cx="3616150" cy="2282544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31" name="Picture 3">
            <a:extLst>
              <a:ext uri="{FF2B5EF4-FFF2-40B4-BE49-F238E27FC236}">
                <a16:creationId xmlns:a16="http://schemas.microsoft.com/office/drawing/2014/main" id="{582FADF7-91E6-4D59-824E-D7C91892DE76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4272396" y="4118256"/>
            <a:ext cx="3614305" cy="2282544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30" name="Picture 2">
            <a:extLst>
              <a:ext uri="{FF2B5EF4-FFF2-40B4-BE49-F238E27FC236}">
                <a16:creationId xmlns:a16="http://schemas.microsoft.com/office/drawing/2014/main" id="{D1497D1D-8DDA-46ED-9AAA-C6409024458F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8118650" y="1614623"/>
            <a:ext cx="3616150" cy="22680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29" name="Picture 1">
            <a:extLst>
              <a:ext uri="{FF2B5EF4-FFF2-40B4-BE49-F238E27FC236}">
                <a16:creationId xmlns:a16="http://schemas.microsoft.com/office/drawing/2014/main" id="{8C235B91-4797-43F7-8F13-21FB1A4CEC4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272396" y="1614623"/>
            <a:ext cx="3614305" cy="22680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36" name="Black 75%">
            <a:extLst>
              <a:ext uri="{FF2B5EF4-FFF2-40B4-BE49-F238E27FC236}">
                <a16:creationId xmlns:a16="http://schemas.microsoft.com/office/drawing/2014/main" id="{89B3C345-CCD2-427A-9120-355642E4685F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118650" y="4118256"/>
            <a:ext cx="3616150" cy="457200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lIns="180000" tIns="72000" rIns="108000" bIns="72000" anchor="ctr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19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35" name="Black 75%">
            <a:extLst>
              <a:ext uri="{FF2B5EF4-FFF2-40B4-BE49-F238E27FC236}">
                <a16:creationId xmlns:a16="http://schemas.microsoft.com/office/drawing/2014/main" id="{81F625FD-FEE8-47A3-83CA-95135454D49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272395" y="4118256"/>
            <a:ext cx="3619500" cy="457200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lIns="180000" tIns="72000" rIns="108000" bIns="72000" anchor="ctr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19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34" name="Black 75%">
            <a:extLst>
              <a:ext uri="{FF2B5EF4-FFF2-40B4-BE49-F238E27FC236}">
                <a16:creationId xmlns:a16="http://schemas.microsoft.com/office/drawing/2014/main" id="{C7692E10-A346-40D5-9458-137C1055E38B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118650" y="1614623"/>
            <a:ext cx="3616150" cy="457200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lIns="180000" tIns="72000" rIns="108000" bIns="72000" anchor="ctr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19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33" name="Black 75%">
            <a:extLst>
              <a:ext uri="{FF2B5EF4-FFF2-40B4-BE49-F238E27FC236}">
                <a16:creationId xmlns:a16="http://schemas.microsoft.com/office/drawing/2014/main" id="{74F675E8-FF32-4780-A183-9C810B82E8C2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272395" y="1614623"/>
            <a:ext cx="3619500" cy="457200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lIns="180000" tIns="72000" rIns="108000" bIns="72000" anchor="ctr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19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19" name="Text">
            <a:extLst>
              <a:ext uri="{FF2B5EF4-FFF2-40B4-BE49-F238E27FC236}">
                <a16:creationId xmlns:a16="http://schemas.microsoft.com/office/drawing/2014/main" id="{F68EE003-0251-496B-8C8B-76B18E7545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3657600"/>
            <a:ext cx="3366655" cy="1600200"/>
          </a:xfrm>
          <a:prstGeom prst="rect">
            <a:avLst/>
          </a:prstGeom>
        </p:spPr>
        <p:txBody>
          <a:bodyPr lIns="0" tIns="0" rIns="90000" bIns="0"/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59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81AFEDCA-5DFA-4012-BB79-36C20DA068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1835728"/>
            <a:ext cx="3366654" cy="1593273"/>
          </a:xfrm>
          <a:prstGeom prst="rect">
            <a:avLst/>
          </a:prstGeom>
        </p:spPr>
        <p:txBody>
          <a:bodyPr rIns="90000">
            <a:noAutofit/>
          </a:bodyPr>
          <a:lstStyle>
            <a:lvl1pPr>
              <a:lnSpc>
                <a:spcPct val="90000"/>
              </a:lnSpc>
              <a:defRPr sz="2793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Title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1347036737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 - Grey -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">
            <a:extLst>
              <a:ext uri="{FF2B5EF4-FFF2-40B4-BE49-F238E27FC236}">
                <a16:creationId xmlns:a16="http://schemas.microsoft.com/office/drawing/2014/main" id="{1C43E271-585A-4BE6-84C9-3787B822945E}"/>
              </a:ext>
            </a:extLst>
          </p:cNvPr>
          <p:cNvSpPr/>
          <p:nvPr userDrawn="1"/>
        </p:nvSpPr>
        <p:spPr>
          <a:xfrm>
            <a:off x="1" y="2"/>
            <a:ext cx="4038600" cy="6857999"/>
          </a:xfrm>
          <a:prstGeom prst="rect">
            <a:avLst/>
          </a:prstGeom>
          <a:solidFill>
            <a:srgbClr val="E7E6E6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sz="2044"/>
          </a:p>
        </p:txBody>
      </p:sp>
      <p:sp>
        <p:nvSpPr>
          <p:cNvPr id="19" name="Text">
            <a:extLst>
              <a:ext uri="{FF2B5EF4-FFF2-40B4-BE49-F238E27FC236}">
                <a16:creationId xmlns:a16="http://schemas.microsoft.com/office/drawing/2014/main" id="{F68EE003-0251-496B-8C8B-76B18E7545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3657600"/>
            <a:ext cx="3366655" cy="1600200"/>
          </a:xfrm>
          <a:prstGeom prst="rect">
            <a:avLst/>
          </a:prstGeom>
        </p:spPr>
        <p:txBody>
          <a:bodyPr lIns="0" tIns="0" rIns="90000" bIns="0"/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59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81AFEDCA-5DFA-4012-BB79-36C20DA068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1835728"/>
            <a:ext cx="3366654" cy="1593273"/>
          </a:xfrm>
          <a:prstGeom prst="rect">
            <a:avLst/>
          </a:prstGeom>
        </p:spPr>
        <p:txBody>
          <a:bodyPr rIns="90000">
            <a:noAutofit/>
          </a:bodyPr>
          <a:lstStyle>
            <a:lvl1pPr>
              <a:lnSpc>
                <a:spcPct val="90000"/>
              </a:lnSpc>
              <a:defRPr sz="2793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Title</a:t>
            </a:r>
            <a:endParaRPr lang="en-PH"/>
          </a:p>
        </p:txBody>
      </p:sp>
      <p:sp>
        <p:nvSpPr>
          <p:cNvPr id="23" name="Picture 6">
            <a:extLst>
              <a:ext uri="{FF2B5EF4-FFF2-40B4-BE49-F238E27FC236}">
                <a16:creationId xmlns:a16="http://schemas.microsoft.com/office/drawing/2014/main" id="{AC21982B-D749-4CAA-BF8F-83DD0AE10F66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8118650" y="4800600"/>
            <a:ext cx="3616150" cy="1597874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22" name="Picture 5">
            <a:extLst>
              <a:ext uri="{FF2B5EF4-FFF2-40B4-BE49-F238E27FC236}">
                <a16:creationId xmlns:a16="http://schemas.microsoft.com/office/drawing/2014/main" id="{F57FFF44-487A-417B-967F-B93652401840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4272395" y="4800600"/>
            <a:ext cx="3618000" cy="1597874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21" name="Picture 4">
            <a:extLst>
              <a:ext uri="{FF2B5EF4-FFF2-40B4-BE49-F238E27FC236}">
                <a16:creationId xmlns:a16="http://schemas.microsoft.com/office/drawing/2014/main" id="{042315CD-92F5-48C3-AE9E-FF8D2A5A266E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8118650" y="2968291"/>
            <a:ext cx="3616150" cy="1602574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20" name="Picture 3">
            <a:extLst>
              <a:ext uri="{FF2B5EF4-FFF2-40B4-BE49-F238E27FC236}">
                <a16:creationId xmlns:a16="http://schemas.microsoft.com/office/drawing/2014/main" id="{253E71A9-B618-4BCB-9115-C1AC497D7838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272395" y="2968291"/>
            <a:ext cx="3618000" cy="1602574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16" name="Picture 2">
            <a:extLst>
              <a:ext uri="{FF2B5EF4-FFF2-40B4-BE49-F238E27FC236}">
                <a16:creationId xmlns:a16="http://schemas.microsoft.com/office/drawing/2014/main" id="{1A0402B6-45A3-4EE8-AE47-08AE80B1C6B0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8118650" y="1141695"/>
            <a:ext cx="3616150" cy="1602575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15" name="Picture 1">
            <a:extLst>
              <a:ext uri="{FF2B5EF4-FFF2-40B4-BE49-F238E27FC236}">
                <a16:creationId xmlns:a16="http://schemas.microsoft.com/office/drawing/2014/main" id="{13927946-25DD-4D76-9994-50D48B6EA01B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4272395" y="1141695"/>
            <a:ext cx="3618000" cy="1602575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27" name="Black 75%">
            <a:extLst>
              <a:ext uri="{FF2B5EF4-FFF2-40B4-BE49-F238E27FC236}">
                <a16:creationId xmlns:a16="http://schemas.microsoft.com/office/drawing/2014/main" id="{71A6CB36-AED7-4C3D-8AEE-10CFE0CF31B0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118650" y="4800600"/>
            <a:ext cx="3616150" cy="457200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lIns="180000" tIns="72000" rIns="108000" bIns="72000" anchor="ctr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19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26" name="Black 75%">
            <a:extLst>
              <a:ext uri="{FF2B5EF4-FFF2-40B4-BE49-F238E27FC236}">
                <a16:creationId xmlns:a16="http://schemas.microsoft.com/office/drawing/2014/main" id="{9DEF0FAF-5995-4498-9B21-63EC09D53ED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272394" y="4800600"/>
            <a:ext cx="3619500" cy="457200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lIns="180000" tIns="72000" rIns="108000" bIns="72000" anchor="ctr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19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25" name="Black 75%">
            <a:extLst>
              <a:ext uri="{FF2B5EF4-FFF2-40B4-BE49-F238E27FC236}">
                <a16:creationId xmlns:a16="http://schemas.microsoft.com/office/drawing/2014/main" id="{C8598247-42E6-4C5B-8A54-B9836E3D1ACA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118650" y="2968291"/>
            <a:ext cx="3616150" cy="457200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lIns="180000" tIns="72000" rIns="108000" bIns="72000" anchor="ctr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19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24" name="Black 75%">
            <a:extLst>
              <a:ext uri="{FF2B5EF4-FFF2-40B4-BE49-F238E27FC236}">
                <a16:creationId xmlns:a16="http://schemas.microsoft.com/office/drawing/2014/main" id="{F385F335-8B21-462A-A83C-F6AA2441EAE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272394" y="2968291"/>
            <a:ext cx="3619500" cy="457200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lIns="180000" tIns="72000" rIns="108000" bIns="72000" anchor="ctr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19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28" name="Black 75%">
            <a:extLst>
              <a:ext uri="{FF2B5EF4-FFF2-40B4-BE49-F238E27FC236}">
                <a16:creationId xmlns:a16="http://schemas.microsoft.com/office/drawing/2014/main" id="{017E470A-1F60-4EBE-9B53-D0CE75DADE7C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8118650" y="1141694"/>
            <a:ext cx="3616150" cy="457200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lIns="180000" tIns="72000" rIns="108000" bIns="72000" anchor="ctr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19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17" name="Black 75%">
            <a:extLst>
              <a:ext uri="{FF2B5EF4-FFF2-40B4-BE49-F238E27FC236}">
                <a16:creationId xmlns:a16="http://schemas.microsoft.com/office/drawing/2014/main" id="{211A0290-1545-4077-8675-244EFBE1AB64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272394" y="1141694"/>
            <a:ext cx="3619500" cy="457200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lIns="180000" tIns="72000" rIns="108000" bIns="72000" anchor="ctr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19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</p:spTree>
    <p:extLst>
      <p:ext uri="{BB962C8B-B14F-4D97-AF65-F5344CB8AC3E}">
        <p14:creationId xmlns:p14="http://schemas.microsoft.com/office/powerpoint/2010/main" val="3761235035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 - Grey - six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">
            <a:extLst>
              <a:ext uri="{FF2B5EF4-FFF2-40B4-BE49-F238E27FC236}">
                <a16:creationId xmlns:a16="http://schemas.microsoft.com/office/drawing/2014/main" id="{1C43E271-585A-4BE6-84C9-3787B822945E}"/>
              </a:ext>
            </a:extLst>
          </p:cNvPr>
          <p:cNvSpPr/>
          <p:nvPr userDrawn="1"/>
        </p:nvSpPr>
        <p:spPr>
          <a:xfrm>
            <a:off x="1" y="2"/>
            <a:ext cx="4038600" cy="6857999"/>
          </a:xfrm>
          <a:prstGeom prst="rect">
            <a:avLst/>
          </a:prstGeom>
          <a:solidFill>
            <a:srgbClr val="E7E6E6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sz="2044"/>
          </a:p>
        </p:txBody>
      </p:sp>
      <p:sp>
        <p:nvSpPr>
          <p:cNvPr id="19" name="Text">
            <a:extLst>
              <a:ext uri="{FF2B5EF4-FFF2-40B4-BE49-F238E27FC236}">
                <a16:creationId xmlns:a16="http://schemas.microsoft.com/office/drawing/2014/main" id="{F68EE003-0251-496B-8C8B-76B18E7545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3657600"/>
            <a:ext cx="3366655" cy="1600200"/>
          </a:xfrm>
          <a:prstGeom prst="rect">
            <a:avLst/>
          </a:prstGeom>
        </p:spPr>
        <p:txBody>
          <a:bodyPr lIns="0" tIns="0" rIns="90000" bIns="0"/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59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81AFEDCA-5DFA-4012-BB79-36C20DA068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1835728"/>
            <a:ext cx="3366654" cy="1593273"/>
          </a:xfrm>
          <a:prstGeom prst="rect">
            <a:avLst/>
          </a:prstGeom>
        </p:spPr>
        <p:txBody>
          <a:bodyPr rIns="90000">
            <a:noAutofit/>
          </a:bodyPr>
          <a:lstStyle>
            <a:lvl1pPr>
              <a:lnSpc>
                <a:spcPct val="90000"/>
              </a:lnSpc>
              <a:defRPr sz="2793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Title</a:t>
            </a:r>
            <a:endParaRPr lang="en-PH"/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AC21982B-D749-4CAA-BF8F-83DD0AE10F66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8118650" y="4572000"/>
            <a:ext cx="3616150" cy="1826474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F57FFF44-487A-417B-967F-B93652401840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4272395" y="4572000"/>
            <a:ext cx="3618000" cy="1826474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042315CD-92F5-48C3-AE9E-FF8D2A5A266E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8118650" y="2519150"/>
            <a:ext cx="3616150" cy="18252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253E71A9-B618-4BCB-9115-C1AC497D7838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272395" y="2519150"/>
            <a:ext cx="3618000" cy="18252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1A0402B6-45A3-4EE8-AE47-08AE80B1C6B0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8118650" y="459527"/>
            <a:ext cx="3616150" cy="1816435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13927946-25DD-4D76-9994-50D48B6EA01B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4272395" y="459527"/>
            <a:ext cx="3618000" cy="1816435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27" name="Black 75%">
            <a:extLst>
              <a:ext uri="{FF2B5EF4-FFF2-40B4-BE49-F238E27FC236}">
                <a16:creationId xmlns:a16="http://schemas.microsoft.com/office/drawing/2014/main" id="{71A6CB36-AED7-4C3D-8AEE-10CFE0CF31B0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118650" y="4572000"/>
            <a:ext cx="3616150" cy="457200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lIns="180000" tIns="72000" rIns="108000" bIns="72000" anchor="ctr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19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24" name="Black 75%">
            <a:extLst>
              <a:ext uri="{FF2B5EF4-FFF2-40B4-BE49-F238E27FC236}">
                <a16:creationId xmlns:a16="http://schemas.microsoft.com/office/drawing/2014/main" id="{F385F335-8B21-462A-A83C-F6AA2441EAE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272394" y="2519150"/>
            <a:ext cx="3619500" cy="457200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lIns="180000" tIns="72000" rIns="108000" bIns="72000" anchor="ctr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19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25" name="Black 75%">
            <a:extLst>
              <a:ext uri="{FF2B5EF4-FFF2-40B4-BE49-F238E27FC236}">
                <a16:creationId xmlns:a16="http://schemas.microsoft.com/office/drawing/2014/main" id="{C8598247-42E6-4C5B-8A54-B9836E3D1ACA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118650" y="2519150"/>
            <a:ext cx="3616150" cy="457200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lIns="180000" tIns="72000" rIns="108000" bIns="72000" anchor="ctr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19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26" name="Black 75%">
            <a:extLst>
              <a:ext uri="{FF2B5EF4-FFF2-40B4-BE49-F238E27FC236}">
                <a16:creationId xmlns:a16="http://schemas.microsoft.com/office/drawing/2014/main" id="{9DEF0FAF-5995-4498-9B21-63EC09D53ED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272394" y="4572000"/>
            <a:ext cx="3619500" cy="457200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lIns="180000" tIns="72000" rIns="108000" bIns="72000" anchor="ctr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19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28" name="Black 75%">
            <a:extLst>
              <a:ext uri="{FF2B5EF4-FFF2-40B4-BE49-F238E27FC236}">
                <a16:creationId xmlns:a16="http://schemas.microsoft.com/office/drawing/2014/main" id="{017E470A-1F60-4EBE-9B53-D0CE75DADE7C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8118650" y="459525"/>
            <a:ext cx="3616150" cy="457200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lIns="180000" tIns="72000" rIns="108000" bIns="72000" anchor="ctr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19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17" name="Black 75%">
            <a:extLst>
              <a:ext uri="{FF2B5EF4-FFF2-40B4-BE49-F238E27FC236}">
                <a16:creationId xmlns:a16="http://schemas.microsoft.com/office/drawing/2014/main" id="{211A0290-1545-4077-8675-244EFBE1AB64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272394" y="459525"/>
            <a:ext cx="3619500" cy="457200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lIns="180000" tIns="72000" rIns="108000" bIns="72000" anchor="ctr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19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</p:spTree>
    <p:extLst>
      <p:ext uri="{BB962C8B-B14F-4D97-AF65-F5344CB8AC3E}">
        <p14:creationId xmlns:p14="http://schemas.microsoft.com/office/powerpoint/2010/main" val="568908155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 - Grey -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">
            <a:extLst>
              <a:ext uri="{FF2B5EF4-FFF2-40B4-BE49-F238E27FC236}">
                <a16:creationId xmlns:a16="http://schemas.microsoft.com/office/drawing/2014/main" id="{1C43E271-585A-4BE6-84C9-3787B822945E}"/>
              </a:ext>
            </a:extLst>
          </p:cNvPr>
          <p:cNvSpPr/>
          <p:nvPr userDrawn="1"/>
        </p:nvSpPr>
        <p:spPr>
          <a:xfrm>
            <a:off x="1" y="2"/>
            <a:ext cx="4038600" cy="6857999"/>
          </a:xfrm>
          <a:prstGeom prst="rect">
            <a:avLst/>
          </a:prstGeom>
          <a:solidFill>
            <a:srgbClr val="E7E6E6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sz="2044"/>
          </a:p>
        </p:txBody>
      </p:sp>
      <p:sp>
        <p:nvSpPr>
          <p:cNvPr id="32" name="Picture">
            <a:extLst>
              <a:ext uri="{FF2B5EF4-FFF2-40B4-BE49-F238E27FC236}">
                <a16:creationId xmlns:a16="http://schemas.microsoft.com/office/drawing/2014/main" id="{39F11821-AA67-4060-B15D-39AF24F84A0A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8118650" y="4118256"/>
            <a:ext cx="3616150" cy="2282544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31" name="Picture 3">
            <a:extLst>
              <a:ext uri="{FF2B5EF4-FFF2-40B4-BE49-F238E27FC236}">
                <a16:creationId xmlns:a16="http://schemas.microsoft.com/office/drawing/2014/main" id="{582FADF7-91E6-4D59-824E-D7C91892DE76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4272396" y="4118256"/>
            <a:ext cx="3614305" cy="2282544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30" name="Picture 2">
            <a:extLst>
              <a:ext uri="{FF2B5EF4-FFF2-40B4-BE49-F238E27FC236}">
                <a16:creationId xmlns:a16="http://schemas.microsoft.com/office/drawing/2014/main" id="{D1497D1D-8DDA-46ED-9AAA-C6409024458F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8118650" y="1614623"/>
            <a:ext cx="3616150" cy="22680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29" name="Picture 1">
            <a:extLst>
              <a:ext uri="{FF2B5EF4-FFF2-40B4-BE49-F238E27FC236}">
                <a16:creationId xmlns:a16="http://schemas.microsoft.com/office/drawing/2014/main" id="{8C235B91-4797-43F7-8F13-21FB1A4CEC4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272396" y="1614623"/>
            <a:ext cx="3614305" cy="22680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36" name="Black 75%">
            <a:extLst>
              <a:ext uri="{FF2B5EF4-FFF2-40B4-BE49-F238E27FC236}">
                <a16:creationId xmlns:a16="http://schemas.microsoft.com/office/drawing/2014/main" id="{89B3C345-CCD2-427A-9120-355642E4685F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118650" y="4118256"/>
            <a:ext cx="3616150" cy="457200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lIns="180000" tIns="72000" rIns="108000" bIns="72000" anchor="ctr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19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35" name="Black 75%">
            <a:extLst>
              <a:ext uri="{FF2B5EF4-FFF2-40B4-BE49-F238E27FC236}">
                <a16:creationId xmlns:a16="http://schemas.microsoft.com/office/drawing/2014/main" id="{81F625FD-FEE8-47A3-83CA-95135454D49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272395" y="4118256"/>
            <a:ext cx="3619500" cy="457200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lIns="180000" tIns="72000" rIns="108000" bIns="72000" anchor="ctr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19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34" name="Black 75%">
            <a:extLst>
              <a:ext uri="{FF2B5EF4-FFF2-40B4-BE49-F238E27FC236}">
                <a16:creationId xmlns:a16="http://schemas.microsoft.com/office/drawing/2014/main" id="{C7692E10-A346-40D5-9458-137C1055E38B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118650" y="1614623"/>
            <a:ext cx="3616150" cy="457200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lIns="180000" tIns="72000" rIns="108000" bIns="72000" anchor="ctr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19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33" name="Black 75%">
            <a:extLst>
              <a:ext uri="{FF2B5EF4-FFF2-40B4-BE49-F238E27FC236}">
                <a16:creationId xmlns:a16="http://schemas.microsoft.com/office/drawing/2014/main" id="{74F675E8-FF32-4780-A183-9C810B82E8C2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272395" y="1614623"/>
            <a:ext cx="3619500" cy="457200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lIns="180000" tIns="72000" rIns="108000" bIns="72000" anchor="ctr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19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19" name="Text">
            <a:extLst>
              <a:ext uri="{FF2B5EF4-FFF2-40B4-BE49-F238E27FC236}">
                <a16:creationId xmlns:a16="http://schemas.microsoft.com/office/drawing/2014/main" id="{F68EE003-0251-496B-8C8B-76B18E7545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3657600"/>
            <a:ext cx="3366655" cy="1600200"/>
          </a:xfrm>
          <a:prstGeom prst="rect">
            <a:avLst/>
          </a:prstGeom>
        </p:spPr>
        <p:txBody>
          <a:bodyPr lIns="0" tIns="0" rIns="90000" bIns="0"/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59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81AFEDCA-5DFA-4012-BB79-36C20DA068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1835728"/>
            <a:ext cx="3366654" cy="1593273"/>
          </a:xfrm>
          <a:prstGeom prst="rect">
            <a:avLst/>
          </a:prstGeom>
        </p:spPr>
        <p:txBody>
          <a:bodyPr rIns="90000">
            <a:noAutofit/>
          </a:bodyPr>
          <a:lstStyle>
            <a:lvl1pPr>
              <a:lnSpc>
                <a:spcPct val="90000"/>
              </a:lnSpc>
              <a:defRPr sz="2793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Title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622508040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 - Grey -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">
            <a:extLst>
              <a:ext uri="{FF2B5EF4-FFF2-40B4-BE49-F238E27FC236}">
                <a16:creationId xmlns:a16="http://schemas.microsoft.com/office/drawing/2014/main" id="{1C43E271-585A-4BE6-84C9-3787B822945E}"/>
              </a:ext>
            </a:extLst>
          </p:cNvPr>
          <p:cNvSpPr/>
          <p:nvPr userDrawn="1"/>
        </p:nvSpPr>
        <p:spPr>
          <a:xfrm>
            <a:off x="1" y="2"/>
            <a:ext cx="4038600" cy="6857999"/>
          </a:xfrm>
          <a:prstGeom prst="rect">
            <a:avLst/>
          </a:prstGeom>
          <a:solidFill>
            <a:srgbClr val="E7E6E6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sz="2044"/>
          </a:p>
        </p:txBody>
      </p:sp>
      <p:sp>
        <p:nvSpPr>
          <p:cNvPr id="32" name="Picture">
            <a:extLst>
              <a:ext uri="{FF2B5EF4-FFF2-40B4-BE49-F238E27FC236}">
                <a16:creationId xmlns:a16="http://schemas.microsoft.com/office/drawing/2014/main" id="{39F11821-AA67-4060-B15D-39AF24F84A0A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8118650" y="3911784"/>
            <a:ext cx="3616150" cy="2489017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31" name="Picture 3">
            <a:extLst>
              <a:ext uri="{FF2B5EF4-FFF2-40B4-BE49-F238E27FC236}">
                <a16:creationId xmlns:a16="http://schemas.microsoft.com/office/drawing/2014/main" id="{582FADF7-91E6-4D59-824E-D7C91892DE76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4272396" y="3911784"/>
            <a:ext cx="3614305" cy="2489017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30" name="Picture 2">
            <a:extLst>
              <a:ext uri="{FF2B5EF4-FFF2-40B4-BE49-F238E27FC236}">
                <a16:creationId xmlns:a16="http://schemas.microsoft.com/office/drawing/2014/main" id="{D1497D1D-8DDA-46ED-9AAA-C6409024458F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8118650" y="1172184"/>
            <a:ext cx="3616150" cy="2485417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29" name="Picture 1">
            <a:extLst>
              <a:ext uri="{FF2B5EF4-FFF2-40B4-BE49-F238E27FC236}">
                <a16:creationId xmlns:a16="http://schemas.microsoft.com/office/drawing/2014/main" id="{8C235B91-4797-43F7-8F13-21FB1A4CEC4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272396" y="1172184"/>
            <a:ext cx="3614305" cy="2485417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36" name="Black 75%">
            <a:extLst>
              <a:ext uri="{FF2B5EF4-FFF2-40B4-BE49-F238E27FC236}">
                <a16:creationId xmlns:a16="http://schemas.microsoft.com/office/drawing/2014/main" id="{89B3C345-CCD2-427A-9120-355642E4685F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118650" y="3911783"/>
            <a:ext cx="3616150" cy="457200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lIns="180000" tIns="72000" rIns="108000" bIns="72000" anchor="ctr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19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35" name="Black 75%">
            <a:extLst>
              <a:ext uri="{FF2B5EF4-FFF2-40B4-BE49-F238E27FC236}">
                <a16:creationId xmlns:a16="http://schemas.microsoft.com/office/drawing/2014/main" id="{81F625FD-FEE8-47A3-83CA-95135454D49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272395" y="3911783"/>
            <a:ext cx="3614400" cy="457200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lIns="180000" tIns="72000" rIns="108000" bIns="72000" anchor="ctr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19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34" name="Black 75%">
            <a:extLst>
              <a:ext uri="{FF2B5EF4-FFF2-40B4-BE49-F238E27FC236}">
                <a16:creationId xmlns:a16="http://schemas.microsoft.com/office/drawing/2014/main" id="{C7692E10-A346-40D5-9458-137C1055E38B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118650" y="1172183"/>
            <a:ext cx="3616150" cy="457200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lIns="180000" tIns="72000" rIns="108000" bIns="72000" anchor="ctr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19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33" name="Black 75%">
            <a:extLst>
              <a:ext uri="{FF2B5EF4-FFF2-40B4-BE49-F238E27FC236}">
                <a16:creationId xmlns:a16="http://schemas.microsoft.com/office/drawing/2014/main" id="{74F675E8-FF32-4780-A183-9C810B82E8C2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272395" y="1172183"/>
            <a:ext cx="3614400" cy="457200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lIns="180000" tIns="72000" rIns="108000" bIns="72000" anchor="ctr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19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19" name="Text">
            <a:extLst>
              <a:ext uri="{FF2B5EF4-FFF2-40B4-BE49-F238E27FC236}">
                <a16:creationId xmlns:a16="http://schemas.microsoft.com/office/drawing/2014/main" id="{F68EE003-0251-496B-8C8B-76B18E7545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3657600"/>
            <a:ext cx="3366655" cy="1600200"/>
          </a:xfrm>
          <a:prstGeom prst="rect">
            <a:avLst/>
          </a:prstGeom>
        </p:spPr>
        <p:txBody>
          <a:bodyPr lIns="0" tIns="0" rIns="90000" bIns="0"/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59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81AFEDCA-5DFA-4012-BB79-36C20DA068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1835728"/>
            <a:ext cx="3366654" cy="1593273"/>
          </a:xfrm>
          <a:prstGeom prst="rect">
            <a:avLst/>
          </a:prstGeom>
        </p:spPr>
        <p:txBody>
          <a:bodyPr rIns="90000">
            <a:noAutofit/>
          </a:bodyPr>
          <a:lstStyle>
            <a:lvl1pPr>
              <a:lnSpc>
                <a:spcPct val="90000"/>
              </a:lnSpc>
              <a:defRPr sz="2793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Title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2931427684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 - Grey - six - Head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6">
            <a:extLst>
              <a:ext uri="{FF2B5EF4-FFF2-40B4-BE49-F238E27FC236}">
                <a16:creationId xmlns:a16="http://schemas.microsoft.com/office/drawing/2014/main" id="{4066E290-DAC3-4CDF-947E-785E6D08DE5A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8118650" y="4118256"/>
            <a:ext cx="3616150" cy="2282544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19" name="Picture 5">
            <a:extLst>
              <a:ext uri="{FF2B5EF4-FFF2-40B4-BE49-F238E27FC236}">
                <a16:creationId xmlns:a16="http://schemas.microsoft.com/office/drawing/2014/main" id="{A1EC75F2-23A2-4BFD-B783-94B35BE53813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4272396" y="4118256"/>
            <a:ext cx="3614305" cy="2282544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18" name="Picture 4">
            <a:extLst>
              <a:ext uri="{FF2B5EF4-FFF2-40B4-BE49-F238E27FC236}">
                <a16:creationId xmlns:a16="http://schemas.microsoft.com/office/drawing/2014/main" id="{E5B36E19-E74E-44D4-AAE2-80B5833C11DC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457200" y="4118256"/>
            <a:ext cx="3581400" cy="2282544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17" name="Picture 3">
            <a:extLst>
              <a:ext uri="{FF2B5EF4-FFF2-40B4-BE49-F238E27FC236}">
                <a16:creationId xmlns:a16="http://schemas.microsoft.com/office/drawing/2014/main" id="{DCE37A6A-E264-448D-821B-EA8188E0BFAB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8118650" y="1614623"/>
            <a:ext cx="3616150" cy="22680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16" name="Picture 2">
            <a:extLst>
              <a:ext uri="{FF2B5EF4-FFF2-40B4-BE49-F238E27FC236}">
                <a16:creationId xmlns:a16="http://schemas.microsoft.com/office/drawing/2014/main" id="{0C9565E3-8169-4BED-850B-2B62ED7192F6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272396" y="1614623"/>
            <a:ext cx="3614305" cy="22680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15" name="Picture 1">
            <a:extLst>
              <a:ext uri="{FF2B5EF4-FFF2-40B4-BE49-F238E27FC236}">
                <a16:creationId xmlns:a16="http://schemas.microsoft.com/office/drawing/2014/main" id="{152B87C5-A38A-4CEC-9363-FA3DF97D93AE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457200" y="1614623"/>
            <a:ext cx="3581400" cy="22680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30" name="Black 75%">
            <a:extLst>
              <a:ext uri="{FF2B5EF4-FFF2-40B4-BE49-F238E27FC236}">
                <a16:creationId xmlns:a16="http://schemas.microsoft.com/office/drawing/2014/main" id="{A9D9D95C-BF31-4F41-B637-B6D864DFD2A4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118650" y="4118256"/>
            <a:ext cx="3616150" cy="457200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lIns="180000" tIns="72000" rIns="108000" bIns="72000" anchor="ctr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19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29" name="Black 75%">
            <a:extLst>
              <a:ext uri="{FF2B5EF4-FFF2-40B4-BE49-F238E27FC236}">
                <a16:creationId xmlns:a16="http://schemas.microsoft.com/office/drawing/2014/main" id="{695DB2F9-AE36-4D5D-91A4-09561A6518C7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272395" y="4118256"/>
            <a:ext cx="3619500" cy="457200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lIns="180000" tIns="72000" rIns="108000" bIns="72000" anchor="ctr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19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28" name="Black 75%">
            <a:extLst>
              <a:ext uri="{FF2B5EF4-FFF2-40B4-BE49-F238E27FC236}">
                <a16:creationId xmlns:a16="http://schemas.microsoft.com/office/drawing/2014/main" id="{01EBFCA7-5EFA-48CA-87E7-9E2A3E6BC82A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457200" y="4118256"/>
            <a:ext cx="3581400" cy="457200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lIns="180000" tIns="72000" rIns="108000" bIns="72000" anchor="ctr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19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24" name="Black 75%">
            <a:extLst>
              <a:ext uri="{FF2B5EF4-FFF2-40B4-BE49-F238E27FC236}">
                <a16:creationId xmlns:a16="http://schemas.microsoft.com/office/drawing/2014/main" id="{9CA541BE-9A2B-4C0F-8454-62AC1ED8C426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118650" y="1614623"/>
            <a:ext cx="3616150" cy="457200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lIns="180000" tIns="72000" rIns="108000" bIns="72000" anchor="ctr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19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23" name="Black 75%">
            <a:extLst>
              <a:ext uri="{FF2B5EF4-FFF2-40B4-BE49-F238E27FC236}">
                <a16:creationId xmlns:a16="http://schemas.microsoft.com/office/drawing/2014/main" id="{6EAEDC6B-6D74-4AC7-9E3D-E68E224694B3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272395" y="1614623"/>
            <a:ext cx="3619500" cy="457200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lIns="180000" tIns="72000" rIns="108000" bIns="72000" anchor="ctr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19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22" name="Black 75%">
            <a:extLst>
              <a:ext uri="{FF2B5EF4-FFF2-40B4-BE49-F238E27FC236}">
                <a16:creationId xmlns:a16="http://schemas.microsoft.com/office/drawing/2014/main" id="{2A9449AA-F10E-4A2A-9068-E31DB60DFF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614623"/>
            <a:ext cx="3581401" cy="457200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lIns="180000" tIns="72000" rIns="108000" bIns="72000" anchor="ctr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19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36DD216A-3F86-416E-97A8-863CDB4BBD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2"/>
            <a:ext cx="11277600" cy="6857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Title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1680592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8">
          <p15:clr>
            <a:srgbClr val="FBAE40"/>
          </p15:clr>
        </p15:guide>
        <p15:guide id="2" orient="horz" pos="4133">
          <p15:clr>
            <a:srgbClr val="FBAE40"/>
          </p15:clr>
        </p15:guide>
        <p15:guide id="3" pos="5602">
          <p15:clr>
            <a:srgbClr val="FBAE4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 - Grey - six full - Head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6">
            <a:extLst>
              <a:ext uri="{FF2B5EF4-FFF2-40B4-BE49-F238E27FC236}">
                <a16:creationId xmlns:a16="http://schemas.microsoft.com/office/drawing/2014/main" id="{BDBA2422-9C61-4FA6-9118-40C9E7A9064C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8118392" y="3561410"/>
            <a:ext cx="3616407" cy="28404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16" name="Picture 5">
            <a:extLst>
              <a:ext uri="{FF2B5EF4-FFF2-40B4-BE49-F238E27FC236}">
                <a16:creationId xmlns:a16="http://schemas.microsoft.com/office/drawing/2014/main" id="{AEEC67A3-471A-4C10-BA44-C72FEFFAC2ED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4270014" y="3561410"/>
            <a:ext cx="3616686" cy="28404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15" name="Picture 4">
            <a:extLst>
              <a:ext uri="{FF2B5EF4-FFF2-40B4-BE49-F238E27FC236}">
                <a16:creationId xmlns:a16="http://schemas.microsoft.com/office/drawing/2014/main" id="{163530AA-99F4-4276-98F5-6489975341F2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454819" y="3561410"/>
            <a:ext cx="3584400" cy="28404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14" name="Picture 3">
            <a:extLst>
              <a:ext uri="{FF2B5EF4-FFF2-40B4-BE49-F238E27FC236}">
                <a16:creationId xmlns:a16="http://schemas.microsoft.com/office/drawing/2014/main" id="{85942F0E-C849-47CA-8EBC-C32EDFA83B20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8118392" y="462740"/>
            <a:ext cx="3616407" cy="28404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13" name="Picture 2">
            <a:extLst>
              <a:ext uri="{FF2B5EF4-FFF2-40B4-BE49-F238E27FC236}">
                <a16:creationId xmlns:a16="http://schemas.microsoft.com/office/drawing/2014/main" id="{4B969F2A-7321-4220-AAA5-C9E4EDE1596F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270014" y="462740"/>
            <a:ext cx="3616686" cy="28404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12" name="Picture 1">
            <a:extLst>
              <a:ext uri="{FF2B5EF4-FFF2-40B4-BE49-F238E27FC236}">
                <a16:creationId xmlns:a16="http://schemas.microsoft.com/office/drawing/2014/main" id="{F00398EA-AF95-40A0-80DA-7CF99E8526B6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454819" y="462740"/>
            <a:ext cx="3584400" cy="28404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24" name="Black 75%">
            <a:extLst>
              <a:ext uri="{FF2B5EF4-FFF2-40B4-BE49-F238E27FC236}">
                <a16:creationId xmlns:a16="http://schemas.microsoft.com/office/drawing/2014/main" id="{AC1A8735-A8A1-4ED1-90E3-F2CBF6870A6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118650" y="3561410"/>
            <a:ext cx="3616150" cy="457200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lIns="180000" tIns="72000" rIns="108000" bIns="72000" anchor="ctr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19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23" name="Black 75%">
            <a:extLst>
              <a:ext uri="{FF2B5EF4-FFF2-40B4-BE49-F238E27FC236}">
                <a16:creationId xmlns:a16="http://schemas.microsoft.com/office/drawing/2014/main" id="{80CC8FDB-0CB8-4C41-B6C0-840BFE50F06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272395" y="3561410"/>
            <a:ext cx="3619500" cy="457200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lIns="180000" tIns="72000" rIns="108000" bIns="72000" anchor="ctr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19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22" name="Black 75%">
            <a:extLst>
              <a:ext uri="{FF2B5EF4-FFF2-40B4-BE49-F238E27FC236}">
                <a16:creationId xmlns:a16="http://schemas.microsoft.com/office/drawing/2014/main" id="{A897C0E1-D527-48F7-A08F-FB473BADE0E5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457200" y="3561410"/>
            <a:ext cx="3581400" cy="457200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lIns="180000" tIns="72000" rIns="108000" bIns="72000" anchor="ctr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19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21" name="Black 75%">
            <a:extLst>
              <a:ext uri="{FF2B5EF4-FFF2-40B4-BE49-F238E27FC236}">
                <a16:creationId xmlns:a16="http://schemas.microsoft.com/office/drawing/2014/main" id="{99E17FCC-1336-43AB-8DA1-A24CF7E0C47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118650" y="462740"/>
            <a:ext cx="3616150" cy="457200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lIns="180000" tIns="72000" rIns="108000" bIns="72000" anchor="ctr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19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20" name="Black 75%">
            <a:extLst>
              <a:ext uri="{FF2B5EF4-FFF2-40B4-BE49-F238E27FC236}">
                <a16:creationId xmlns:a16="http://schemas.microsoft.com/office/drawing/2014/main" id="{765606BB-6F18-49DB-BD29-8C932E896522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272395" y="462740"/>
            <a:ext cx="3619500" cy="457200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lIns="180000" tIns="72000" rIns="108000" bIns="72000" anchor="ctr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19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19" name="Black 75%">
            <a:extLst>
              <a:ext uri="{FF2B5EF4-FFF2-40B4-BE49-F238E27FC236}">
                <a16:creationId xmlns:a16="http://schemas.microsoft.com/office/drawing/2014/main" id="{498E65B8-E1F0-4DD3-9855-D1FCE4A706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4820" y="462740"/>
            <a:ext cx="3581401" cy="457200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lIns="180000" tIns="72000" rIns="108000" bIns="72000" anchor="ctr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19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</p:spTree>
    <p:extLst>
      <p:ext uri="{BB962C8B-B14F-4D97-AF65-F5344CB8AC3E}">
        <p14:creationId xmlns:p14="http://schemas.microsoft.com/office/powerpoint/2010/main" val="26649142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3">
          <p15:clr>
            <a:srgbClr val="FBAE40"/>
          </p15:clr>
        </p15:guide>
        <p15:guide id="3" pos="560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F0A481-AFC3-4B48-A5A1-24BC5FA605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2199733660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and Divider - Text Style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6E7A677-451E-4572-B02E-6D99DF9053B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6200" y="457202"/>
            <a:ext cx="1498600" cy="228631"/>
          </a:xfrm>
          <a:prstGeom prst="rect">
            <a:avLst/>
          </a:prstGeom>
        </p:spPr>
      </p:pic>
      <p:sp>
        <p:nvSpPr>
          <p:cNvPr id="14" name="Title 13">
            <a:extLst>
              <a:ext uri="{FF2B5EF4-FFF2-40B4-BE49-F238E27FC236}">
                <a16:creationId xmlns:a16="http://schemas.microsoft.com/office/drawing/2014/main" id="{E053F12C-C080-4057-B936-8C04B6DFAE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143003"/>
            <a:ext cx="11277600" cy="914399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5586">
                <a:solidFill>
                  <a:schemeClr val="tx1"/>
                </a:solidFill>
              </a:defRPr>
            </a:lvl1pPr>
          </a:lstStyle>
          <a:p>
            <a:r>
              <a:rPr lang="en-US"/>
              <a:t>Large Cover Title 56 (4 x body)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36FC3B7-CE63-45A8-AF2C-CCB25DA9F1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66925"/>
            <a:ext cx="11277600" cy="4572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419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edium Cover Title 42 (3 x body)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BDC4F72B-E736-4083-BE66-D466263257F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2754630"/>
            <a:ext cx="11277600" cy="4572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3491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mall Cover Title 35 (2.5 x body)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E5723794-4E50-48A6-BA6C-7CDB91BB63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3429000"/>
            <a:ext cx="112776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2095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arge Cover Subtitle 21 (1.5 x body)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60CA5305-0A60-41DB-809C-6E372BA944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3897630"/>
            <a:ext cx="112776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1596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mall Cover Subtitle 16</a:t>
            </a:r>
          </a:p>
        </p:txBody>
      </p:sp>
    </p:spTree>
    <p:extLst>
      <p:ext uri="{BB962C8B-B14F-4D97-AF65-F5344CB8AC3E}">
        <p14:creationId xmlns:p14="http://schemas.microsoft.com/office/powerpoint/2010/main" val="4217703665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slides - Text Style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6E7A677-451E-4572-B02E-6D99DF9053B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6200" y="457202"/>
            <a:ext cx="1498600" cy="228631"/>
          </a:xfrm>
          <a:prstGeom prst="rect">
            <a:avLst/>
          </a:prstGeom>
        </p:spPr>
      </p:pic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36FC3B7-CE63-45A8-AF2C-CCB25DA9F1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149927"/>
            <a:ext cx="11277600" cy="4572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419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arge Headline 42 (3x std body)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BDC4F72B-E736-4083-BE66-D466263257F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828801"/>
            <a:ext cx="11277600" cy="447675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2793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edium Headline 28 (2x std body)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E5723794-4E50-48A6-BA6C-7CDB91BB63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514600"/>
            <a:ext cx="11277600" cy="4572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2095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mall Headline 21 (1.5x std body)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60CA5305-0A60-41DB-809C-6E372BA944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3657600"/>
            <a:ext cx="45720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1795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tro paragraph or X-Large body 18</a:t>
            </a:r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9B6C8AA7-E793-47B6-97BB-D31CDD59239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5029200"/>
            <a:ext cx="45720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1596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tandard Sub-title or Large body size 16</a:t>
            </a:r>
          </a:p>
        </p:txBody>
      </p:sp>
      <p:sp>
        <p:nvSpPr>
          <p:cNvPr id="21" name="Text Placeholder 16">
            <a:extLst>
              <a:ext uri="{FF2B5EF4-FFF2-40B4-BE49-F238E27FC236}">
                <a16:creationId xmlns:a16="http://schemas.microsoft.com/office/drawing/2014/main" id="{BE63786F-4A2A-4D5C-8FC7-0BFD8A9B52D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0300" y="3657600"/>
            <a:ext cx="45720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1397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tandard body size 14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C7D847D9-DB3C-4BCE-B36E-39F419E4F62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0300" y="5257800"/>
            <a:ext cx="45720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inimum body size 12</a:t>
            </a:r>
          </a:p>
        </p:txBody>
      </p:sp>
      <p:sp>
        <p:nvSpPr>
          <p:cNvPr id="23" name="Text Placeholder 16">
            <a:extLst>
              <a:ext uri="{FF2B5EF4-FFF2-40B4-BE49-F238E27FC236}">
                <a16:creationId xmlns:a16="http://schemas.microsoft.com/office/drawing/2014/main" id="{F506D4C5-287B-40E8-9244-1F03842F094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10300" y="4114800"/>
            <a:ext cx="4572000" cy="685800"/>
          </a:xfrm>
          <a:prstGeom prst="rect">
            <a:avLst/>
          </a:prstGeom>
        </p:spPr>
        <p:txBody>
          <a:bodyPr lIns="0" tIns="0" rIns="0" bIns="0"/>
          <a:lstStyle>
            <a:lvl1pPr marL="269325" indent="-269325">
              <a:spcBef>
                <a:spcPts val="299"/>
              </a:spcBef>
              <a:spcAft>
                <a:spcPts val="599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397" b="0">
                <a:solidFill>
                  <a:schemeClr val="tx1"/>
                </a:solidFill>
              </a:defRPr>
            </a:lvl1pPr>
            <a:lvl2pPr marL="538650" indent="-269325">
              <a:buFont typeface="Arial" panose="020B0604020202020204" pitchFamily="34" charset="0"/>
              <a:buChar char="−"/>
              <a:defRPr/>
            </a:lvl2pPr>
          </a:lstStyle>
          <a:p>
            <a:pPr lvl="0"/>
            <a:r>
              <a:rPr lang="en-US"/>
              <a:t>Standard bullet 14</a:t>
            </a:r>
          </a:p>
          <a:p>
            <a:pPr lvl="1"/>
            <a:r>
              <a:rPr lang="en-US"/>
              <a:t>Second level standard bullet 14</a:t>
            </a:r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id="{C98EA915-7041-4CAE-BD2D-3AB6410C83C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7200" y="4114800"/>
            <a:ext cx="4572000" cy="685800"/>
          </a:xfrm>
          <a:prstGeom prst="rect">
            <a:avLst/>
          </a:prstGeom>
        </p:spPr>
        <p:txBody>
          <a:bodyPr lIns="0" tIns="0" rIns="0" bIns="0"/>
          <a:lstStyle>
            <a:lvl1pPr marL="269325" indent="-269325">
              <a:spcBef>
                <a:spcPts val="299"/>
              </a:spcBef>
              <a:spcAft>
                <a:spcPts val="599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795" b="0">
                <a:solidFill>
                  <a:schemeClr val="tx1"/>
                </a:solidFill>
              </a:defRPr>
            </a:lvl1pPr>
            <a:lvl2pPr marL="538650" indent="-269325">
              <a:buFont typeface="Arial" panose="020B0604020202020204" pitchFamily="34" charset="0"/>
              <a:buChar char="−"/>
              <a:defRPr sz="1795"/>
            </a:lvl2pPr>
          </a:lstStyle>
          <a:p>
            <a:pPr lvl="0"/>
            <a:r>
              <a:rPr lang="en-US"/>
              <a:t>X-Large bullet 18</a:t>
            </a:r>
          </a:p>
          <a:p>
            <a:pPr lvl="1"/>
            <a:r>
              <a:rPr lang="en-US"/>
              <a:t>Second level X-Large bullet 18</a:t>
            </a:r>
          </a:p>
        </p:txBody>
      </p:sp>
      <p:sp>
        <p:nvSpPr>
          <p:cNvPr id="25" name="Text Placeholder 16">
            <a:extLst>
              <a:ext uri="{FF2B5EF4-FFF2-40B4-BE49-F238E27FC236}">
                <a16:creationId xmlns:a16="http://schemas.microsoft.com/office/drawing/2014/main" id="{78F1FE68-338B-404A-A61C-DFCB3E450ED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7200" y="5486400"/>
            <a:ext cx="4572000" cy="685800"/>
          </a:xfrm>
          <a:prstGeom prst="rect">
            <a:avLst/>
          </a:prstGeom>
        </p:spPr>
        <p:txBody>
          <a:bodyPr lIns="0" tIns="0" rIns="0" bIns="0"/>
          <a:lstStyle>
            <a:lvl1pPr marL="269325" indent="-269325">
              <a:spcBef>
                <a:spcPts val="299"/>
              </a:spcBef>
              <a:spcAft>
                <a:spcPts val="599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96" b="0">
                <a:solidFill>
                  <a:schemeClr val="tx1"/>
                </a:solidFill>
              </a:defRPr>
            </a:lvl1pPr>
            <a:lvl2pPr marL="538650" indent="-269325">
              <a:buFont typeface="Arial" panose="020B0604020202020204" pitchFamily="34" charset="0"/>
              <a:buChar char="−"/>
              <a:defRPr sz="1596"/>
            </a:lvl2pPr>
          </a:lstStyle>
          <a:p>
            <a:pPr lvl="0"/>
            <a:r>
              <a:rPr lang="en-US"/>
              <a:t>Large bullet 16</a:t>
            </a:r>
          </a:p>
          <a:p>
            <a:pPr lvl="1"/>
            <a:r>
              <a:rPr lang="en-US"/>
              <a:t>Second level Large bullet 16</a:t>
            </a:r>
          </a:p>
        </p:txBody>
      </p:sp>
    </p:spTree>
    <p:extLst>
      <p:ext uri="{BB962C8B-B14F-4D97-AF65-F5344CB8AC3E}">
        <p14:creationId xmlns:p14="http://schemas.microsoft.com/office/powerpoint/2010/main" val="2724476903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ox grey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">
            <a:extLst>
              <a:ext uri="{FF2B5EF4-FFF2-40B4-BE49-F238E27FC236}">
                <a16:creationId xmlns:a16="http://schemas.microsoft.com/office/drawing/2014/main" id="{BE941159-1099-46F8-9BF4-DDEE5B4EB2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70501" y="931389"/>
            <a:ext cx="6476999" cy="5469411"/>
          </a:xfrm>
        </p:spPr>
        <p:txBody>
          <a:bodyPr lIns="0" tIns="0"/>
          <a:lstStyle>
            <a:lvl1pPr>
              <a:defRPr b="0">
                <a:solidFill>
                  <a:schemeClr val="tx1"/>
                </a:solidFill>
              </a:defRPr>
            </a:lvl1pPr>
            <a:lvl2pPr>
              <a:defRPr b="0">
                <a:solidFill>
                  <a:schemeClr val="tx1"/>
                </a:solidFill>
              </a:defRPr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0">
                <a:solidFill>
                  <a:schemeClr val="tx1"/>
                </a:solidFill>
              </a:defRPr>
            </a:lvl4pPr>
            <a:lvl5pPr>
              <a:defRPr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tangle">
            <a:extLst>
              <a:ext uri="{FF2B5EF4-FFF2-40B4-BE49-F238E27FC236}">
                <a16:creationId xmlns:a16="http://schemas.microsoft.com/office/drawing/2014/main" id="{1C43E271-585A-4BE6-84C9-3787B822945E}"/>
              </a:ext>
            </a:extLst>
          </p:cNvPr>
          <p:cNvSpPr/>
          <p:nvPr userDrawn="1"/>
        </p:nvSpPr>
        <p:spPr>
          <a:xfrm>
            <a:off x="0" y="2"/>
            <a:ext cx="5029200" cy="6857999"/>
          </a:xfrm>
          <a:prstGeom prst="rect">
            <a:avLst/>
          </a:prstGeom>
          <a:solidFill>
            <a:srgbClr val="E7E6E6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sz="2044"/>
          </a:p>
        </p:txBody>
      </p:sp>
      <p:sp>
        <p:nvSpPr>
          <p:cNvPr id="9" name="Text Box">
            <a:extLst>
              <a:ext uri="{FF2B5EF4-FFF2-40B4-BE49-F238E27FC236}">
                <a16:creationId xmlns:a16="http://schemas.microsoft.com/office/drawing/2014/main" id="{19AF6AE8-D2B1-4EB5-BBB4-9077B1F7CB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2" y="4114800"/>
            <a:ext cx="4378036" cy="228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>
                <a:schemeClr val="bg1"/>
              </a:buClr>
              <a:buFont typeface="Arial" panose="020B0604020202020204" pitchFamily="34" charset="0"/>
              <a:buNone/>
              <a:defRPr sz="1795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55ECC8B-4B56-4777-97FD-BF1D9B8F06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2" y="914400"/>
            <a:ext cx="4378036" cy="2743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sz="419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2415156129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914402"/>
            <a:ext cx="11277600" cy="6857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/>
              <a:t>Add 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477756"/>
            <a:ext cx="10750551" cy="609398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195"/>
            </a:lvl1pPr>
            <a:lvl5pPr>
              <a:defRPr/>
            </a:lvl5pPr>
          </a:lstStyle>
          <a:p>
            <a:pPr lvl="0"/>
            <a:r>
              <a:rPr lang="de-DE"/>
              <a:t>Add </a:t>
            </a:r>
            <a:r>
              <a:rPr lang="de-DE" err="1"/>
              <a:t>subtitle</a:t>
            </a:r>
            <a:endParaRPr lang="de-DE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6F673441-12B2-489B-A373-1B906D25AFCA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1" y="1884218"/>
            <a:ext cx="12192000" cy="4433782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88477608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41E13EA1-B53E-41EE-ABF5-5AFD0DF1F2D3}"/>
              </a:ext>
            </a:extLst>
          </p:cNvPr>
          <p:cNvSpPr/>
          <p:nvPr userDrawn="1"/>
        </p:nvSpPr>
        <p:spPr>
          <a:xfrm>
            <a:off x="-1" y="0"/>
            <a:ext cx="11112138" cy="6858000"/>
          </a:xfrm>
          <a:prstGeom prst="rect">
            <a:avLst/>
          </a:prstGeom>
          <a:gradFill flip="none" rotWithShape="1">
            <a:gsLst>
              <a:gs pos="2000">
                <a:schemeClr val="accent1">
                  <a:lumMod val="0"/>
                  <a:alpha val="0"/>
                </a:schemeClr>
              </a:gs>
              <a:gs pos="54000">
                <a:schemeClr val="tx1">
                  <a:lumMod val="97000"/>
                  <a:alpha val="72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03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H" sz="1774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Logo_Black">
            <a:extLst>
              <a:ext uri="{FF2B5EF4-FFF2-40B4-BE49-F238E27FC236}">
                <a16:creationId xmlns:a16="http://schemas.microsoft.com/office/drawing/2014/main" id="{694D2111-ABA7-4B6F-8021-F2675988103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6200" y="457202"/>
            <a:ext cx="1498600" cy="228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2717767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6E7A677-451E-4572-B02E-6D99DF9053B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6200" y="457202"/>
            <a:ext cx="1498600" cy="228631"/>
          </a:xfrm>
          <a:prstGeom prst="rect">
            <a:avLst/>
          </a:prstGeom>
        </p:spPr>
      </p:pic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36FC3B7-CE63-45A8-AF2C-CCB25DA9F1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286000"/>
            <a:ext cx="11277600" cy="1371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0"/>
              </a:spcAft>
              <a:defRPr sz="558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Presentation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E5723794-4E50-48A6-BA6C-7CDB91BB63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4103370"/>
            <a:ext cx="112776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2095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60CA5305-0A60-41DB-809C-6E372BA944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4572000"/>
            <a:ext cx="112776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1596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025531206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&#10;">
            <a:extLst>
              <a:ext uri="{FF2B5EF4-FFF2-40B4-BE49-F238E27FC236}">
                <a16:creationId xmlns:a16="http://schemas.microsoft.com/office/drawing/2014/main" id="{6BC105F6-BAC8-4C89-90B4-493E1EEC52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6201" y="457201"/>
            <a:ext cx="1496045" cy="228600"/>
          </a:xfrm>
          <a:prstGeom prst="rect">
            <a:avLst/>
          </a:prstGeom>
        </p:spPr>
      </p:pic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36FC3B7-CE63-45A8-AF2C-CCB25DA9F1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286000"/>
            <a:ext cx="11277600" cy="1371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5586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E5723794-4E50-48A6-BA6C-7CDB91BB63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4103370"/>
            <a:ext cx="112776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2095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60CA5305-0A60-41DB-809C-6E372BA944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4572000"/>
            <a:ext cx="112776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1596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826889942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Image-l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2B95FE4-F082-4D42-AA27-BEF50E823B3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 tIns="91440" bIns="91440" anchor="b"/>
          <a:lstStyle>
            <a:lvl1pPr algn="r">
              <a:defRPr sz="1097">
                <a:solidFill>
                  <a:schemeClr val="bg2"/>
                </a:solidFill>
              </a:defRPr>
            </a:lvl1pPr>
          </a:lstStyle>
          <a:p>
            <a:r>
              <a:rPr lang="en-US" sz="998"/>
              <a:t>Click on the icon to insert an image &gt; Right Click &gt; Send to Back</a:t>
            </a:r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36FC3B7-CE63-45A8-AF2C-CCB25DA9F1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286000"/>
            <a:ext cx="11277600" cy="1371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558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Image-led cover title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E5723794-4E50-48A6-BA6C-7CDB91BB63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4103370"/>
            <a:ext cx="112776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2095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60CA5305-0A60-41DB-809C-6E372BA944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4572000"/>
            <a:ext cx="112776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1596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8905924-A12C-46E2-8B7D-627E1AA76C2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6200" y="457202"/>
            <a:ext cx="1498600" cy="228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3892583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Image led - rever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EA838925-91C9-41A6-B2D7-CA69C6DFF5D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 tIns="91440" bIns="91440" anchor="b"/>
          <a:lstStyle>
            <a:lvl1pPr algn="r">
              <a:defRPr sz="998">
                <a:solidFill>
                  <a:schemeClr val="bg2"/>
                </a:solidFill>
              </a:defRPr>
            </a:lvl1pPr>
          </a:lstStyle>
          <a:p>
            <a:r>
              <a:rPr lang="en-US" sz="998"/>
              <a:t>Click on the icon to insert an image &gt; Right Click &gt; Send to Back</a:t>
            </a:r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36FC3B7-CE63-45A8-AF2C-CCB25DA9F1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286000"/>
            <a:ext cx="11277600" cy="1371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5586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mage-led cover title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E5723794-4E50-48A6-BA6C-7CDB91BB63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4103370"/>
            <a:ext cx="112776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2095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60CA5305-0A60-41DB-809C-6E372BA944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4572000"/>
            <a:ext cx="112776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1596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8" name="Picture 7" descr="&#10;">
            <a:extLst>
              <a:ext uri="{FF2B5EF4-FFF2-40B4-BE49-F238E27FC236}">
                <a16:creationId xmlns:a16="http://schemas.microsoft.com/office/drawing/2014/main" id="{94F4405A-F7CA-CF44-A963-4ABC4EBB81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6201" y="457201"/>
            <a:ext cx="1496045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5544595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Image-led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96BE32A-F5EC-4F7B-8C63-941D64A724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197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 to insert an image &gt; Right Click &gt;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8EA2F65-C185-447C-ACCA-99B8A1EB92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971803"/>
            <a:ext cx="4572000" cy="137159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190">
                <a:solidFill>
                  <a:schemeClr val="bg1"/>
                </a:solidFill>
              </a:defRPr>
            </a:lvl1pPr>
          </a:lstStyle>
          <a:p>
            <a:r>
              <a:rPr lang="en-US"/>
              <a:t>Image-led cover title</a:t>
            </a:r>
            <a:endParaRPr lang="en-PH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48109ABF-016F-4E47-9261-744ED08100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4814455"/>
            <a:ext cx="45720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2095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Presentation Subtitle 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A670293C-AB2F-4468-BF52-B377EE380E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5257800"/>
            <a:ext cx="45720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159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 2020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068BC22-87BE-4D4F-9E34-A49425AC615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6200" y="457202"/>
            <a:ext cx="1498600" cy="228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38429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5F5C152-64E0-4959-AA3F-AE38857786E6}"/>
              </a:ext>
            </a:extLst>
          </p:cNvPr>
          <p:cNvCxnSpPr>
            <a:cxnSpLocks/>
          </p:cNvCxnSpPr>
          <p:nvPr userDrawn="1"/>
        </p:nvCxnSpPr>
        <p:spPr>
          <a:xfrm>
            <a:off x="457993" y="0"/>
            <a:ext cx="0" cy="6858000"/>
          </a:xfrm>
          <a:prstGeom prst="line">
            <a:avLst/>
          </a:prstGeom>
          <a:ln w="6350" cmpd="sng">
            <a:solidFill>
              <a:schemeClr val="tx2">
                <a:lumMod val="20000"/>
                <a:lumOff val="80000"/>
              </a:schemeClr>
            </a:solidFill>
            <a:headEnd type="none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ubtitle 17">
            <a:extLst>
              <a:ext uri="{FF2B5EF4-FFF2-40B4-BE49-F238E27FC236}">
                <a16:creationId xmlns:a16="http://schemas.microsoft.com/office/drawing/2014/main" id="{D55CED77-34F8-4619-8184-56DBEAD3D3E5}"/>
              </a:ext>
            </a:extLst>
          </p:cNvPr>
          <p:cNvSpPr txBox="1">
            <a:spLocks/>
          </p:cNvSpPr>
          <p:nvPr userDrawn="1"/>
        </p:nvSpPr>
        <p:spPr>
          <a:xfrm rot="16200000">
            <a:off x="-2200538" y="3310115"/>
            <a:ext cx="4859071" cy="237769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69875" indent="-269875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268288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9875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8080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8288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35" b="1">
                <a:solidFill>
                  <a:schemeClr val="accent1"/>
                </a:solidFill>
                <a:latin typeface="Arial" panose="020B0604020202020204" pitchFamily="34" charset="0"/>
              </a:rPr>
              <a:t>ARCADIS | </a:t>
            </a:r>
            <a:r>
              <a:rPr lang="en-US" sz="635" b="1" kern="120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+mn-cs"/>
              </a:rPr>
              <a:t>Consultancy Services for Developing a HKIE – Time to Change Roadmap</a:t>
            </a:r>
            <a:endParaRPr lang="en-GB" sz="635" b="1" kern="1200">
              <a:solidFill>
                <a:schemeClr val="bg2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2" name="Freeform: Shape 11">
            <a:hlinkClick r:id="" action="ppaction://noaction"/>
            <a:extLst>
              <a:ext uri="{FF2B5EF4-FFF2-40B4-BE49-F238E27FC236}">
                <a16:creationId xmlns:a16="http://schemas.microsoft.com/office/drawing/2014/main" id="{78F8ABBE-79F7-463D-9AD9-89BE8FD073D0}"/>
              </a:ext>
            </a:extLst>
          </p:cNvPr>
          <p:cNvSpPr>
            <a:spLocks/>
          </p:cNvSpPr>
          <p:nvPr userDrawn="1"/>
        </p:nvSpPr>
        <p:spPr bwMode="auto">
          <a:xfrm>
            <a:off x="116866" y="194376"/>
            <a:ext cx="224266" cy="155536"/>
          </a:xfrm>
          <a:custGeom>
            <a:avLst/>
            <a:gdLst>
              <a:gd name="connsiteX0" fmla="*/ 12195 w 268288"/>
              <a:gd name="connsiteY0" fmla="*/ 147637 h 171450"/>
              <a:gd name="connsiteX1" fmla="*/ 256093 w 268288"/>
              <a:gd name="connsiteY1" fmla="*/ 147637 h 171450"/>
              <a:gd name="connsiteX2" fmla="*/ 268288 w 268288"/>
              <a:gd name="connsiteY2" fmla="*/ 159544 h 171450"/>
              <a:gd name="connsiteX3" fmla="*/ 256093 w 268288"/>
              <a:gd name="connsiteY3" fmla="*/ 171450 h 171450"/>
              <a:gd name="connsiteX4" fmla="*/ 12195 w 268288"/>
              <a:gd name="connsiteY4" fmla="*/ 171450 h 171450"/>
              <a:gd name="connsiteX5" fmla="*/ 0 w 268288"/>
              <a:gd name="connsiteY5" fmla="*/ 159544 h 171450"/>
              <a:gd name="connsiteX6" fmla="*/ 12195 w 268288"/>
              <a:gd name="connsiteY6" fmla="*/ 147637 h 171450"/>
              <a:gd name="connsiteX7" fmla="*/ 12195 w 268288"/>
              <a:gd name="connsiteY7" fmla="*/ 73025 h 171450"/>
              <a:gd name="connsiteX8" fmla="*/ 256093 w 268288"/>
              <a:gd name="connsiteY8" fmla="*/ 73025 h 171450"/>
              <a:gd name="connsiteX9" fmla="*/ 268288 w 268288"/>
              <a:gd name="connsiteY9" fmla="*/ 85725 h 171450"/>
              <a:gd name="connsiteX10" fmla="*/ 256093 w 268288"/>
              <a:gd name="connsiteY10" fmla="*/ 98425 h 171450"/>
              <a:gd name="connsiteX11" fmla="*/ 12195 w 268288"/>
              <a:gd name="connsiteY11" fmla="*/ 98425 h 171450"/>
              <a:gd name="connsiteX12" fmla="*/ 0 w 268288"/>
              <a:gd name="connsiteY12" fmla="*/ 85725 h 171450"/>
              <a:gd name="connsiteX13" fmla="*/ 12195 w 268288"/>
              <a:gd name="connsiteY13" fmla="*/ 73025 h 171450"/>
              <a:gd name="connsiteX14" fmla="*/ 12195 w 268288"/>
              <a:gd name="connsiteY14" fmla="*/ 0 h 171450"/>
              <a:gd name="connsiteX15" fmla="*/ 256093 w 268288"/>
              <a:gd name="connsiteY15" fmla="*/ 0 h 171450"/>
              <a:gd name="connsiteX16" fmla="*/ 268288 w 268288"/>
              <a:gd name="connsiteY16" fmla="*/ 12700 h 171450"/>
              <a:gd name="connsiteX17" fmla="*/ 256093 w 268288"/>
              <a:gd name="connsiteY17" fmla="*/ 25400 h 171450"/>
              <a:gd name="connsiteX18" fmla="*/ 12195 w 268288"/>
              <a:gd name="connsiteY18" fmla="*/ 25400 h 171450"/>
              <a:gd name="connsiteX19" fmla="*/ 0 w 268288"/>
              <a:gd name="connsiteY19" fmla="*/ 12700 h 171450"/>
              <a:gd name="connsiteX20" fmla="*/ 12195 w 268288"/>
              <a:gd name="connsiteY20" fmla="*/ 0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68288" h="171450">
                <a:moveTo>
                  <a:pt x="12195" y="147637"/>
                </a:moveTo>
                <a:cubicBezTo>
                  <a:pt x="12195" y="147637"/>
                  <a:pt x="12195" y="147637"/>
                  <a:pt x="256093" y="147637"/>
                </a:cubicBezTo>
                <a:cubicBezTo>
                  <a:pt x="262191" y="147637"/>
                  <a:pt x="268288" y="153590"/>
                  <a:pt x="268288" y="159544"/>
                </a:cubicBezTo>
                <a:cubicBezTo>
                  <a:pt x="268288" y="165497"/>
                  <a:pt x="262191" y="171450"/>
                  <a:pt x="256093" y="171450"/>
                </a:cubicBezTo>
                <a:cubicBezTo>
                  <a:pt x="256093" y="171450"/>
                  <a:pt x="256093" y="171450"/>
                  <a:pt x="12195" y="171450"/>
                </a:cubicBezTo>
                <a:cubicBezTo>
                  <a:pt x="6097" y="171450"/>
                  <a:pt x="0" y="165497"/>
                  <a:pt x="0" y="159544"/>
                </a:cubicBezTo>
                <a:cubicBezTo>
                  <a:pt x="0" y="153590"/>
                  <a:pt x="6097" y="147637"/>
                  <a:pt x="12195" y="147637"/>
                </a:cubicBezTo>
                <a:close/>
                <a:moveTo>
                  <a:pt x="12195" y="73025"/>
                </a:moveTo>
                <a:cubicBezTo>
                  <a:pt x="12195" y="73025"/>
                  <a:pt x="12195" y="73025"/>
                  <a:pt x="256093" y="73025"/>
                </a:cubicBezTo>
                <a:cubicBezTo>
                  <a:pt x="262191" y="73025"/>
                  <a:pt x="268288" y="79375"/>
                  <a:pt x="268288" y="85725"/>
                </a:cubicBezTo>
                <a:cubicBezTo>
                  <a:pt x="268288" y="92075"/>
                  <a:pt x="262191" y="98425"/>
                  <a:pt x="256093" y="98425"/>
                </a:cubicBezTo>
                <a:cubicBezTo>
                  <a:pt x="256093" y="98425"/>
                  <a:pt x="256093" y="98425"/>
                  <a:pt x="12195" y="98425"/>
                </a:cubicBezTo>
                <a:cubicBezTo>
                  <a:pt x="6097" y="98425"/>
                  <a:pt x="0" y="92075"/>
                  <a:pt x="0" y="85725"/>
                </a:cubicBezTo>
                <a:cubicBezTo>
                  <a:pt x="0" y="79375"/>
                  <a:pt x="6097" y="73025"/>
                  <a:pt x="12195" y="73025"/>
                </a:cubicBezTo>
                <a:close/>
                <a:moveTo>
                  <a:pt x="12195" y="0"/>
                </a:moveTo>
                <a:cubicBezTo>
                  <a:pt x="12195" y="0"/>
                  <a:pt x="12195" y="0"/>
                  <a:pt x="256093" y="0"/>
                </a:cubicBezTo>
                <a:cubicBezTo>
                  <a:pt x="262191" y="0"/>
                  <a:pt x="268288" y="6350"/>
                  <a:pt x="268288" y="12700"/>
                </a:cubicBezTo>
                <a:cubicBezTo>
                  <a:pt x="268288" y="19050"/>
                  <a:pt x="262191" y="25400"/>
                  <a:pt x="256093" y="25400"/>
                </a:cubicBezTo>
                <a:cubicBezTo>
                  <a:pt x="256093" y="25400"/>
                  <a:pt x="256093" y="25400"/>
                  <a:pt x="12195" y="25400"/>
                </a:cubicBezTo>
                <a:cubicBezTo>
                  <a:pt x="6097" y="25400"/>
                  <a:pt x="0" y="19050"/>
                  <a:pt x="0" y="12700"/>
                </a:cubicBezTo>
                <a:cubicBezTo>
                  <a:pt x="0" y="6350"/>
                  <a:pt x="6097" y="0"/>
                  <a:pt x="12195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2953" tIns="41476" rIns="82953" bIns="41476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613"/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2EAC628A-32FD-4E1C-B5F0-38816BD89668}"/>
              </a:ext>
            </a:extLst>
          </p:cNvPr>
          <p:cNvSpPr txBox="1">
            <a:spLocks/>
          </p:cNvSpPr>
          <p:nvPr userDrawn="1"/>
        </p:nvSpPr>
        <p:spPr>
          <a:xfrm>
            <a:off x="1" y="6468966"/>
            <a:ext cx="457993" cy="389035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03C551C-83BB-4568-94F6-AC8A8312A04A}" type="slidenum">
              <a:rPr lang="en-GB" sz="1089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</a:rPr>
              <a:pPr algn="ctr"/>
              <a:t>‹#›</a:t>
            </a:fld>
            <a:endParaRPr lang="en-GB" sz="1089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1193050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Image-led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7812F58D-8CAF-41B5-B939-C82360B2DFE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b"/>
          <a:lstStyle>
            <a:lvl1pPr algn="r">
              <a:defRPr sz="1197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 to insert an image &gt; Right Click &gt;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8EA2F65-C185-447C-ACCA-99B8A1EB92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971803"/>
            <a:ext cx="4572000" cy="137159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190">
                <a:solidFill>
                  <a:schemeClr val="accent1"/>
                </a:solidFill>
              </a:defRPr>
            </a:lvl1pPr>
          </a:lstStyle>
          <a:p>
            <a:r>
              <a:rPr lang="en-US"/>
              <a:t>Image-led cover title</a:t>
            </a:r>
            <a:endParaRPr lang="en-PH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48109ABF-016F-4E47-9261-744ED08100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4814455"/>
            <a:ext cx="45720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2095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A670293C-AB2F-4468-BF52-B377EE380E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5257800"/>
            <a:ext cx="45720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159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 2020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F39233D-C610-AD4F-982E-AEDDD1E3E33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6200" y="457202"/>
            <a:ext cx="1498600" cy="228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1543679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Image-led v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09274F1A-9C10-417E-9AEE-4F143E201AEC}"/>
              </a:ext>
            </a:extLst>
          </p:cNvPr>
          <p:cNvSpPr/>
          <p:nvPr userDrawn="1"/>
        </p:nvSpPr>
        <p:spPr>
          <a:xfrm flipH="1">
            <a:off x="1" y="0"/>
            <a:ext cx="10020300" cy="6858000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chemeClr val="tx1">
                  <a:alpha val="0"/>
                </a:schemeClr>
              </a:gs>
            </a:gsLst>
            <a:lin ang="10800000" scaled="0"/>
          </a:gra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sz="2044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8EA2F65-C185-447C-ACCA-99B8A1EB92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971803"/>
            <a:ext cx="4572000" cy="137159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190">
                <a:solidFill>
                  <a:schemeClr val="bg1"/>
                </a:solidFill>
              </a:defRPr>
            </a:lvl1pPr>
          </a:lstStyle>
          <a:p>
            <a:r>
              <a:rPr lang="en-US"/>
              <a:t>Image-led cover title</a:t>
            </a:r>
            <a:endParaRPr lang="en-PH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48109ABF-016F-4E47-9261-744ED08100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4814455"/>
            <a:ext cx="45720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2095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Presentation Subtitle 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A670293C-AB2F-4468-BF52-B377EE380E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5257800"/>
            <a:ext cx="45720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159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 2020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AD0A271-9092-8544-B5BB-E912819FB28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6200" y="457202"/>
            <a:ext cx="1498600" cy="228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4318037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Image-led v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09274F1A-9C10-417E-9AEE-4F143E201AEC}"/>
              </a:ext>
            </a:extLst>
          </p:cNvPr>
          <p:cNvSpPr/>
          <p:nvPr userDrawn="1"/>
        </p:nvSpPr>
        <p:spPr>
          <a:xfrm flipH="1">
            <a:off x="1" y="0"/>
            <a:ext cx="10020300" cy="6858000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chemeClr val="tx1">
                  <a:alpha val="0"/>
                </a:schemeClr>
              </a:gs>
            </a:gsLst>
            <a:lin ang="10800000" scaled="0"/>
          </a:gra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sz="2044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8EA2F65-C185-447C-ACCA-99B8A1EB92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971803"/>
            <a:ext cx="4572000" cy="137159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190">
                <a:solidFill>
                  <a:schemeClr val="bg1"/>
                </a:solidFill>
              </a:defRPr>
            </a:lvl1pPr>
          </a:lstStyle>
          <a:p>
            <a:r>
              <a:rPr lang="en-US"/>
              <a:t>Image-led cover title</a:t>
            </a:r>
            <a:endParaRPr lang="en-PH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48109ABF-016F-4E47-9261-744ED08100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4814455"/>
            <a:ext cx="45720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2095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Presentation Subtitle 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A670293C-AB2F-4468-BF52-B377EE380E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5257800"/>
            <a:ext cx="45720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159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 2020</a:t>
            </a:r>
          </a:p>
        </p:txBody>
      </p:sp>
      <p:pic>
        <p:nvPicPr>
          <p:cNvPr id="18" name="Picture 17" descr="&#10;">
            <a:extLst>
              <a:ext uri="{FF2B5EF4-FFF2-40B4-BE49-F238E27FC236}">
                <a16:creationId xmlns:a16="http://schemas.microsoft.com/office/drawing/2014/main" id="{EED6591A-F311-4C34-A0A2-B699B96C02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6201" y="457201"/>
            <a:ext cx="1496045" cy="228600"/>
          </a:xfrm>
          <a:prstGeom prst="rect">
            <a:avLst/>
          </a:prstGeom>
        </p:spPr>
      </p:pic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7D5A90F7-5FDF-EA45-B744-518116FA814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b"/>
          <a:lstStyle>
            <a:lvl1pPr algn="r">
              <a:defRPr sz="1197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 to insert an image &gt; Right Click &gt; Send to Back</a:t>
            </a:r>
          </a:p>
        </p:txBody>
      </p:sp>
    </p:spTree>
    <p:extLst>
      <p:ext uri="{BB962C8B-B14F-4D97-AF65-F5344CB8AC3E}">
        <p14:creationId xmlns:p14="http://schemas.microsoft.com/office/powerpoint/2010/main" val="1043311278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Image-led SA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09274F1A-9C10-417E-9AEE-4F143E201AEC}"/>
              </a:ext>
            </a:extLst>
          </p:cNvPr>
          <p:cNvSpPr/>
          <p:nvPr userDrawn="1"/>
        </p:nvSpPr>
        <p:spPr>
          <a:xfrm flipH="1">
            <a:off x="1" y="0"/>
            <a:ext cx="10020300" cy="6858000"/>
          </a:xfrm>
          <a:prstGeom prst="rect">
            <a:avLst/>
          </a:prstGeom>
          <a:gradFill>
            <a:gsLst>
              <a:gs pos="0">
                <a:schemeClr val="tx1">
                  <a:alpha val="80000"/>
                </a:schemeClr>
              </a:gs>
              <a:gs pos="100000">
                <a:schemeClr val="tx1">
                  <a:alpha val="0"/>
                </a:schemeClr>
              </a:gs>
            </a:gsLst>
            <a:lin ang="10800000" scaled="0"/>
          </a:gra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sz="2044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8EA2F65-C185-447C-ACCA-99B8A1EB92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971803"/>
            <a:ext cx="4572000" cy="137159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190">
                <a:solidFill>
                  <a:schemeClr val="bg1"/>
                </a:solidFill>
              </a:defRPr>
            </a:lvl1pPr>
          </a:lstStyle>
          <a:p>
            <a:r>
              <a:rPr lang="en-US"/>
              <a:t>Image-led cover title</a:t>
            </a:r>
            <a:endParaRPr lang="en-PH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48109ABF-016F-4E47-9261-744ED08100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4814455"/>
            <a:ext cx="45720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2095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Presentation Subtitle 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A670293C-AB2F-4468-BF52-B377EE380E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5257800"/>
            <a:ext cx="45720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159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 2020</a:t>
            </a:r>
          </a:p>
        </p:txBody>
      </p:sp>
      <p:pic>
        <p:nvPicPr>
          <p:cNvPr id="18" name="Picture 17" descr="&#10;">
            <a:extLst>
              <a:ext uri="{FF2B5EF4-FFF2-40B4-BE49-F238E27FC236}">
                <a16:creationId xmlns:a16="http://schemas.microsoft.com/office/drawing/2014/main" id="{EED6591A-F311-4C34-A0A2-B699B96C02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6201" y="457201"/>
            <a:ext cx="1496045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153849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and Divider - Text Style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6E7A677-451E-4572-B02E-6D99DF9053B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6200" y="457202"/>
            <a:ext cx="1498600" cy="228631"/>
          </a:xfrm>
          <a:prstGeom prst="rect">
            <a:avLst/>
          </a:prstGeom>
        </p:spPr>
      </p:pic>
      <p:sp>
        <p:nvSpPr>
          <p:cNvPr id="14" name="Title 13">
            <a:extLst>
              <a:ext uri="{FF2B5EF4-FFF2-40B4-BE49-F238E27FC236}">
                <a16:creationId xmlns:a16="http://schemas.microsoft.com/office/drawing/2014/main" id="{E053F12C-C080-4057-B936-8C04B6DFAE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143003"/>
            <a:ext cx="11277600" cy="914399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5586">
                <a:solidFill>
                  <a:schemeClr val="tx1"/>
                </a:solidFill>
              </a:defRPr>
            </a:lvl1pPr>
          </a:lstStyle>
          <a:p>
            <a:r>
              <a:rPr lang="en-US"/>
              <a:t>Large Cover Title 56 (4 x body)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36FC3B7-CE63-45A8-AF2C-CCB25DA9F1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66925"/>
            <a:ext cx="11277600" cy="4572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419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edium Cover Title 42 (3 x body)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BDC4F72B-E736-4083-BE66-D466263257F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2754630"/>
            <a:ext cx="11277600" cy="4572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3491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mall Cover Title 35 (2.5 x body)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E5723794-4E50-48A6-BA6C-7CDB91BB63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3429000"/>
            <a:ext cx="112776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2095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arge Cover Subtitle 21 (1.5 x body)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60CA5305-0A60-41DB-809C-6E372BA944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3897630"/>
            <a:ext cx="112776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1596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mall Cover Subtitle 16</a:t>
            </a:r>
          </a:p>
        </p:txBody>
      </p:sp>
    </p:spTree>
    <p:extLst>
      <p:ext uri="{BB962C8B-B14F-4D97-AF65-F5344CB8AC3E}">
        <p14:creationId xmlns:p14="http://schemas.microsoft.com/office/powerpoint/2010/main" val="523665340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in slides - Text Style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6E7A677-451E-4572-B02E-6D99DF9053B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6200" y="457202"/>
            <a:ext cx="1498600" cy="228631"/>
          </a:xfrm>
          <a:prstGeom prst="rect">
            <a:avLst/>
          </a:prstGeom>
        </p:spPr>
      </p:pic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36FC3B7-CE63-45A8-AF2C-CCB25DA9F1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149927"/>
            <a:ext cx="11277600" cy="4572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419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arge Headline 42 (3x std body)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BDC4F72B-E736-4083-BE66-D466263257F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828801"/>
            <a:ext cx="11277600" cy="447675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2793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edium Headline 28 (2x std body)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E5723794-4E50-48A6-BA6C-7CDB91BB63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514600"/>
            <a:ext cx="11277600" cy="4572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2095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mall Headline 21 (1.5x std body)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60CA5305-0A60-41DB-809C-6E372BA944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3657600"/>
            <a:ext cx="45720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1795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tro paragraph or X-Large body 18</a:t>
            </a:r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9B6C8AA7-E793-47B6-97BB-D31CDD59239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5029200"/>
            <a:ext cx="45720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1596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tandard Sub-title or Large body size 16</a:t>
            </a:r>
          </a:p>
        </p:txBody>
      </p:sp>
      <p:sp>
        <p:nvSpPr>
          <p:cNvPr id="21" name="Text Placeholder 16">
            <a:extLst>
              <a:ext uri="{FF2B5EF4-FFF2-40B4-BE49-F238E27FC236}">
                <a16:creationId xmlns:a16="http://schemas.microsoft.com/office/drawing/2014/main" id="{BE63786F-4A2A-4D5C-8FC7-0BFD8A9B52D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0300" y="3657600"/>
            <a:ext cx="45720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1397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tandard body size 14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C7D847D9-DB3C-4BCE-B36E-39F419E4F62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0300" y="5257800"/>
            <a:ext cx="45720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inimum body size 12</a:t>
            </a:r>
          </a:p>
        </p:txBody>
      </p:sp>
      <p:sp>
        <p:nvSpPr>
          <p:cNvPr id="23" name="Text Placeholder 16">
            <a:extLst>
              <a:ext uri="{FF2B5EF4-FFF2-40B4-BE49-F238E27FC236}">
                <a16:creationId xmlns:a16="http://schemas.microsoft.com/office/drawing/2014/main" id="{F506D4C5-287B-40E8-9244-1F03842F094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10300" y="4114800"/>
            <a:ext cx="4572000" cy="685800"/>
          </a:xfrm>
          <a:prstGeom prst="rect">
            <a:avLst/>
          </a:prstGeom>
        </p:spPr>
        <p:txBody>
          <a:bodyPr lIns="0" tIns="0" rIns="0" bIns="0"/>
          <a:lstStyle>
            <a:lvl1pPr marL="269325" indent="-269325">
              <a:spcBef>
                <a:spcPts val="299"/>
              </a:spcBef>
              <a:spcAft>
                <a:spcPts val="599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397" b="0">
                <a:solidFill>
                  <a:schemeClr val="tx1"/>
                </a:solidFill>
              </a:defRPr>
            </a:lvl1pPr>
            <a:lvl2pPr marL="538650" indent="-269325">
              <a:buFont typeface="Arial" panose="020B0604020202020204" pitchFamily="34" charset="0"/>
              <a:buChar char="−"/>
              <a:defRPr/>
            </a:lvl2pPr>
          </a:lstStyle>
          <a:p>
            <a:pPr lvl="0"/>
            <a:r>
              <a:rPr lang="en-US"/>
              <a:t>Standard bullet 14</a:t>
            </a:r>
          </a:p>
          <a:p>
            <a:pPr lvl="1"/>
            <a:r>
              <a:rPr lang="en-US"/>
              <a:t>Second level standard bullet 14</a:t>
            </a:r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id="{C98EA915-7041-4CAE-BD2D-3AB6410C83C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7200" y="4114800"/>
            <a:ext cx="4572000" cy="685800"/>
          </a:xfrm>
          <a:prstGeom prst="rect">
            <a:avLst/>
          </a:prstGeom>
        </p:spPr>
        <p:txBody>
          <a:bodyPr lIns="0" tIns="0" rIns="0" bIns="0"/>
          <a:lstStyle>
            <a:lvl1pPr marL="269325" indent="-269325">
              <a:spcBef>
                <a:spcPts val="299"/>
              </a:spcBef>
              <a:spcAft>
                <a:spcPts val="599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795" b="0">
                <a:solidFill>
                  <a:schemeClr val="tx1"/>
                </a:solidFill>
              </a:defRPr>
            </a:lvl1pPr>
            <a:lvl2pPr marL="538650" indent="-269325">
              <a:buFont typeface="Arial" panose="020B0604020202020204" pitchFamily="34" charset="0"/>
              <a:buChar char="−"/>
              <a:defRPr sz="1795"/>
            </a:lvl2pPr>
          </a:lstStyle>
          <a:p>
            <a:pPr lvl="0"/>
            <a:r>
              <a:rPr lang="en-US"/>
              <a:t>X-Large bullet 18</a:t>
            </a:r>
          </a:p>
          <a:p>
            <a:pPr lvl="1"/>
            <a:r>
              <a:rPr lang="en-US"/>
              <a:t>Second level X-Large bullet 18</a:t>
            </a:r>
          </a:p>
        </p:txBody>
      </p:sp>
      <p:sp>
        <p:nvSpPr>
          <p:cNvPr id="25" name="Text Placeholder 16">
            <a:extLst>
              <a:ext uri="{FF2B5EF4-FFF2-40B4-BE49-F238E27FC236}">
                <a16:creationId xmlns:a16="http://schemas.microsoft.com/office/drawing/2014/main" id="{78F1FE68-338B-404A-A61C-DFCB3E450ED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7200" y="5486400"/>
            <a:ext cx="4572000" cy="685800"/>
          </a:xfrm>
          <a:prstGeom prst="rect">
            <a:avLst/>
          </a:prstGeom>
        </p:spPr>
        <p:txBody>
          <a:bodyPr lIns="0" tIns="0" rIns="0" bIns="0"/>
          <a:lstStyle>
            <a:lvl1pPr marL="269325" indent="-269325">
              <a:spcBef>
                <a:spcPts val="299"/>
              </a:spcBef>
              <a:spcAft>
                <a:spcPts val="599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96" b="0">
                <a:solidFill>
                  <a:schemeClr val="tx1"/>
                </a:solidFill>
              </a:defRPr>
            </a:lvl1pPr>
            <a:lvl2pPr marL="538650" indent="-269325">
              <a:buFont typeface="Arial" panose="020B0604020202020204" pitchFamily="34" charset="0"/>
              <a:buChar char="−"/>
              <a:defRPr sz="1596"/>
            </a:lvl2pPr>
          </a:lstStyle>
          <a:p>
            <a:pPr lvl="0"/>
            <a:r>
              <a:rPr lang="en-US"/>
              <a:t>Large bullet 16</a:t>
            </a:r>
          </a:p>
          <a:p>
            <a:pPr lvl="1"/>
            <a:r>
              <a:rPr lang="en-US"/>
              <a:t>Second level Large bullet 16</a:t>
            </a:r>
          </a:p>
        </p:txBody>
      </p:sp>
    </p:spTree>
    <p:extLst>
      <p:ext uri="{BB962C8B-B14F-4D97-AF65-F5344CB8AC3E}">
        <p14:creationId xmlns:p14="http://schemas.microsoft.com/office/powerpoint/2010/main" val="1541360450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Image-l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36FC3B7-CE63-45A8-AF2C-CCB25DA9F1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286000"/>
            <a:ext cx="11277600" cy="6858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558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Image-led divider title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E5723794-4E50-48A6-BA6C-7CDB91BB63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3200400"/>
            <a:ext cx="112776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2095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ivider subtitle if required</a:t>
            </a:r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29CCC071-0048-42C0-91B1-1B1F9F5C22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 tIns="91440" bIns="91440" anchor="b"/>
          <a:lstStyle>
            <a:lvl1pPr algn="r">
              <a:defRPr sz="998">
                <a:solidFill>
                  <a:schemeClr val="bg2"/>
                </a:solidFill>
              </a:defRPr>
            </a:lvl1pPr>
          </a:lstStyle>
          <a:p>
            <a:r>
              <a:rPr lang="en-US" sz="998"/>
              <a:t>Click on the icon  to insert an image &gt; Right Click &gt; Send to Bac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3377320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Image-led rever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36FC3B7-CE63-45A8-AF2C-CCB25DA9F1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286000"/>
            <a:ext cx="11277600" cy="6858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5586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mage-led divider title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E5723794-4E50-48A6-BA6C-7CDB91BB63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3200400"/>
            <a:ext cx="112776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2095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ivider subtitle if required</a:t>
            </a:r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FC07588C-B7D9-48C0-844A-A316534DCE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 tIns="91440" bIns="91440" anchor="b"/>
          <a:lstStyle>
            <a:lvl1pPr algn="r">
              <a:defRPr sz="1197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sz="998"/>
              <a:t>Click on the icon  to insert an image &gt; Right Click &gt; Send to Bac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934312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Image-led revers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36FC3B7-CE63-45A8-AF2C-CCB25DA9F1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286000"/>
            <a:ext cx="11277600" cy="6858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5586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mage-led divider title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E5723794-4E50-48A6-BA6C-7CDB91BB63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3200400"/>
            <a:ext cx="112776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2095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Divider subtitle if required</a:t>
            </a:r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36229C3E-23B7-4F4C-B2E3-EDD755E7A06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 tIns="91440" bIns="91440" anchor="b"/>
          <a:lstStyle>
            <a:lvl1pPr algn="r">
              <a:defRPr sz="998">
                <a:solidFill>
                  <a:schemeClr val="bg2"/>
                </a:solidFill>
              </a:defRPr>
            </a:lvl1pPr>
          </a:lstStyle>
          <a:p>
            <a:r>
              <a:rPr lang="en-US" sz="998"/>
              <a:t>Click on the icon  to insert an image &gt; Right Click &gt; Send to Bac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6942488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36FC3B7-CE63-45A8-AF2C-CCB25DA9F1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286000"/>
            <a:ext cx="11277600" cy="6858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558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Divider title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E5723794-4E50-48A6-BA6C-7CDB91BB63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3200400"/>
            <a:ext cx="112776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2095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ivider subtitle if required</a:t>
            </a:r>
          </a:p>
        </p:txBody>
      </p:sp>
    </p:spTree>
    <p:extLst>
      <p:ext uri="{BB962C8B-B14F-4D97-AF65-F5344CB8AC3E}">
        <p14:creationId xmlns:p14="http://schemas.microsoft.com/office/powerpoint/2010/main" val="22574341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Oran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36FC3B7-CE63-45A8-AF2C-CCB25DA9F1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286000"/>
            <a:ext cx="11277600" cy="685800"/>
          </a:xfrm>
          <a:prstGeom prst="rect">
            <a:avLst/>
          </a:prstGeom>
        </p:spPr>
        <p:txBody>
          <a:bodyPr lIns="228600" tIns="0" rIns="0" bIns="0"/>
          <a:lstStyle>
            <a:lvl1pPr>
              <a:spcBef>
                <a:spcPts val="600"/>
              </a:spcBef>
              <a:spcAft>
                <a:spcPts val="1200"/>
              </a:spcAft>
              <a:defRPr sz="5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title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E5723794-4E50-48A6-BA6C-7CDB91BB63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3200400"/>
            <a:ext cx="11277600" cy="228600"/>
          </a:xfrm>
          <a:prstGeom prst="rect">
            <a:avLst/>
          </a:prstGeom>
        </p:spPr>
        <p:txBody>
          <a:bodyPr lIns="228600" tIns="0" rIns="0" bIns="0"/>
          <a:lstStyle>
            <a:lvl1pPr>
              <a:spcBef>
                <a:spcPts val="600"/>
              </a:spcBef>
              <a:spcAft>
                <a:spcPts val="1200"/>
              </a:spcAft>
              <a:defRPr sz="21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ivider subtitle if required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3F7EE4C-614F-4F86-B03D-B2632757BF95}"/>
              </a:ext>
            </a:extLst>
          </p:cNvPr>
          <p:cNvSpPr/>
          <p:nvPr userDrawn="1"/>
        </p:nvSpPr>
        <p:spPr>
          <a:xfrm>
            <a:off x="457200" y="914400"/>
            <a:ext cx="11277600" cy="5486400"/>
          </a:xfrm>
          <a:prstGeom prst="rect">
            <a:avLst/>
          </a:prstGeom>
          <a:noFill/>
          <a:ln w="50800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495592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ltGray">
          <a:xfrm flipH="1">
            <a:off x="0" y="1800000"/>
            <a:ext cx="12192000" cy="50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1"/>
          </a:p>
        </p:txBody>
      </p:sp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>
          <a:xfrm>
            <a:off x="720000" y="2237468"/>
            <a:ext cx="10752000" cy="830997"/>
          </a:xfrm>
        </p:spPr>
        <p:txBody>
          <a:bodyPr>
            <a:noAutofit/>
          </a:bodyPr>
          <a:lstStyle>
            <a:lvl1pPr>
              <a:defRPr sz="5970">
                <a:solidFill>
                  <a:schemeClr val="bg1"/>
                </a:solidFill>
              </a:defRPr>
            </a:lvl1pPr>
          </a:lstStyle>
          <a:p>
            <a:r>
              <a:rPr lang="es-ES"/>
              <a:t>Add title</a:t>
            </a:r>
          </a:p>
        </p:txBody>
      </p:sp>
      <p:pic>
        <p:nvPicPr>
          <p:cNvPr id="3" name="sLogo">
            <a:extLst>
              <a:ext uri="{FF2B5EF4-FFF2-40B4-BE49-F238E27FC236}">
                <a16:creationId xmlns:a16="http://schemas.microsoft.com/office/drawing/2014/main" id="{17FDFA41-930C-48FD-9776-C0D284E842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8000" y="396000"/>
            <a:ext cx="3420000" cy="361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9945506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Oran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36FC3B7-CE63-45A8-AF2C-CCB25DA9F1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286000"/>
            <a:ext cx="11277600" cy="6858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5586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title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E5723794-4E50-48A6-BA6C-7CDB91BB63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3200400"/>
            <a:ext cx="112776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2095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ivider subtitle if required</a:t>
            </a:r>
          </a:p>
        </p:txBody>
      </p:sp>
    </p:spTree>
    <p:extLst>
      <p:ext uri="{BB962C8B-B14F-4D97-AF65-F5344CB8AC3E}">
        <p14:creationId xmlns:p14="http://schemas.microsoft.com/office/powerpoint/2010/main" val="309650104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36FC3B7-CE63-45A8-AF2C-CCB25DA9F1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286000"/>
            <a:ext cx="11277600" cy="6858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5586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title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E5723794-4E50-48A6-BA6C-7CDB91BB63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3200400"/>
            <a:ext cx="112776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2095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Divider subtitle if required</a:t>
            </a:r>
          </a:p>
        </p:txBody>
      </p:sp>
    </p:spTree>
    <p:extLst>
      <p:ext uri="{BB962C8B-B14F-4D97-AF65-F5344CB8AC3E}">
        <p14:creationId xmlns:p14="http://schemas.microsoft.com/office/powerpoint/2010/main" val="563615773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Image-led with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47E987CF-25C4-46C4-83B9-E828B5CF9F2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097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insert an image &gt; Right Click &gt; Send to Back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36FC3B7-CE63-45A8-AF2C-CCB25DA9F1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743200"/>
            <a:ext cx="11277600" cy="6858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419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mage-led divider title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E5723794-4E50-48A6-BA6C-7CDB91BB63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286000"/>
            <a:ext cx="112776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2095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ection Number</a:t>
            </a:r>
          </a:p>
        </p:txBody>
      </p:sp>
    </p:spTree>
    <p:extLst>
      <p:ext uri="{BB962C8B-B14F-4D97-AF65-F5344CB8AC3E}">
        <p14:creationId xmlns:p14="http://schemas.microsoft.com/office/powerpoint/2010/main" val="3495909966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Image-led reverse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7254DC9E-75F9-4E4C-BA7B-8298E4C7AEA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097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insert an image &gt; Right Click &gt; Send to Back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36FC3B7-CE63-45A8-AF2C-CCB25DA9F1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743200"/>
            <a:ext cx="11277600" cy="6858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419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mage-led divider title</a:t>
            </a:r>
          </a:p>
        </p:txBody>
      </p:sp>
    </p:spTree>
    <p:extLst>
      <p:ext uri="{BB962C8B-B14F-4D97-AF65-F5344CB8AC3E}">
        <p14:creationId xmlns:p14="http://schemas.microsoft.com/office/powerpoint/2010/main" val="224199213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olor Background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BAA1C7B-1C87-44D3-8151-544370BB9AC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sz="2044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BB8F1E5-E1BD-487E-AF6B-1417C555CE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67800" y="6446839"/>
            <a:ext cx="17145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8D8C3"/>
                </a:solidFill>
              </a:defRPr>
            </a:lvl1pPr>
          </a:lstStyle>
          <a:p>
            <a:fld id="{A0BEE50B-DF5F-4EE0-B2E4-70A3C4CF1C51}" type="datetime3">
              <a:rPr lang="en-US" smtClean="0"/>
              <a:t>5 October 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E88D42-25B6-4AF8-881D-F451A8C63D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1" y="6446839"/>
            <a:ext cx="1676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8D8C3"/>
                </a:solidFill>
              </a:defRPr>
            </a:lvl1pPr>
          </a:lstStyle>
          <a:p>
            <a:r>
              <a:rPr lang="en-US"/>
              <a:t>© Arcadis 20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F66F31F-D07E-4084-BF08-3D17AFC7C5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0900" y="6446839"/>
            <a:ext cx="7239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FE63AA4-120D-435A-A130-F49443AF7CB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455EFD41-CA14-4D91-9151-AEAAE55C5A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145598"/>
            <a:ext cx="4800600" cy="182620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419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741690DB-3471-4FEF-A4B0-BB9B766AF6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3657600"/>
            <a:ext cx="5524500" cy="18288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2095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23A1976C-1DAD-4BD7-9A17-AC5487B6D09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210300" y="457201"/>
            <a:ext cx="5524500" cy="59436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097">
                <a:solidFill>
                  <a:schemeClr val="bg1"/>
                </a:solidFill>
              </a:defRPr>
            </a:lvl1pPr>
          </a:lstStyle>
          <a:p>
            <a:r>
              <a:rPr lang="en-US"/>
              <a:t>Click on the icon  to insert an image</a:t>
            </a:r>
          </a:p>
        </p:txBody>
      </p:sp>
    </p:spTree>
    <p:extLst>
      <p:ext uri="{BB962C8B-B14F-4D97-AF65-F5344CB8AC3E}">
        <p14:creationId xmlns:p14="http://schemas.microsoft.com/office/powerpoint/2010/main" val="1402579503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olor Background -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BAA1C7B-1C87-44D3-8151-544370BB9AC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sz="2044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BB8F1E5-E1BD-487E-AF6B-1417C555CE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67800" y="6446839"/>
            <a:ext cx="17145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C2C1C1"/>
                </a:solidFill>
              </a:defRPr>
            </a:lvl1pPr>
          </a:lstStyle>
          <a:p>
            <a:fld id="{4888AC66-CE61-486F-A183-0D858EA321B3}" type="datetime3">
              <a:rPr lang="en-US" smtClean="0"/>
              <a:t>5 October 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E88D42-25B6-4AF8-881D-F451A8C63D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1" y="6446839"/>
            <a:ext cx="1676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C2C1C1"/>
                </a:solidFill>
              </a:defRPr>
            </a:lvl1pPr>
          </a:lstStyle>
          <a:p>
            <a:r>
              <a:rPr lang="en-US"/>
              <a:t>© Arcadis 20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F66F31F-D07E-4084-BF08-3D17AFC7C5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0900" y="6446839"/>
            <a:ext cx="7239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FE63AA4-120D-435A-A130-F49443AF7CB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455EFD41-CA14-4D91-9151-AEAAE55C5A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145598"/>
            <a:ext cx="4800600" cy="182620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419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741690DB-3471-4FEF-A4B0-BB9B766AF6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3657600"/>
            <a:ext cx="5524500" cy="18288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2095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23A1976C-1DAD-4BD7-9A17-AC5487B6D09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210300" y="457201"/>
            <a:ext cx="5524500" cy="59436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097">
                <a:solidFill>
                  <a:schemeClr val="bg1"/>
                </a:solidFill>
              </a:defRPr>
            </a:lvl1pPr>
          </a:lstStyle>
          <a:p>
            <a:r>
              <a:rPr lang="en-US"/>
              <a:t>Click on the icon  to insert an image</a:t>
            </a:r>
          </a:p>
        </p:txBody>
      </p:sp>
    </p:spTree>
    <p:extLst>
      <p:ext uri="{BB962C8B-B14F-4D97-AF65-F5344CB8AC3E}">
        <p14:creationId xmlns:p14="http://schemas.microsoft.com/office/powerpoint/2010/main" val="4051207259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olor Background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BB8F1E5-E1BD-487E-AF6B-1417C555CE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67800" y="6446839"/>
            <a:ext cx="17145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C2C1C1"/>
                </a:solidFill>
              </a:defRPr>
            </a:lvl1pPr>
          </a:lstStyle>
          <a:p>
            <a:fld id="{4888AC66-CE61-486F-A183-0D858EA321B3}" type="datetime3">
              <a:rPr lang="en-US" smtClean="0"/>
              <a:t>5 October 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E88D42-25B6-4AF8-881D-F451A8C63D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1" y="6446839"/>
            <a:ext cx="1676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C2C1C1"/>
                </a:solidFill>
              </a:defRPr>
            </a:lvl1pPr>
          </a:lstStyle>
          <a:p>
            <a:r>
              <a:rPr lang="en-US"/>
              <a:t>© Arcadis 20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F66F31F-D07E-4084-BF08-3D17AFC7C5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0900" y="6446839"/>
            <a:ext cx="7239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FE63AA4-120D-435A-A130-F49443AF7CB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455EFD41-CA14-4D91-9151-AEAAE55C5A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145598"/>
            <a:ext cx="4800600" cy="182620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419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741690DB-3471-4FEF-A4B0-BB9B766AF6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3657600"/>
            <a:ext cx="5524500" cy="18288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795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23A1976C-1DAD-4BD7-9A17-AC5487B6D09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210300" y="457201"/>
            <a:ext cx="5524500" cy="59436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097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 to insert an image</a:t>
            </a:r>
          </a:p>
        </p:txBody>
      </p:sp>
    </p:spTree>
    <p:extLst>
      <p:ext uri="{BB962C8B-B14F-4D97-AF65-F5344CB8AC3E}">
        <p14:creationId xmlns:p14="http://schemas.microsoft.com/office/powerpoint/2010/main" val="2926753167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olor Background - Text-led - Full Color Background - Text-led -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6DF80006-7162-42A6-BB4F-9AB52F2B08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sz="2044"/>
          </a:p>
        </p:txBody>
      </p:sp>
      <p:sp>
        <p:nvSpPr>
          <p:cNvPr id="9" name="Title 13">
            <a:extLst>
              <a:ext uri="{FF2B5EF4-FFF2-40B4-BE49-F238E27FC236}">
                <a16:creationId xmlns:a16="http://schemas.microsoft.com/office/drawing/2014/main" id="{96D42F31-C76D-4A0C-AB96-F0E353E51C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292928"/>
            <a:ext cx="11277600" cy="159327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5586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47632702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ll Color Background - Text-led - Full Color Background - Text-led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6DF80006-7162-42A6-BB4F-9AB52F2B08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sz="2044"/>
          </a:p>
        </p:txBody>
      </p:sp>
      <p:sp>
        <p:nvSpPr>
          <p:cNvPr id="9" name="Title 13">
            <a:extLst>
              <a:ext uri="{FF2B5EF4-FFF2-40B4-BE49-F238E27FC236}">
                <a16:creationId xmlns:a16="http://schemas.microsoft.com/office/drawing/2014/main" id="{96D42F31-C76D-4A0C-AB96-F0E353E51C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292928"/>
            <a:ext cx="11277600" cy="159327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5586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25012353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lide overlay -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591CADA-4197-ED4D-9D81-8B4649507CD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4610F">
              <a:alpha val="75000"/>
            </a:srgbClr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44"/>
              <a:t> </a:t>
            </a:r>
            <a:endParaRPr lang="en-PH" sz="2044"/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E5723794-4E50-48A6-BA6C-7CDB91BB63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09700" y="2286000"/>
            <a:ext cx="10325100" cy="13716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2793" b="0" i="1">
                <a:solidFill>
                  <a:schemeClr val="bg1"/>
                </a:solidFill>
              </a:defRPr>
            </a:lvl1pPr>
          </a:lstStyle>
          <a:p>
            <a:r>
              <a:rPr lang="en-US"/>
              <a:t>“An inspirational and credible client quote that backs up the key message throughout the document and is attempting to get across to the reader or assessor.”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39C0890-09A9-490C-925E-79471BE2C27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09700" y="4114800"/>
            <a:ext cx="10325100" cy="13716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596" b="0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, Role Organization</a:t>
            </a:r>
          </a:p>
        </p:txBody>
      </p:sp>
      <p:sp>
        <p:nvSpPr>
          <p:cNvPr id="11" name="Date Placeholder 2">
            <a:extLst>
              <a:ext uri="{FF2B5EF4-FFF2-40B4-BE49-F238E27FC236}">
                <a16:creationId xmlns:a16="http://schemas.microsoft.com/office/drawing/2014/main" id="{1365D59C-1167-4B78-AE54-2A0792728DB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67800" y="6446839"/>
            <a:ext cx="17145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8D8C3"/>
                </a:solidFill>
              </a:defRPr>
            </a:lvl1pPr>
          </a:lstStyle>
          <a:p>
            <a:fld id="{A0BEE50B-DF5F-4EE0-B2E4-70A3C4CF1C51}" type="datetime3">
              <a:rPr lang="en-US" smtClean="0"/>
              <a:t>5 October 2025</a:t>
            </a:fld>
            <a:endParaRPr lang="en-US"/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BD4B9242-26CD-44B2-B4E6-BBF93E2298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1" y="6446839"/>
            <a:ext cx="1676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8D8C3"/>
                </a:solidFill>
              </a:defRPr>
            </a:lvl1pPr>
          </a:lstStyle>
          <a:p>
            <a:r>
              <a:rPr lang="en-US"/>
              <a:t>© Arcadis 2020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B9B844E8-44EE-4226-B839-FC4E907ACD4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010900" y="6446839"/>
            <a:ext cx="7239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FE63AA4-120D-435A-A130-F49443AF7CB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47E987CF-25C4-46C4-83B9-E828B5CF9F2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097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insert an image &gt; Right Click &gt; Send to Back</a:t>
            </a:r>
          </a:p>
        </p:txBody>
      </p:sp>
    </p:spTree>
    <p:extLst>
      <p:ext uri="{BB962C8B-B14F-4D97-AF65-F5344CB8AC3E}">
        <p14:creationId xmlns:p14="http://schemas.microsoft.com/office/powerpoint/2010/main" val="17520796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roving Qua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099427" y="6408005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pPr/>
              <a:t>05/10/2025</a:t>
            </a:fld>
            <a:endParaRPr lang="es-E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319588" y="6408005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6" name="TextBox 5"/>
          <p:cNvSpPr txBox="1"/>
          <p:nvPr userDrawn="1"/>
        </p:nvSpPr>
        <p:spPr>
          <a:xfrm>
            <a:off x="540000" y="2792239"/>
            <a:ext cx="6084011" cy="122084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4427"/>
              </a:lnSpc>
            </a:pPr>
            <a:r>
              <a:rPr lang="es-ES" sz="4378">
                <a:solidFill>
                  <a:srgbClr val="000000"/>
                </a:solidFill>
                <a:latin typeface="Arial"/>
                <a:cs typeface="Arial"/>
              </a:rPr>
              <a:t>Arcadis.</a:t>
            </a:r>
          </a:p>
          <a:p>
            <a:pPr>
              <a:lnSpc>
                <a:spcPts val="4427"/>
              </a:lnSpc>
            </a:pPr>
            <a:r>
              <a:rPr lang="es-ES" sz="4378" err="1">
                <a:solidFill>
                  <a:srgbClr val="E4610F"/>
                </a:solidFill>
                <a:latin typeface="Arial"/>
                <a:cs typeface="Arial"/>
              </a:rPr>
              <a:t>Improving</a:t>
            </a:r>
            <a:r>
              <a:rPr lang="es-ES" sz="4378">
                <a:solidFill>
                  <a:srgbClr val="E4610F"/>
                </a:solidFill>
                <a:latin typeface="Arial"/>
                <a:cs typeface="Arial"/>
              </a:rPr>
              <a:t> </a:t>
            </a:r>
            <a:r>
              <a:rPr lang="es-ES" sz="4378" err="1">
                <a:solidFill>
                  <a:srgbClr val="E4610F"/>
                </a:solidFill>
                <a:latin typeface="Arial"/>
                <a:cs typeface="Arial"/>
              </a:rPr>
              <a:t>quality</a:t>
            </a:r>
            <a:r>
              <a:rPr lang="es-ES" sz="4378">
                <a:solidFill>
                  <a:srgbClr val="E4610F"/>
                </a:solidFill>
                <a:latin typeface="Arial"/>
                <a:cs typeface="Arial"/>
              </a:rPr>
              <a:t> </a:t>
            </a:r>
            <a:r>
              <a:rPr lang="es-ES" sz="4378" err="1">
                <a:solidFill>
                  <a:srgbClr val="E4610F"/>
                </a:solidFill>
                <a:latin typeface="Arial"/>
                <a:cs typeface="Arial"/>
              </a:rPr>
              <a:t>of</a:t>
            </a:r>
            <a:r>
              <a:rPr lang="es-ES" sz="4378">
                <a:solidFill>
                  <a:srgbClr val="E4610F"/>
                </a:solidFill>
                <a:latin typeface="Arial"/>
                <a:cs typeface="Arial"/>
              </a:rPr>
              <a:t> </a:t>
            </a:r>
            <a:r>
              <a:rPr lang="es-ES" sz="4378" err="1">
                <a:solidFill>
                  <a:srgbClr val="E4610F"/>
                </a:solidFill>
                <a:latin typeface="Arial"/>
                <a:cs typeface="Arial"/>
              </a:rPr>
              <a:t>life</a:t>
            </a:r>
            <a:r>
              <a:rPr lang="es-ES" sz="4378">
                <a:solidFill>
                  <a:srgbClr val="E4610F"/>
                </a:solidFill>
                <a:latin typeface="Arial"/>
                <a:cs typeface="Arial"/>
              </a:rPr>
              <a:t>.</a:t>
            </a:r>
          </a:p>
        </p:txBody>
      </p: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24B95631-314D-4621-869A-240677BEFBBA}"/>
              </a:ext>
            </a:extLst>
          </p:cNvPr>
          <p:cNvCxnSpPr>
            <a:cxnSpLocks/>
          </p:cNvCxnSpPr>
          <p:nvPr userDrawn="1"/>
        </p:nvCxnSpPr>
        <p:spPr>
          <a:xfrm>
            <a:off x="1451144" y="6529985"/>
            <a:ext cx="1074085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8883095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lide overlay -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C294B6CA-68F4-4F29-B1B2-5880C39BEB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2750129"/>
            <a:ext cx="4571999" cy="114299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19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  <a:endParaRPr lang="en-PH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7C602180-74AB-4C47-90BF-1DB0B4AE12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57800" y="2514600"/>
            <a:ext cx="6477000" cy="1828800"/>
          </a:xfrm>
          <a:prstGeom prst="rect">
            <a:avLst/>
          </a:prstGeom>
        </p:spPr>
        <p:txBody>
          <a:bodyPr lIns="0" tIns="0" rIns="0" bIns="0"/>
          <a:lstStyle>
            <a:lvl1pPr marL="269325" indent="-269325"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795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1" name="Date Placeholder 2">
            <a:extLst>
              <a:ext uri="{FF2B5EF4-FFF2-40B4-BE49-F238E27FC236}">
                <a16:creationId xmlns:a16="http://schemas.microsoft.com/office/drawing/2014/main" id="{28AD08C1-B77D-4287-BCF7-78919F309E7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67800" y="6446839"/>
            <a:ext cx="17145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8D8C3"/>
                </a:solidFill>
              </a:defRPr>
            </a:lvl1pPr>
          </a:lstStyle>
          <a:p>
            <a:fld id="{A0BEE50B-DF5F-4EE0-B2E4-70A3C4CF1C51}" type="datetime3">
              <a:rPr lang="en-US" smtClean="0"/>
              <a:t>5 October 2025</a:t>
            </a:fld>
            <a:endParaRPr lang="en-US"/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79DCEE6B-73BD-49ED-BF1B-ECFEB82FDE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1" y="6446839"/>
            <a:ext cx="1676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8D8C3"/>
                </a:solidFill>
              </a:defRPr>
            </a:lvl1pPr>
          </a:lstStyle>
          <a:p>
            <a:r>
              <a:rPr lang="en-US"/>
              <a:t>© Arcadis 2020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412B5ACA-D86D-4C7B-8F05-0FDC0FB12B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0900" y="6446839"/>
            <a:ext cx="7239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FE63AA4-120D-435A-A130-F49443AF7CB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71971FC1-F2E6-4E68-8245-184991D6EF5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097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insert an image &gt; Right Click &gt; Send to Back</a:t>
            </a:r>
          </a:p>
        </p:txBody>
      </p:sp>
    </p:spTree>
    <p:extLst>
      <p:ext uri="{BB962C8B-B14F-4D97-AF65-F5344CB8AC3E}">
        <p14:creationId xmlns:p14="http://schemas.microsoft.com/office/powerpoint/2010/main" val="3089896336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al Slide Overlay - n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B4049965-34B5-48F5-8EBC-41C49A33113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097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insert an image &gt; Right Click &gt; Send to Back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2E1C252-F8D8-B245-A44E-63FC8C772147}"/>
              </a:ext>
            </a:extLst>
          </p:cNvPr>
          <p:cNvSpPr/>
          <p:nvPr userDrawn="1"/>
        </p:nvSpPr>
        <p:spPr>
          <a:xfrm>
            <a:off x="0" y="0"/>
            <a:ext cx="3075709" cy="6858000"/>
          </a:xfrm>
          <a:prstGeom prst="rect">
            <a:avLst/>
          </a:prstGeom>
          <a:solidFill>
            <a:schemeClr val="accent1">
              <a:alpha val="75000"/>
            </a:schemeClr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44"/>
              <a:t> </a:t>
            </a:r>
            <a:endParaRPr lang="en-PH" sz="2044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55ECC8B-4B56-4777-97FD-BF1D9B8F06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2" y="1600200"/>
            <a:ext cx="2466108" cy="914400"/>
          </a:xfrm>
          <a:prstGeom prst="rect">
            <a:avLst/>
          </a:prstGeom>
        </p:spPr>
        <p:txBody>
          <a:bodyPr rIns="90000">
            <a:noAutofit/>
          </a:bodyPr>
          <a:lstStyle>
            <a:lvl1pPr>
              <a:defRPr sz="2793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  <a:endParaRPr lang="en-PH"/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19AF6AE8-D2B1-4EB5-BBB4-9077B1F7CB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743200"/>
            <a:ext cx="2466109" cy="2514600"/>
          </a:xfrm>
          <a:prstGeom prst="rect">
            <a:avLst/>
          </a:prstGeom>
        </p:spPr>
        <p:txBody>
          <a:bodyPr lIns="0" tIns="0" rIns="90000" bIns="0"/>
          <a:lstStyle>
            <a:lvl1pPr>
              <a:lnSpc>
                <a:spcPct val="100000"/>
              </a:lnSpc>
              <a:spcBef>
                <a:spcPts val="599"/>
              </a:spcBef>
              <a:spcAft>
                <a:spcPts val="1197"/>
              </a:spcAft>
              <a:defRPr sz="159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4" name="Date Placeholder 2">
            <a:extLst>
              <a:ext uri="{FF2B5EF4-FFF2-40B4-BE49-F238E27FC236}">
                <a16:creationId xmlns:a16="http://schemas.microsoft.com/office/drawing/2014/main" id="{F7EFBD7E-84AE-4193-97A7-6053CA8057A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67800" y="6446839"/>
            <a:ext cx="17145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C2C1C1"/>
                </a:solidFill>
              </a:defRPr>
            </a:lvl1pPr>
          </a:lstStyle>
          <a:p>
            <a:fld id="{728B004E-4B0B-4DF1-AA0F-92C7B3BE2D33}" type="datetime3">
              <a:rPr lang="en-US" smtClean="0"/>
              <a:t>5 October 2025</a:t>
            </a:fld>
            <a:endParaRPr lang="en-US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06ED1264-F351-4CA8-9D38-F5167E4E7F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1" y="6446839"/>
            <a:ext cx="1676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C2C1C1"/>
                </a:solidFill>
              </a:defRPr>
            </a:lvl1pPr>
          </a:lstStyle>
          <a:p>
            <a:r>
              <a:rPr lang="en-US"/>
              <a:t>© Arcadis 2020</a:t>
            </a:r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574CAA3B-8EAA-4562-9B16-819D52DA0A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0900" y="6446839"/>
            <a:ext cx="7239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FE63AA4-120D-435A-A130-F49443AF7C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3642268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al Slide Overlay -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B4049965-34B5-48F5-8EBC-41C49A33113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097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insert an image &gt; Right Click &gt; Send to Back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8C72079-4A6D-BB42-9B2B-1FC3AED21668}"/>
              </a:ext>
            </a:extLst>
          </p:cNvPr>
          <p:cNvSpPr/>
          <p:nvPr userDrawn="1"/>
        </p:nvSpPr>
        <p:spPr>
          <a:xfrm>
            <a:off x="1" y="0"/>
            <a:ext cx="5029199" cy="6858000"/>
          </a:xfrm>
          <a:prstGeom prst="rect">
            <a:avLst/>
          </a:prstGeom>
          <a:solidFill>
            <a:schemeClr val="accent1">
              <a:alpha val="75000"/>
            </a:schemeClr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44"/>
              <a:t> </a:t>
            </a:r>
            <a:endParaRPr lang="en-PH" sz="2044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55ECC8B-4B56-4777-97FD-BF1D9B8F06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2" y="1600201"/>
            <a:ext cx="4378036" cy="11429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sz="349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  <a:endParaRPr lang="en-PH"/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19AF6AE8-D2B1-4EB5-BBB4-9077B1F7CB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2" y="3429000"/>
            <a:ext cx="4378036" cy="1828800"/>
          </a:xfrm>
          <a:prstGeom prst="rect">
            <a:avLst/>
          </a:prstGeom>
        </p:spPr>
        <p:txBody>
          <a:bodyPr lIns="0" tIns="0" rIns="0" bIns="0"/>
          <a:lstStyle>
            <a:lvl1pPr marL="285036" indent="-285036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59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4" name="Date Placeholder 2">
            <a:extLst>
              <a:ext uri="{FF2B5EF4-FFF2-40B4-BE49-F238E27FC236}">
                <a16:creationId xmlns:a16="http://schemas.microsoft.com/office/drawing/2014/main" id="{F7EFBD7E-84AE-4193-97A7-6053CA8057A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67800" y="6446839"/>
            <a:ext cx="17145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C2C1C1"/>
                </a:solidFill>
              </a:defRPr>
            </a:lvl1pPr>
          </a:lstStyle>
          <a:p>
            <a:fld id="{728B004E-4B0B-4DF1-AA0F-92C7B3BE2D33}" type="datetime3">
              <a:rPr lang="en-US" smtClean="0"/>
              <a:t>5 October 2025</a:t>
            </a:fld>
            <a:endParaRPr lang="en-US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06ED1264-F351-4CA8-9D38-F5167E4E7F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1" y="6446839"/>
            <a:ext cx="1676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C2C1C1"/>
                </a:solidFill>
              </a:defRPr>
            </a:lvl1pPr>
          </a:lstStyle>
          <a:p>
            <a:r>
              <a:rPr lang="en-US"/>
              <a:t>© Arcadis 2020</a:t>
            </a:r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574CAA3B-8EAA-4562-9B16-819D52DA0A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0900" y="6446839"/>
            <a:ext cx="7239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FE63AA4-120D-435A-A130-F49443AF7C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0293718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tint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C43E271-585A-4BE6-84C9-3787B822945E}"/>
              </a:ext>
            </a:extLst>
          </p:cNvPr>
          <p:cNvSpPr/>
          <p:nvPr userDrawn="1"/>
        </p:nvSpPr>
        <p:spPr>
          <a:xfrm>
            <a:off x="0" y="2"/>
            <a:ext cx="5029200" cy="6857999"/>
          </a:xfrm>
          <a:prstGeom prst="rect">
            <a:avLst/>
          </a:prstGeom>
          <a:solidFill>
            <a:srgbClr val="E7E6E6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sz="2044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B4049965-34B5-48F5-8EBC-41C49A33113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257800" y="914400"/>
            <a:ext cx="6477000" cy="29718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097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insert an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55ECC8B-4B56-4777-97FD-BF1D9B8F06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2" y="914400"/>
            <a:ext cx="4378036" cy="2743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sz="419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  <a:endParaRPr lang="en-PH"/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19AF6AE8-D2B1-4EB5-BBB4-9077B1F7CB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2" y="4114800"/>
            <a:ext cx="4378036" cy="228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>
                <a:schemeClr val="bg1"/>
              </a:buClr>
              <a:buFont typeface="Arial" panose="020B0604020202020204" pitchFamily="34" charset="0"/>
              <a:buNone/>
              <a:defRPr sz="1795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4" name="Date Placeholder 2">
            <a:extLst>
              <a:ext uri="{FF2B5EF4-FFF2-40B4-BE49-F238E27FC236}">
                <a16:creationId xmlns:a16="http://schemas.microsoft.com/office/drawing/2014/main" id="{F7EFBD7E-84AE-4193-97A7-6053CA8057A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67800" y="6446839"/>
            <a:ext cx="17145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C2C1C1"/>
                </a:solidFill>
              </a:defRPr>
            </a:lvl1pPr>
          </a:lstStyle>
          <a:p>
            <a:fld id="{728B004E-4B0B-4DF1-AA0F-92C7B3BE2D33}" type="datetime3">
              <a:rPr lang="en-US" smtClean="0"/>
              <a:t>5 October 2025</a:t>
            </a:fld>
            <a:endParaRPr lang="en-US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06ED1264-F351-4CA8-9D38-F5167E4E7F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1" y="6446839"/>
            <a:ext cx="1676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C2C1C1"/>
                </a:solidFill>
              </a:defRPr>
            </a:lvl1pPr>
          </a:lstStyle>
          <a:p>
            <a:r>
              <a:rPr lang="en-US"/>
              <a:t>© Arcadis 2020</a:t>
            </a:r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574CAA3B-8EAA-4562-9B16-819D52DA0A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0900" y="6446839"/>
            <a:ext cx="7239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FE63AA4-120D-435A-A130-F49443AF7CB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A2888DD6-4C08-481E-A9EB-9815DF6BFB8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85510" y="4114800"/>
            <a:ext cx="260119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526F53BF-9DA3-4E25-8DD6-6B726825747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15300" y="4114800"/>
            <a:ext cx="26670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120E7F6D-CF3A-4D0B-BA18-8D08AD875D5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85510" y="4572000"/>
            <a:ext cx="2601190" cy="18288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AC39755-8A7B-44F0-ACE0-02BD1FF6F2B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15300" y="4572000"/>
            <a:ext cx="2667000" cy="18288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AB0CEB3C-53C9-4D4F-8FA5-29A28813185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6200" y="457202"/>
            <a:ext cx="1498600" cy="228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7818538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tint block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C43E271-585A-4BE6-84C9-3787B822945E}"/>
              </a:ext>
            </a:extLst>
          </p:cNvPr>
          <p:cNvSpPr/>
          <p:nvPr userDrawn="1"/>
        </p:nvSpPr>
        <p:spPr>
          <a:xfrm>
            <a:off x="1" y="2"/>
            <a:ext cx="4038600" cy="6857999"/>
          </a:xfrm>
          <a:prstGeom prst="rect">
            <a:avLst/>
          </a:prstGeom>
          <a:solidFill>
            <a:srgbClr val="E7E6E6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sz="2044"/>
          </a:p>
        </p:txBody>
      </p:sp>
      <p:sp>
        <p:nvSpPr>
          <p:cNvPr id="14" name="Date Placeholder 2">
            <a:extLst>
              <a:ext uri="{FF2B5EF4-FFF2-40B4-BE49-F238E27FC236}">
                <a16:creationId xmlns:a16="http://schemas.microsoft.com/office/drawing/2014/main" id="{F7EFBD7E-84AE-4193-97A7-6053CA8057A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67800" y="6446839"/>
            <a:ext cx="17145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C2C1C1"/>
                </a:solidFill>
              </a:defRPr>
            </a:lvl1pPr>
          </a:lstStyle>
          <a:p>
            <a:fld id="{728B004E-4B0B-4DF1-AA0F-92C7B3BE2D33}" type="datetime3">
              <a:rPr lang="en-US" smtClean="0"/>
              <a:t>5 October 2025</a:t>
            </a:fld>
            <a:endParaRPr lang="en-US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06ED1264-F351-4CA8-9D38-F5167E4E7F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1" y="6446839"/>
            <a:ext cx="1676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C2C1C1"/>
                </a:solidFill>
              </a:defRPr>
            </a:lvl1pPr>
          </a:lstStyle>
          <a:p>
            <a:r>
              <a:rPr lang="en-US"/>
              <a:t>© Arcadis 2020</a:t>
            </a:r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574CAA3B-8EAA-4562-9B16-819D52DA0A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0900" y="6446839"/>
            <a:ext cx="7239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FE63AA4-120D-435A-A130-F49443AF7CB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81AFEDCA-5DFA-4012-BB79-36C20DA068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1835728"/>
            <a:ext cx="3366654" cy="1593273"/>
          </a:xfrm>
          <a:prstGeom prst="rect">
            <a:avLst/>
          </a:prstGeom>
        </p:spPr>
        <p:txBody>
          <a:bodyPr rIns="90000">
            <a:noAutofit/>
          </a:bodyPr>
          <a:lstStyle>
            <a:lvl1pPr>
              <a:lnSpc>
                <a:spcPct val="90000"/>
              </a:lnSpc>
              <a:defRPr sz="2793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Title</a:t>
            </a:r>
            <a:endParaRPr lang="en-PH"/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F68EE003-0251-496B-8C8B-76B18E7545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3657600"/>
            <a:ext cx="3366655" cy="1600200"/>
          </a:xfrm>
          <a:prstGeom prst="rect">
            <a:avLst/>
          </a:prstGeom>
        </p:spPr>
        <p:txBody>
          <a:bodyPr lIns="0" tIns="0" rIns="90000" bIns="0"/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59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4FCD446E-D362-46C5-91D6-8B0C743A3773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267200" y="914400"/>
            <a:ext cx="7467600" cy="45720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1097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diagram</a:t>
            </a:r>
            <a:endParaRPr lang="en-PH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428C9DA-F3D9-FB47-BFD9-EAA7267167D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6200" y="457202"/>
            <a:ext cx="1498600" cy="228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927000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C294B6CA-68F4-4F29-B1B2-5880C39BEB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2057400"/>
            <a:ext cx="4571999" cy="2743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sz="419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Title</a:t>
            </a:r>
            <a:endParaRPr lang="en-PH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7C602180-74AB-4C47-90BF-1DB0B4AE12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57800" y="2057400"/>
            <a:ext cx="6477000" cy="2743200"/>
          </a:xfrm>
          <a:prstGeom prst="rect">
            <a:avLst/>
          </a:prstGeom>
        </p:spPr>
        <p:txBody>
          <a:bodyPr lIns="0" tIns="0" rIns="0" bIns="0"/>
          <a:lstStyle>
            <a:lvl1pPr marL="269325" indent="-269325">
              <a:spcBef>
                <a:spcPts val="299"/>
              </a:spcBef>
              <a:spcAft>
                <a:spcPts val="599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795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4" name="Date Placeholder 2">
            <a:extLst>
              <a:ext uri="{FF2B5EF4-FFF2-40B4-BE49-F238E27FC236}">
                <a16:creationId xmlns:a16="http://schemas.microsoft.com/office/drawing/2014/main" id="{D21A4A63-194D-44EE-8FD5-0DC125F8AD5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67800" y="6446839"/>
            <a:ext cx="17145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C2C1C1"/>
                </a:solidFill>
              </a:defRPr>
            </a:lvl1pPr>
          </a:lstStyle>
          <a:p>
            <a:fld id="{728B004E-4B0B-4DF1-AA0F-92C7B3BE2D33}" type="datetime3">
              <a:rPr lang="en-US" smtClean="0"/>
              <a:t>5 October 2025</a:t>
            </a:fld>
            <a:endParaRPr lang="en-US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56F6C28F-5358-4062-88C8-6D4BFC91CA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1" y="6446839"/>
            <a:ext cx="1676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C2C1C1"/>
                </a:solidFill>
              </a:defRPr>
            </a:lvl1pPr>
          </a:lstStyle>
          <a:p>
            <a:r>
              <a:rPr lang="en-US"/>
              <a:t>© Arcadis 2020</a:t>
            </a:r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8ABEE2D3-61AE-4C81-9A32-FE33D23881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0900" y="6446839"/>
            <a:ext cx="7239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FE63AA4-120D-435A-A130-F49443AF7CB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0399C13-96FF-4DD8-94E9-6E6C21066F9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6200" y="457202"/>
            <a:ext cx="1498600" cy="228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398164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91E2E6-68F9-4B47-93D3-947FED19C9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2"/>
            <a:ext cx="11277600" cy="6857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Single column content slide title</a:t>
            </a:r>
            <a:endParaRPr lang="en-PH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1FC30F-D90F-4081-84AD-5021EEF2D76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67800" y="6446839"/>
            <a:ext cx="1714500" cy="365125"/>
          </a:xfrm>
          <a:prstGeom prst="rect">
            <a:avLst/>
          </a:prstGeom>
        </p:spPr>
        <p:txBody>
          <a:bodyPr/>
          <a:lstStyle/>
          <a:p>
            <a:fld id="{F31E42D4-B472-4D33-8D3D-6F0C0E7887EA}" type="datetime3">
              <a:rPr lang="en-US" smtClean="0"/>
              <a:t>5 October 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F17F31C-C68E-4CC9-99B9-F4A1379589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1" y="6446839"/>
            <a:ext cx="16764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Arcadis 20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946211B-B861-4D47-82A5-98F0465B6F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0900" y="6446839"/>
            <a:ext cx="723900" cy="365125"/>
          </a:xfrm>
          <a:prstGeom prst="rect">
            <a:avLst/>
          </a:prstGeom>
        </p:spPr>
        <p:txBody>
          <a:bodyPr/>
          <a:lstStyle/>
          <a:p>
            <a:fld id="{2FE63AA4-120D-435A-A130-F49443AF7CB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98B0F4A-603D-4EE9-86E7-F8ECA1A3CF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828768"/>
            <a:ext cx="11277600" cy="4572032"/>
          </a:xfrm>
          <a:prstGeom prst="rect">
            <a:avLst/>
          </a:prstGeom>
        </p:spPr>
        <p:txBody>
          <a:bodyPr lIns="0" tIns="0" rIns="0" bIns="0"/>
          <a:lstStyle>
            <a:lvl1pPr marL="269325" indent="-269325">
              <a:spcBef>
                <a:spcPts val="299"/>
              </a:spcBef>
              <a:spcAft>
                <a:spcPts val="599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596" b="0">
                <a:solidFill>
                  <a:schemeClr val="tx1"/>
                </a:solidFill>
              </a:defRPr>
            </a:lvl1pPr>
            <a:lvl2pPr marL="538650" indent="-269325">
              <a:spcBef>
                <a:spcPts val="299"/>
              </a:spcBef>
              <a:spcAft>
                <a:spcPts val="599"/>
              </a:spcAft>
              <a:buFont typeface="Arial" panose="020B0604020202020204" pitchFamily="34" charset="0"/>
              <a:buNone/>
              <a:defRPr sz="1596"/>
            </a:lvl2pPr>
          </a:lstStyle>
          <a:p>
            <a:pPr lvl="0"/>
            <a:r>
              <a:rPr lang="en-US"/>
              <a:t>Standard Text 16</a:t>
            </a:r>
          </a:p>
          <a:p>
            <a:pPr lvl="0"/>
            <a:r>
              <a:rPr lang="en-US"/>
              <a:t>Standard bullet 16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3D83EFEE-1A28-4845-BE8D-F727C55AD7B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6200" y="457202"/>
            <a:ext cx="1498600" cy="228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923643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text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91E2E6-68F9-4B47-93D3-947FED19C9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2"/>
            <a:ext cx="11277600" cy="6857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Single column content slide title</a:t>
            </a:r>
            <a:endParaRPr lang="en-PH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1FC30F-D90F-4081-84AD-5021EEF2D76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67800" y="6446839"/>
            <a:ext cx="1714500" cy="365125"/>
          </a:xfrm>
          <a:prstGeom prst="rect">
            <a:avLst/>
          </a:prstGeom>
        </p:spPr>
        <p:txBody>
          <a:bodyPr/>
          <a:lstStyle/>
          <a:p>
            <a:fld id="{F31E42D4-B472-4D33-8D3D-6F0C0E7887EA}" type="datetime3">
              <a:rPr lang="en-US" smtClean="0"/>
              <a:t>5 October 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F17F31C-C68E-4CC9-99B9-F4A1379589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1" y="6446839"/>
            <a:ext cx="16764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Arcadis 20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946211B-B861-4D47-82A5-98F0465B6F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0900" y="6446839"/>
            <a:ext cx="723900" cy="365125"/>
          </a:xfrm>
          <a:prstGeom prst="rect">
            <a:avLst/>
          </a:prstGeom>
        </p:spPr>
        <p:txBody>
          <a:bodyPr/>
          <a:lstStyle/>
          <a:p>
            <a:fld id="{2FE63AA4-120D-435A-A130-F49443AF7CB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98B0F4A-603D-4EE9-86E7-F8ECA1A3CF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261998"/>
            <a:ext cx="11277600" cy="4138803"/>
          </a:xfrm>
          <a:prstGeom prst="rect">
            <a:avLst/>
          </a:prstGeom>
        </p:spPr>
        <p:txBody>
          <a:bodyPr lIns="0" tIns="0" rIns="0" bIns="0"/>
          <a:lstStyle>
            <a:lvl1pPr marL="269325" indent="-269325">
              <a:spcBef>
                <a:spcPts val="299"/>
              </a:spcBef>
              <a:spcAft>
                <a:spcPts val="599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596" b="0">
                <a:solidFill>
                  <a:schemeClr val="tx1"/>
                </a:solidFill>
              </a:defRPr>
            </a:lvl1pPr>
            <a:lvl2pPr marL="538650" indent="-269325">
              <a:spcBef>
                <a:spcPts val="299"/>
              </a:spcBef>
              <a:spcAft>
                <a:spcPts val="599"/>
              </a:spcAft>
              <a:buFont typeface="Arial" panose="020B0604020202020204" pitchFamily="34" charset="0"/>
              <a:buNone/>
              <a:defRPr sz="1596"/>
            </a:lvl2pPr>
          </a:lstStyle>
          <a:p>
            <a:pPr lvl="0"/>
            <a:r>
              <a:rPr lang="en-US"/>
              <a:t>Standard Text 16</a:t>
            </a:r>
          </a:p>
          <a:p>
            <a:pPr lvl="0"/>
            <a:r>
              <a:rPr lang="en-US"/>
              <a:t>Standard bullet 16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3D83EFEE-1A28-4845-BE8D-F727C55AD7B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6200" y="457202"/>
            <a:ext cx="1498600" cy="228631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B07DFCD3-CE14-EA48-9EA3-FBDA19CE4F24}"/>
              </a:ext>
            </a:extLst>
          </p:cNvPr>
          <p:cNvSpPr txBox="1">
            <a:spLocks/>
          </p:cNvSpPr>
          <p:nvPr userDrawn="1"/>
        </p:nvSpPr>
        <p:spPr>
          <a:xfrm>
            <a:off x="478824" y="1600202"/>
            <a:ext cx="11277600" cy="66179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8691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95">
                <a:solidFill>
                  <a:schemeClr val="tx1"/>
                </a:solidFill>
              </a:rPr>
              <a:t>Subtitle</a:t>
            </a:r>
            <a:endParaRPr lang="en-PH" sz="2095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8852306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91E2E6-68F9-4B47-93D3-947FED19C9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2"/>
            <a:ext cx="11277600" cy="6857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Two column content slide title</a:t>
            </a:r>
            <a:endParaRPr lang="en-PH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1FC30F-D90F-4081-84AD-5021EEF2D76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67800" y="6446839"/>
            <a:ext cx="1714500" cy="365125"/>
          </a:xfrm>
          <a:prstGeom prst="rect">
            <a:avLst/>
          </a:prstGeom>
        </p:spPr>
        <p:txBody>
          <a:bodyPr/>
          <a:lstStyle/>
          <a:p>
            <a:fld id="{F31E42D4-B472-4D33-8D3D-6F0C0E7887EA}" type="datetime3">
              <a:rPr lang="en-US" smtClean="0"/>
              <a:t>5 October 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F17F31C-C68E-4CC9-99B9-F4A1379589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1" y="6446839"/>
            <a:ext cx="16764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Arcadis 20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946211B-B861-4D47-82A5-98F0465B6F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0900" y="6446839"/>
            <a:ext cx="723900" cy="365125"/>
          </a:xfrm>
          <a:prstGeom prst="rect">
            <a:avLst/>
          </a:prstGeom>
        </p:spPr>
        <p:txBody>
          <a:bodyPr/>
          <a:lstStyle/>
          <a:p>
            <a:fld id="{2FE63AA4-120D-435A-A130-F49443AF7CB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98B0F4A-603D-4EE9-86E7-F8ECA1A3CF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2309018"/>
            <a:ext cx="5524500" cy="4091782"/>
          </a:xfrm>
          <a:prstGeom prst="rect">
            <a:avLst/>
          </a:prstGeom>
        </p:spPr>
        <p:txBody>
          <a:bodyPr lIns="0" tIns="0" rIns="0" bIns="0"/>
          <a:lstStyle>
            <a:lvl1pPr marL="269325" indent="-269325">
              <a:spcBef>
                <a:spcPts val="299"/>
              </a:spcBef>
              <a:spcAft>
                <a:spcPts val="599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397" b="0">
                <a:solidFill>
                  <a:schemeClr val="tx1"/>
                </a:solidFill>
              </a:defRPr>
            </a:lvl1pPr>
            <a:lvl2pPr marL="538650" indent="-269325">
              <a:spcBef>
                <a:spcPts val="299"/>
              </a:spcBef>
              <a:spcAft>
                <a:spcPts val="599"/>
              </a:spcAft>
              <a:buFont typeface="Arial" panose="020B0604020202020204" pitchFamily="34" charset="0"/>
              <a:buChar char="−"/>
              <a:defRPr sz="1397"/>
            </a:lvl2pPr>
          </a:lstStyle>
          <a:p>
            <a:pPr lvl="0"/>
            <a:r>
              <a:rPr lang="en-US"/>
              <a:t>Standard bullet 14</a:t>
            </a:r>
          </a:p>
          <a:p>
            <a:pPr lvl="1"/>
            <a:r>
              <a:rPr lang="en-US"/>
              <a:t>Second level standard bullet 14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AD203639-DCA9-4BBA-A1F3-753BF58A052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1" y="1842292"/>
            <a:ext cx="5524500" cy="2381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59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23" name="Text Placeholder 16">
            <a:extLst>
              <a:ext uri="{FF2B5EF4-FFF2-40B4-BE49-F238E27FC236}">
                <a16:creationId xmlns:a16="http://schemas.microsoft.com/office/drawing/2014/main" id="{998836C9-68B5-4657-982E-52E03AACC2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10300" y="2309019"/>
            <a:ext cx="5524500" cy="4091781"/>
          </a:xfrm>
          <a:prstGeom prst="rect">
            <a:avLst/>
          </a:prstGeom>
        </p:spPr>
        <p:txBody>
          <a:bodyPr lIns="0" tIns="0" rIns="0" bIns="0"/>
          <a:lstStyle>
            <a:lvl1pPr marL="269325" indent="-269325">
              <a:spcBef>
                <a:spcPts val="299"/>
              </a:spcBef>
              <a:spcAft>
                <a:spcPts val="599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397" b="0">
                <a:solidFill>
                  <a:schemeClr val="tx1"/>
                </a:solidFill>
              </a:defRPr>
            </a:lvl1pPr>
            <a:lvl2pPr marL="538650" indent="-269325">
              <a:spcBef>
                <a:spcPts val="299"/>
              </a:spcBef>
              <a:spcAft>
                <a:spcPts val="599"/>
              </a:spcAft>
              <a:buFont typeface="Arial" panose="020B0604020202020204" pitchFamily="34" charset="0"/>
              <a:buChar char="−"/>
              <a:defRPr sz="1397"/>
            </a:lvl2pPr>
          </a:lstStyle>
          <a:p>
            <a:pPr lvl="0"/>
            <a:r>
              <a:rPr lang="en-US"/>
              <a:t>Standard bullet 14</a:t>
            </a:r>
          </a:p>
          <a:p>
            <a:pPr lvl="1"/>
            <a:r>
              <a:rPr lang="en-US"/>
              <a:t>Second level standard bullet 14</a:t>
            </a:r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id="{A6A9F80A-32AD-4602-AD0E-143DE6B70B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10300" y="1842292"/>
            <a:ext cx="5524500" cy="2381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59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3D83EFEE-1A28-4845-BE8D-F727C55AD7B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6200" y="457202"/>
            <a:ext cx="1498600" cy="228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39440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91E2E6-68F9-4B47-93D3-947FED19C9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2"/>
            <a:ext cx="11277600" cy="6857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Two column content slide title</a:t>
            </a:r>
            <a:endParaRPr lang="en-PH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1FC30F-D90F-4081-84AD-5021EEF2D76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67800" y="6446839"/>
            <a:ext cx="1714500" cy="365125"/>
          </a:xfrm>
          <a:prstGeom prst="rect">
            <a:avLst/>
          </a:prstGeom>
        </p:spPr>
        <p:txBody>
          <a:bodyPr/>
          <a:lstStyle/>
          <a:p>
            <a:fld id="{F31E42D4-B472-4D33-8D3D-6F0C0E7887EA}" type="datetime3">
              <a:rPr lang="en-US" smtClean="0"/>
              <a:t>5 October 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F17F31C-C68E-4CC9-99B9-F4A1379589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1" y="6446839"/>
            <a:ext cx="16764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Arcadis 20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946211B-B861-4D47-82A5-98F0465B6F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0900" y="6446839"/>
            <a:ext cx="723900" cy="365125"/>
          </a:xfrm>
          <a:prstGeom prst="rect">
            <a:avLst/>
          </a:prstGeom>
        </p:spPr>
        <p:txBody>
          <a:bodyPr/>
          <a:lstStyle/>
          <a:p>
            <a:fld id="{2FE63AA4-120D-435A-A130-F49443AF7CB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98B0F4A-603D-4EE9-86E7-F8ECA1A3CF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2743200"/>
            <a:ext cx="5524500" cy="3657600"/>
          </a:xfrm>
          <a:prstGeom prst="rect">
            <a:avLst/>
          </a:prstGeom>
        </p:spPr>
        <p:txBody>
          <a:bodyPr lIns="0" tIns="0" rIns="0" bIns="0"/>
          <a:lstStyle>
            <a:lvl1pPr marL="269325" indent="-269325">
              <a:spcBef>
                <a:spcPts val="299"/>
              </a:spcBef>
              <a:spcAft>
                <a:spcPts val="599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397" b="0">
                <a:solidFill>
                  <a:schemeClr val="tx1"/>
                </a:solidFill>
              </a:defRPr>
            </a:lvl1pPr>
            <a:lvl2pPr marL="538650" indent="-269325">
              <a:spcBef>
                <a:spcPts val="299"/>
              </a:spcBef>
              <a:spcAft>
                <a:spcPts val="599"/>
              </a:spcAft>
              <a:buFont typeface="Arial" panose="020B0604020202020204" pitchFamily="34" charset="0"/>
              <a:buChar char="−"/>
              <a:defRPr sz="1397"/>
            </a:lvl2pPr>
          </a:lstStyle>
          <a:p>
            <a:pPr lvl="0"/>
            <a:r>
              <a:rPr lang="en-US"/>
              <a:t>Standard bullet 14</a:t>
            </a:r>
          </a:p>
          <a:p>
            <a:pPr lvl="1"/>
            <a:r>
              <a:rPr lang="en-US"/>
              <a:t>Second level standard bullet 14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AD203639-DCA9-4BBA-A1F3-753BF58A052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1" y="2276474"/>
            <a:ext cx="5524500" cy="2381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59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23" name="Text Placeholder 16">
            <a:extLst>
              <a:ext uri="{FF2B5EF4-FFF2-40B4-BE49-F238E27FC236}">
                <a16:creationId xmlns:a16="http://schemas.microsoft.com/office/drawing/2014/main" id="{998836C9-68B5-4657-982E-52E03AACC2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10300" y="2743200"/>
            <a:ext cx="5524500" cy="3657600"/>
          </a:xfrm>
          <a:prstGeom prst="rect">
            <a:avLst/>
          </a:prstGeom>
        </p:spPr>
        <p:txBody>
          <a:bodyPr lIns="0" tIns="0" rIns="0" bIns="0"/>
          <a:lstStyle>
            <a:lvl1pPr marL="269325" indent="-269325">
              <a:spcBef>
                <a:spcPts val="299"/>
              </a:spcBef>
              <a:spcAft>
                <a:spcPts val="599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397" b="0">
                <a:solidFill>
                  <a:schemeClr val="tx1"/>
                </a:solidFill>
              </a:defRPr>
            </a:lvl1pPr>
            <a:lvl2pPr marL="538650" indent="-269325">
              <a:spcBef>
                <a:spcPts val="299"/>
              </a:spcBef>
              <a:spcAft>
                <a:spcPts val="599"/>
              </a:spcAft>
              <a:buFont typeface="Arial" panose="020B0604020202020204" pitchFamily="34" charset="0"/>
              <a:buChar char="−"/>
              <a:defRPr sz="1397"/>
            </a:lvl2pPr>
          </a:lstStyle>
          <a:p>
            <a:pPr lvl="0"/>
            <a:r>
              <a:rPr lang="en-US"/>
              <a:t>Standard bullet 14</a:t>
            </a:r>
          </a:p>
          <a:p>
            <a:pPr lvl="1"/>
            <a:r>
              <a:rPr lang="en-US"/>
              <a:t>Second level standard bullet 14</a:t>
            </a:r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id="{A6A9F80A-32AD-4602-AD0E-143DE6B70B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10300" y="2276474"/>
            <a:ext cx="5524500" cy="2381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59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3D83EFEE-1A28-4845-BE8D-F727C55AD7B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6200" y="457202"/>
            <a:ext cx="1498600" cy="228631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718C9305-2532-564D-B4B1-6CEDA77AC7CA}"/>
              </a:ext>
            </a:extLst>
          </p:cNvPr>
          <p:cNvSpPr txBox="1">
            <a:spLocks/>
          </p:cNvSpPr>
          <p:nvPr userDrawn="1"/>
        </p:nvSpPr>
        <p:spPr>
          <a:xfrm>
            <a:off x="478824" y="1600202"/>
            <a:ext cx="11277600" cy="66179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8691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95">
                <a:solidFill>
                  <a:schemeClr val="tx1"/>
                </a:solidFill>
              </a:rPr>
              <a:t>Subtitle</a:t>
            </a:r>
            <a:endParaRPr lang="en-PH" sz="2095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43092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9604" y="509962"/>
            <a:ext cx="10972801" cy="451214"/>
          </a:xfrm>
          <a:prstGeom prst="rect">
            <a:avLst/>
          </a:prstGeom>
        </p:spPr>
        <p:txBody>
          <a:bodyPr lIns="0" tIns="0" rIns="0" bIns="0"/>
          <a:lstStyle>
            <a:lvl1pPr>
              <a:defRPr sz="291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36207870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91E2E6-68F9-4B47-93D3-947FED19C9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2"/>
            <a:ext cx="11277600" cy="6857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Three column content slide title</a:t>
            </a:r>
            <a:endParaRPr lang="en-PH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1FC30F-D90F-4081-84AD-5021EEF2D76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67800" y="6446839"/>
            <a:ext cx="1714500" cy="365125"/>
          </a:xfrm>
          <a:prstGeom prst="rect">
            <a:avLst/>
          </a:prstGeom>
        </p:spPr>
        <p:txBody>
          <a:bodyPr/>
          <a:lstStyle/>
          <a:p>
            <a:fld id="{F31E42D4-B472-4D33-8D3D-6F0C0E7887EA}" type="datetime3">
              <a:rPr lang="en-US" smtClean="0"/>
              <a:t>5 October 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F17F31C-C68E-4CC9-99B9-F4A1379589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1" y="6446839"/>
            <a:ext cx="16764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Arcadis 20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946211B-B861-4D47-82A5-98F0465B6F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0900" y="6446839"/>
            <a:ext cx="723900" cy="365125"/>
          </a:xfrm>
          <a:prstGeom prst="rect">
            <a:avLst/>
          </a:prstGeom>
        </p:spPr>
        <p:txBody>
          <a:bodyPr/>
          <a:lstStyle/>
          <a:p>
            <a:fld id="{2FE63AA4-120D-435A-A130-F49443AF7CB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98B0F4A-603D-4EE9-86E7-F8ECA1A3CF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300522"/>
            <a:ext cx="3581400" cy="4100279"/>
          </a:xfrm>
          <a:prstGeom prst="rect">
            <a:avLst/>
          </a:prstGeom>
        </p:spPr>
        <p:txBody>
          <a:bodyPr lIns="0" tIns="0" rIns="0" bIns="0"/>
          <a:lstStyle>
            <a:lvl1pPr marL="269325" indent="-269325">
              <a:spcBef>
                <a:spcPts val="299"/>
              </a:spcBef>
              <a:spcAft>
                <a:spcPts val="599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397" b="0">
                <a:solidFill>
                  <a:schemeClr val="tx1"/>
                </a:solidFill>
              </a:defRPr>
            </a:lvl1pPr>
            <a:lvl2pPr marL="538650" indent="-269325">
              <a:spcBef>
                <a:spcPts val="299"/>
              </a:spcBef>
              <a:spcAft>
                <a:spcPts val="599"/>
              </a:spcAft>
              <a:buFont typeface="Arial" panose="020B0604020202020204" pitchFamily="34" charset="0"/>
              <a:buChar char="−"/>
              <a:defRPr/>
            </a:lvl2pPr>
          </a:lstStyle>
          <a:p>
            <a:pPr lvl="0"/>
            <a:r>
              <a:rPr lang="en-US"/>
              <a:t>Standard bullet 14</a:t>
            </a:r>
          </a:p>
          <a:p>
            <a:pPr lvl="1"/>
            <a:r>
              <a:rPr lang="en-US"/>
              <a:t>Second level standard bullet 14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AD203639-DCA9-4BBA-A1F3-753BF58A052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1833797"/>
            <a:ext cx="3581400" cy="238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59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23" name="Text Placeholder 16">
            <a:extLst>
              <a:ext uri="{FF2B5EF4-FFF2-40B4-BE49-F238E27FC236}">
                <a16:creationId xmlns:a16="http://schemas.microsoft.com/office/drawing/2014/main" id="{998836C9-68B5-4657-982E-52E03AACC2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67200" y="2300522"/>
            <a:ext cx="3581400" cy="4100279"/>
          </a:xfrm>
          <a:prstGeom prst="rect">
            <a:avLst/>
          </a:prstGeom>
        </p:spPr>
        <p:txBody>
          <a:bodyPr lIns="0" tIns="0" rIns="0" bIns="0"/>
          <a:lstStyle>
            <a:lvl1pPr marL="269325" indent="-269325">
              <a:spcBef>
                <a:spcPts val="299"/>
              </a:spcBef>
              <a:spcAft>
                <a:spcPts val="599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397" b="0">
                <a:solidFill>
                  <a:schemeClr val="tx1"/>
                </a:solidFill>
              </a:defRPr>
            </a:lvl1pPr>
            <a:lvl2pPr marL="538650" indent="-269325">
              <a:spcBef>
                <a:spcPts val="299"/>
              </a:spcBef>
              <a:spcAft>
                <a:spcPts val="599"/>
              </a:spcAft>
              <a:buFont typeface="Arial" panose="020B0604020202020204" pitchFamily="34" charset="0"/>
              <a:buChar char="−"/>
              <a:defRPr/>
            </a:lvl2pPr>
          </a:lstStyle>
          <a:p>
            <a:pPr lvl="0"/>
            <a:r>
              <a:rPr lang="en-US"/>
              <a:t>Standard bullet 14</a:t>
            </a:r>
          </a:p>
          <a:p>
            <a:pPr lvl="1"/>
            <a:r>
              <a:rPr lang="en-US"/>
              <a:t>Second level standard bullet 14</a:t>
            </a:r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id="{A6A9F80A-32AD-4602-AD0E-143DE6B70B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67200" y="1833797"/>
            <a:ext cx="3581400" cy="238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59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25" name="Text Placeholder 16">
            <a:extLst>
              <a:ext uri="{FF2B5EF4-FFF2-40B4-BE49-F238E27FC236}">
                <a16:creationId xmlns:a16="http://schemas.microsoft.com/office/drawing/2014/main" id="{134F5A69-A25D-405C-AD1C-37A59E633A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15300" y="2300521"/>
            <a:ext cx="3581400" cy="4100278"/>
          </a:xfrm>
          <a:prstGeom prst="rect">
            <a:avLst/>
          </a:prstGeom>
        </p:spPr>
        <p:txBody>
          <a:bodyPr lIns="0" tIns="0" rIns="0" bIns="0"/>
          <a:lstStyle>
            <a:lvl1pPr marL="269325" indent="-269325">
              <a:spcBef>
                <a:spcPts val="299"/>
              </a:spcBef>
              <a:spcAft>
                <a:spcPts val="599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397" b="0">
                <a:solidFill>
                  <a:schemeClr val="tx1"/>
                </a:solidFill>
              </a:defRPr>
            </a:lvl1pPr>
            <a:lvl2pPr marL="538650" indent="-269325">
              <a:spcBef>
                <a:spcPts val="299"/>
              </a:spcBef>
              <a:spcAft>
                <a:spcPts val="599"/>
              </a:spcAft>
              <a:buFont typeface="Arial" panose="020B0604020202020204" pitchFamily="34" charset="0"/>
              <a:buChar char="−"/>
              <a:defRPr/>
            </a:lvl2pPr>
          </a:lstStyle>
          <a:p>
            <a:pPr lvl="0"/>
            <a:r>
              <a:rPr lang="en-US"/>
              <a:t>Standard bullet 14</a:t>
            </a:r>
          </a:p>
          <a:p>
            <a:pPr lvl="1"/>
            <a:r>
              <a:rPr lang="en-US"/>
              <a:t>Second level standard bullet 14</a:t>
            </a: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72B29582-9D7B-409D-8BAF-67D6EDE8B4F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15300" y="1833797"/>
            <a:ext cx="3581400" cy="238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59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3D83EFEE-1A28-4845-BE8D-F727C55AD7B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6200" y="457202"/>
            <a:ext cx="1498600" cy="228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2057906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text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91E2E6-68F9-4B47-93D3-947FED19C9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2"/>
            <a:ext cx="11277600" cy="6857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Three column content slide title</a:t>
            </a:r>
            <a:endParaRPr lang="en-PH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1FC30F-D90F-4081-84AD-5021EEF2D76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67800" y="6446839"/>
            <a:ext cx="1714500" cy="365125"/>
          </a:xfrm>
          <a:prstGeom prst="rect">
            <a:avLst/>
          </a:prstGeom>
        </p:spPr>
        <p:txBody>
          <a:bodyPr/>
          <a:lstStyle/>
          <a:p>
            <a:fld id="{F31E42D4-B472-4D33-8D3D-6F0C0E7887EA}" type="datetime3">
              <a:rPr lang="en-US" smtClean="0"/>
              <a:t>5 October 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F17F31C-C68E-4CC9-99B9-F4A1379589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1" y="6446839"/>
            <a:ext cx="16764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Arcadis 20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946211B-B861-4D47-82A5-98F0465B6F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0900" y="6446839"/>
            <a:ext cx="723900" cy="365125"/>
          </a:xfrm>
          <a:prstGeom prst="rect">
            <a:avLst/>
          </a:prstGeom>
        </p:spPr>
        <p:txBody>
          <a:bodyPr/>
          <a:lstStyle/>
          <a:p>
            <a:fld id="{2FE63AA4-120D-435A-A130-F49443AF7CB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98B0F4A-603D-4EE9-86E7-F8ECA1A3CF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743200"/>
            <a:ext cx="3581400" cy="3657600"/>
          </a:xfrm>
          <a:prstGeom prst="rect">
            <a:avLst/>
          </a:prstGeom>
        </p:spPr>
        <p:txBody>
          <a:bodyPr lIns="0" tIns="0" rIns="0" bIns="0"/>
          <a:lstStyle>
            <a:lvl1pPr marL="269325" indent="-269325">
              <a:spcBef>
                <a:spcPts val="299"/>
              </a:spcBef>
              <a:spcAft>
                <a:spcPts val="599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397" b="0">
                <a:solidFill>
                  <a:schemeClr val="tx1"/>
                </a:solidFill>
              </a:defRPr>
            </a:lvl1pPr>
            <a:lvl2pPr marL="538650" indent="-269325">
              <a:spcBef>
                <a:spcPts val="299"/>
              </a:spcBef>
              <a:spcAft>
                <a:spcPts val="599"/>
              </a:spcAft>
              <a:buFont typeface="Arial" panose="020B0604020202020204" pitchFamily="34" charset="0"/>
              <a:buChar char="−"/>
              <a:defRPr/>
            </a:lvl2pPr>
          </a:lstStyle>
          <a:p>
            <a:pPr lvl="0"/>
            <a:r>
              <a:rPr lang="en-US"/>
              <a:t>Standard bullet 14</a:t>
            </a:r>
          </a:p>
          <a:p>
            <a:pPr lvl="1"/>
            <a:r>
              <a:rPr lang="en-US"/>
              <a:t>Second level standard bullet 14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AD203639-DCA9-4BBA-A1F3-753BF58A052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276476"/>
            <a:ext cx="3581400" cy="238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59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23" name="Text Placeholder 16">
            <a:extLst>
              <a:ext uri="{FF2B5EF4-FFF2-40B4-BE49-F238E27FC236}">
                <a16:creationId xmlns:a16="http://schemas.microsoft.com/office/drawing/2014/main" id="{998836C9-68B5-4657-982E-52E03AACC2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67200" y="2743201"/>
            <a:ext cx="3581400" cy="3657599"/>
          </a:xfrm>
          <a:prstGeom prst="rect">
            <a:avLst/>
          </a:prstGeom>
        </p:spPr>
        <p:txBody>
          <a:bodyPr lIns="0" tIns="0" rIns="0" bIns="0"/>
          <a:lstStyle>
            <a:lvl1pPr marL="269325" indent="-269325">
              <a:spcBef>
                <a:spcPts val="299"/>
              </a:spcBef>
              <a:spcAft>
                <a:spcPts val="599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397" b="0">
                <a:solidFill>
                  <a:schemeClr val="tx1"/>
                </a:solidFill>
              </a:defRPr>
            </a:lvl1pPr>
            <a:lvl2pPr marL="538650" indent="-269325">
              <a:spcBef>
                <a:spcPts val="299"/>
              </a:spcBef>
              <a:spcAft>
                <a:spcPts val="599"/>
              </a:spcAft>
              <a:buFont typeface="Arial" panose="020B0604020202020204" pitchFamily="34" charset="0"/>
              <a:buChar char="−"/>
              <a:defRPr/>
            </a:lvl2pPr>
          </a:lstStyle>
          <a:p>
            <a:pPr lvl="0"/>
            <a:r>
              <a:rPr lang="en-US"/>
              <a:t>Standard bullet 14</a:t>
            </a:r>
          </a:p>
          <a:p>
            <a:pPr lvl="1"/>
            <a:r>
              <a:rPr lang="en-US"/>
              <a:t>Second level standard bullet 14</a:t>
            </a:r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id="{A6A9F80A-32AD-4602-AD0E-143DE6B70B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67200" y="2276476"/>
            <a:ext cx="3581400" cy="238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59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25" name="Text Placeholder 16">
            <a:extLst>
              <a:ext uri="{FF2B5EF4-FFF2-40B4-BE49-F238E27FC236}">
                <a16:creationId xmlns:a16="http://schemas.microsoft.com/office/drawing/2014/main" id="{134F5A69-A25D-405C-AD1C-37A59E633A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15300" y="2743200"/>
            <a:ext cx="3581400" cy="3657600"/>
          </a:xfrm>
          <a:prstGeom prst="rect">
            <a:avLst/>
          </a:prstGeom>
        </p:spPr>
        <p:txBody>
          <a:bodyPr lIns="0" tIns="0" rIns="0" bIns="0"/>
          <a:lstStyle>
            <a:lvl1pPr marL="269325" indent="-269325">
              <a:spcBef>
                <a:spcPts val="299"/>
              </a:spcBef>
              <a:spcAft>
                <a:spcPts val="599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397" b="0">
                <a:solidFill>
                  <a:schemeClr val="tx1"/>
                </a:solidFill>
              </a:defRPr>
            </a:lvl1pPr>
            <a:lvl2pPr marL="538650" indent="-269325">
              <a:spcBef>
                <a:spcPts val="299"/>
              </a:spcBef>
              <a:spcAft>
                <a:spcPts val="599"/>
              </a:spcAft>
              <a:buFont typeface="Arial" panose="020B0604020202020204" pitchFamily="34" charset="0"/>
              <a:buChar char="−"/>
              <a:defRPr/>
            </a:lvl2pPr>
          </a:lstStyle>
          <a:p>
            <a:pPr lvl="0"/>
            <a:r>
              <a:rPr lang="en-US"/>
              <a:t>Standard bullet 14</a:t>
            </a:r>
          </a:p>
          <a:p>
            <a:pPr lvl="1"/>
            <a:r>
              <a:rPr lang="en-US"/>
              <a:t>Second level standard bullet 14</a:t>
            </a: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72B29582-9D7B-409D-8BAF-67D6EDE8B4F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15300" y="2276476"/>
            <a:ext cx="3581400" cy="238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59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3D83EFEE-1A28-4845-BE8D-F727C55AD7B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6200" y="457202"/>
            <a:ext cx="1498600" cy="228631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5B9A1639-8CE9-3C48-A231-0771FB858034}"/>
              </a:ext>
            </a:extLst>
          </p:cNvPr>
          <p:cNvSpPr txBox="1">
            <a:spLocks/>
          </p:cNvSpPr>
          <p:nvPr userDrawn="1"/>
        </p:nvSpPr>
        <p:spPr>
          <a:xfrm>
            <a:off x="478824" y="1600202"/>
            <a:ext cx="11277600" cy="66179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8691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95">
                <a:solidFill>
                  <a:schemeClr val="tx1"/>
                </a:solidFill>
              </a:rPr>
              <a:t>Subtitle</a:t>
            </a:r>
            <a:endParaRPr lang="en-PH" sz="2095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2168188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d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596AD41-266C-4571-BD90-D949772F0CA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67800" y="6446839"/>
            <a:ext cx="1714500" cy="365125"/>
          </a:xfrm>
          <a:prstGeom prst="rect">
            <a:avLst/>
          </a:prstGeom>
        </p:spPr>
        <p:txBody>
          <a:bodyPr/>
          <a:lstStyle/>
          <a:p>
            <a:fld id="{F31E42D4-B472-4D33-8D3D-6F0C0E7887EA}" type="datetime3">
              <a:rPr lang="en-US" smtClean="0"/>
              <a:t>5 October 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F7D8747-9B5D-4149-8F86-4E1222FB49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1" y="6446839"/>
            <a:ext cx="16764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Arcadis 20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682C76-F6F3-447F-A75C-9396F9D5B6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0900" y="6446839"/>
            <a:ext cx="723900" cy="365125"/>
          </a:xfrm>
          <a:prstGeom prst="rect">
            <a:avLst/>
          </a:prstGeom>
        </p:spPr>
        <p:txBody>
          <a:bodyPr/>
          <a:lstStyle/>
          <a:p>
            <a:fld id="{2FE63AA4-120D-435A-A130-F49443AF7CB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87D24936-7028-4BCA-BA74-9157A23F8E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09701" y="2286000"/>
            <a:ext cx="9372600" cy="1600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2793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“An inspirational and credible client quote that backs up the key message throughout the document and is attempting to get across to the reader or assessor.”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481759E4-DDDC-471A-82DE-8F17703FCF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09701" y="4114800"/>
            <a:ext cx="9372600" cy="13716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596" b="0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, Role Organization</a:t>
            </a:r>
          </a:p>
        </p:txBody>
      </p:sp>
    </p:spTree>
    <p:extLst>
      <p:ext uri="{BB962C8B-B14F-4D97-AF65-F5344CB8AC3E}">
        <p14:creationId xmlns:p14="http://schemas.microsoft.com/office/powerpoint/2010/main" val="1765593729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d quote - oran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87D24936-7028-4BCA-BA74-9157A23F8E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09701" y="2286000"/>
            <a:ext cx="9372600" cy="1600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2793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“An inspirational and credible client quote that backs up the key message throughout the document and is attempting to get across to the reader or assessor.”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481759E4-DDDC-471A-82DE-8F17703FCF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09701" y="4114800"/>
            <a:ext cx="9372600" cy="13716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596" b="0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, Role Organization</a:t>
            </a:r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9F0C3B73-35C5-4C9C-9477-B4DCE6590CC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67800" y="6446839"/>
            <a:ext cx="17145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8D8C3"/>
                </a:solidFill>
              </a:defRPr>
            </a:lvl1pPr>
          </a:lstStyle>
          <a:p>
            <a:fld id="{A0BEE50B-DF5F-4EE0-B2E4-70A3C4CF1C51}" type="datetime3">
              <a:rPr lang="en-US" smtClean="0"/>
              <a:t>5 October 2025</a:t>
            </a:fld>
            <a:endParaRPr lang="en-US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E629ABAB-D9C0-41F5-9318-F6C7A95E72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1" y="6446839"/>
            <a:ext cx="1676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8D8C3"/>
                </a:solidFill>
              </a:defRPr>
            </a:lvl1pPr>
          </a:lstStyle>
          <a:p>
            <a:r>
              <a:rPr lang="en-US"/>
              <a:t>© Arcadis 2020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520FC342-35AD-479B-BFC3-B9548C0DAD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0900" y="6446839"/>
            <a:ext cx="7239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FE63AA4-120D-435A-A130-F49443AF7C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007403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-line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2C91CC-F6C0-46C8-AD41-966625DFB2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2"/>
            <a:ext cx="11277600" cy="6857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Title</a:t>
            </a:r>
            <a:endParaRPr lang="en-PH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71D72CD-903A-4DA5-A4AE-CB64DA00486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67800" y="6446839"/>
            <a:ext cx="1714500" cy="365125"/>
          </a:xfrm>
          <a:prstGeom prst="rect">
            <a:avLst/>
          </a:prstGeom>
        </p:spPr>
        <p:txBody>
          <a:bodyPr/>
          <a:lstStyle/>
          <a:p>
            <a:fld id="{D8EBF9C5-65E1-4ACA-8722-699E20411C12}" type="datetime3">
              <a:rPr lang="en-US" smtClean="0"/>
              <a:t>5 October 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0152E12-BD9B-4D11-8619-94938027FB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1" y="6446839"/>
            <a:ext cx="16764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Arcadis 20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CCC05E4-5407-478F-902A-77A4A669BB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0900" y="6446839"/>
            <a:ext cx="723900" cy="365125"/>
          </a:xfrm>
          <a:prstGeom prst="rect">
            <a:avLst/>
          </a:prstGeom>
        </p:spPr>
        <p:txBody>
          <a:bodyPr/>
          <a:lstStyle/>
          <a:p>
            <a:fld id="{2FE63AA4-120D-435A-A130-F49443AF7CB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558B04FE-4F42-4EFB-B1CE-BD4CCF07B4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828800"/>
            <a:ext cx="7429500" cy="6858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2095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 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419B76A8-F75C-4A84-BA78-0F10BAB9342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" y="2743200"/>
            <a:ext cx="7429500" cy="36576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097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insert an image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CF93632D-B9B1-42EC-B6DD-06CFA704D6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15300" y="2743200"/>
            <a:ext cx="3619500" cy="16002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795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“Arcadis have delivered incredible outcomes for our people and our clients. We have worked collaboratively together to far exceed our expectations at the start of this project.”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E29AFD24-B5A4-4A36-A5FB-E5A6A8150EC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15300" y="4572000"/>
            <a:ext cx="3619500" cy="1397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397" b="0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, Role Organization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794148E-040C-45F1-833B-57885EB3C6C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6200" y="457202"/>
            <a:ext cx="1498600" cy="228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2695680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s - Image Overl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7D24B23D-CD1A-46D9-8DFF-0714C877178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097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insert an image &gt; Right Click &gt; Send to Back</a:t>
            </a:r>
          </a:p>
        </p:txBody>
      </p:sp>
      <p:sp>
        <p:nvSpPr>
          <p:cNvPr id="14" name="Date Placeholder 2">
            <a:extLst>
              <a:ext uri="{FF2B5EF4-FFF2-40B4-BE49-F238E27FC236}">
                <a16:creationId xmlns:a16="http://schemas.microsoft.com/office/drawing/2014/main" id="{F7EFBD7E-84AE-4193-97A7-6053CA8057A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67800" y="6446839"/>
            <a:ext cx="17145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C2C1C1"/>
                </a:solidFill>
              </a:defRPr>
            </a:lvl1pPr>
          </a:lstStyle>
          <a:p>
            <a:fld id="{728B004E-4B0B-4DF1-AA0F-92C7B3BE2D33}" type="datetime3">
              <a:rPr lang="en-US" smtClean="0"/>
              <a:t>5 October 2025</a:t>
            </a:fld>
            <a:endParaRPr lang="en-US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06ED1264-F351-4CA8-9D38-F5167E4E7F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1" y="6446839"/>
            <a:ext cx="1676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C2C1C1"/>
                </a:solidFill>
              </a:defRPr>
            </a:lvl1pPr>
          </a:lstStyle>
          <a:p>
            <a:r>
              <a:rPr lang="en-US"/>
              <a:t>© Arcadis 2020</a:t>
            </a:r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574CAA3B-8EAA-4562-9B16-819D52DA0A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0900" y="6446839"/>
            <a:ext cx="7239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FE63AA4-120D-435A-A130-F49443AF7CB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81AFEDCA-5DFA-4012-BB79-36C20DA068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58200" y="2435803"/>
            <a:ext cx="3276600" cy="535999"/>
          </a:xfrm>
          <a:prstGeom prst="rect">
            <a:avLst/>
          </a:prstGeom>
        </p:spPr>
        <p:txBody>
          <a:bodyPr rIns="90000">
            <a:noAutofit/>
          </a:bodyPr>
          <a:lstStyle>
            <a:lvl1pPr>
              <a:lnSpc>
                <a:spcPct val="90000"/>
              </a:lnSpc>
              <a:defRPr sz="2394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  <a:endParaRPr lang="en-PH"/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F68EE003-0251-496B-8C8B-76B18E7545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58201" y="3086100"/>
            <a:ext cx="3276600" cy="1257300"/>
          </a:xfrm>
          <a:prstGeom prst="rect">
            <a:avLst/>
          </a:prstGeom>
        </p:spPr>
        <p:txBody>
          <a:bodyPr lIns="0" tIns="0" rIns="90000" bIns="0"/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795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682789178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s - T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C2E6D1-5C65-4E06-B9F8-41A42A7A58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2"/>
            <a:ext cx="11277600" cy="6857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Title</a:t>
            </a:r>
            <a:endParaRPr lang="en-PH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A4BB14A-8B8D-4DCB-9287-4C5AFB40115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67800" y="6446839"/>
            <a:ext cx="1714500" cy="365125"/>
          </a:xfrm>
          <a:prstGeom prst="rect">
            <a:avLst/>
          </a:prstGeom>
        </p:spPr>
        <p:txBody>
          <a:bodyPr/>
          <a:lstStyle/>
          <a:p>
            <a:fld id="{F31E42D4-B472-4D33-8D3D-6F0C0E7887EA}" type="datetime3">
              <a:rPr lang="en-US" smtClean="0"/>
              <a:t>5 October 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6A3498-95C6-4A4A-BA58-BA750360BA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1" y="6446839"/>
            <a:ext cx="16764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Arcadis 20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657ED24-D782-482D-B943-FAB114657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0900" y="6446839"/>
            <a:ext cx="723900" cy="365125"/>
          </a:xfrm>
          <a:prstGeom prst="rect">
            <a:avLst/>
          </a:prstGeom>
        </p:spPr>
        <p:txBody>
          <a:bodyPr/>
          <a:lstStyle/>
          <a:p>
            <a:fld id="{2FE63AA4-120D-435A-A130-F49443AF7CB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842E95FB-1D7B-493D-868E-7464FFA1AB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828800"/>
            <a:ext cx="7429500" cy="1600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795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 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EF4DAFD0-4FB4-425B-A42D-299133C97D3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1" y="3886200"/>
            <a:ext cx="5524500" cy="25146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097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insert an image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62137EE0-DE44-4020-9C7B-B557B6A445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15300" y="1828800"/>
            <a:ext cx="3619500" cy="1600200"/>
          </a:xfrm>
          <a:prstGeom prst="rect">
            <a:avLst/>
          </a:prstGeom>
          <a:solidFill>
            <a:srgbClr val="F8D8C3"/>
          </a:solidFill>
        </p:spPr>
        <p:txBody>
          <a:bodyPr lIns="180000" tIns="180000" rIns="180000" bIns="180000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596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all out box styles mirror those across the rest of our suite of </a:t>
            </a:r>
            <a:r>
              <a:rPr lang="en-US" err="1"/>
              <a:t>outputs.The</a:t>
            </a:r>
            <a:r>
              <a:rPr lang="en-US"/>
              <a:t> call out box text can be edited and is designed to resize to accommodate different size text flows.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557CB78A-33C8-4FC1-B165-81F4C2A13BC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210300" y="3886200"/>
            <a:ext cx="5524500" cy="25146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097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insert an imag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E084BFF-52EC-4C60-AA20-3DBA1E8DE8E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6200" y="457202"/>
            <a:ext cx="1498600" cy="228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3095502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s - Out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C2E6D1-5C65-4E06-B9F8-41A42A7A58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2"/>
            <a:ext cx="11277600" cy="6857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Title</a:t>
            </a:r>
            <a:endParaRPr lang="en-PH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A4BB14A-8B8D-4DCB-9287-4C5AFB40115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67800" y="6446839"/>
            <a:ext cx="1714500" cy="365125"/>
          </a:xfrm>
          <a:prstGeom prst="rect">
            <a:avLst/>
          </a:prstGeom>
        </p:spPr>
        <p:txBody>
          <a:bodyPr/>
          <a:lstStyle/>
          <a:p>
            <a:fld id="{F31E42D4-B472-4D33-8D3D-6F0C0E7887EA}" type="datetime3">
              <a:rPr lang="en-US" smtClean="0"/>
              <a:t>5 October 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6A3498-95C6-4A4A-BA58-BA750360BA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1" y="6446839"/>
            <a:ext cx="16764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Arcadis 20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657ED24-D782-482D-B943-FAB114657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0900" y="6446839"/>
            <a:ext cx="723900" cy="365125"/>
          </a:xfrm>
          <a:prstGeom prst="rect">
            <a:avLst/>
          </a:prstGeom>
        </p:spPr>
        <p:txBody>
          <a:bodyPr/>
          <a:lstStyle/>
          <a:p>
            <a:fld id="{2FE63AA4-120D-435A-A130-F49443AF7CB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842E95FB-1D7B-493D-868E-7464FFA1AB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828800"/>
            <a:ext cx="7429500" cy="1600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795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 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EF4DAFD0-4FB4-425B-A42D-299133C97D3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1" y="3886200"/>
            <a:ext cx="5524500" cy="25146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097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insert an image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62137EE0-DE44-4020-9C7B-B557B6A445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15300" y="1828800"/>
            <a:ext cx="3619500" cy="1600200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txBody>
          <a:bodyPr lIns="180000" tIns="180000" rIns="180000" bIns="180000"/>
          <a:lstStyle>
            <a:lvl1pPr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defRPr sz="1596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all out box styles mirror those across the rest of our suite of </a:t>
            </a:r>
            <a:r>
              <a:rPr lang="en-US" err="1"/>
              <a:t>outputs.The</a:t>
            </a:r>
            <a:r>
              <a:rPr lang="en-US"/>
              <a:t> call out box text can be edited and is designed to resize to accommodate different size text flows.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557CB78A-33C8-4FC1-B165-81F4C2A13BC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210300" y="3886200"/>
            <a:ext cx="5524500" cy="25146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097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insert an imag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C761D6C-C804-4FBF-A988-616C419621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6200" y="457202"/>
            <a:ext cx="1498600" cy="228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1342329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Video Content - Embedde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edia Placeholder 6">
            <a:extLst>
              <a:ext uri="{FF2B5EF4-FFF2-40B4-BE49-F238E27FC236}">
                <a16:creationId xmlns:a16="http://schemas.microsoft.com/office/drawing/2014/main" id="{05935665-280C-4908-9891-241F791D7F18}"/>
              </a:ext>
            </a:extLst>
          </p:cNvPr>
          <p:cNvSpPr>
            <a:spLocks noGrp="1"/>
          </p:cNvSpPr>
          <p:nvPr>
            <p:ph type="media" sz="quarter" idx="13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b"/>
          <a:lstStyle>
            <a:lvl1pPr algn="r">
              <a:defRPr sz="1097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embed a video</a:t>
            </a:r>
          </a:p>
        </p:txBody>
      </p:sp>
    </p:spTree>
    <p:extLst>
      <p:ext uri="{BB962C8B-B14F-4D97-AF65-F5344CB8AC3E}">
        <p14:creationId xmlns:p14="http://schemas.microsoft.com/office/powerpoint/2010/main" val="1421777385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4A8869CB-2223-4946-81BC-8717270A6AD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" y="457200"/>
            <a:ext cx="11277600" cy="59436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097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insert image</a:t>
            </a:r>
          </a:p>
        </p:txBody>
      </p:sp>
      <p:sp>
        <p:nvSpPr>
          <p:cNvPr id="10" name="Date Placeholder 2">
            <a:extLst>
              <a:ext uri="{FF2B5EF4-FFF2-40B4-BE49-F238E27FC236}">
                <a16:creationId xmlns:a16="http://schemas.microsoft.com/office/drawing/2014/main" id="{9ADB8E11-AF01-4EEB-8E7C-CFE5ACF71C9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67800" y="6446839"/>
            <a:ext cx="1714500" cy="365125"/>
          </a:xfrm>
          <a:prstGeom prst="rect">
            <a:avLst/>
          </a:prstGeom>
        </p:spPr>
        <p:txBody>
          <a:bodyPr/>
          <a:lstStyle/>
          <a:p>
            <a:fld id="{F31E42D4-B472-4D33-8D3D-6F0C0E7887EA}" type="datetime3">
              <a:rPr lang="en-US" smtClean="0"/>
              <a:t>5 October 2025</a:t>
            </a:fld>
            <a:endParaRPr lang="en-US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BFB8E6AE-CE09-47D7-920B-FDC64A53DE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1" y="6446839"/>
            <a:ext cx="16764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Arcadis 2020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A0F11B9D-7BF2-45D1-ABB7-7D17F89B67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0900" y="6446839"/>
            <a:ext cx="723900" cy="365125"/>
          </a:xfrm>
          <a:prstGeom prst="rect">
            <a:avLst/>
          </a:prstGeom>
        </p:spPr>
        <p:txBody>
          <a:bodyPr/>
          <a:lstStyle/>
          <a:p>
            <a:fld id="{2FE63AA4-120D-435A-A130-F49443AF7C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78729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EAA6ED-8684-4742-B3EE-2E49C6AD3FD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95994" y="1600200"/>
            <a:ext cx="11000014" cy="36576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A4585DF-D1CE-4D14-B6A9-EAB47DA347EF}"/>
              </a:ext>
            </a:extLst>
          </p:cNvPr>
          <p:cNvSpPr/>
          <p:nvPr userDrawn="1"/>
        </p:nvSpPr>
        <p:spPr>
          <a:xfrm>
            <a:off x="1" y="0"/>
            <a:ext cx="12192000" cy="240030"/>
          </a:xfrm>
          <a:prstGeom prst="rect">
            <a:avLst/>
          </a:prstGeom>
          <a:solidFill>
            <a:schemeClr val="accent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57"/>
          </a:p>
        </p:txBody>
      </p:sp>
    </p:spTree>
    <p:extLst>
      <p:ext uri="{BB962C8B-B14F-4D97-AF65-F5344CB8AC3E}">
        <p14:creationId xmlns:p14="http://schemas.microsoft.com/office/powerpoint/2010/main" val="45499493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4A8869CB-2223-4946-81BC-8717270A6AD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" y="1828800"/>
            <a:ext cx="11277600" cy="45720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097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insert imag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34B9CBD-AF1F-4C24-B1D3-A7A9BEC7E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2"/>
            <a:ext cx="11277600" cy="6857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Single image slide title</a:t>
            </a:r>
            <a:endParaRPr lang="en-PH"/>
          </a:p>
        </p:txBody>
      </p:sp>
      <p:sp>
        <p:nvSpPr>
          <p:cNvPr id="10" name="Date Placeholder 2">
            <a:extLst>
              <a:ext uri="{FF2B5EF4-FFF2-40B4-BE49-F238E27FC236}">
                <a16:creationId xmlns:a16="http://schemas.microsoft.com/office/drawing/2014/main" id="{9ADB8E11-AF01-4EEB-8E7C-CFE5ACF71C9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67800" y="6446839"/>
            <a:ext cx="1714500" cy="365125"/>
          </a:xfrm>
          <a:prstGeom prst="rect">
            <a:avLst/>
          </a:prstGeom>
        </p:spPr>
        <p:txBody>
          <a:bodyPr/>
          <a:lstStyle/>
          <a:p>
            <a:fld id="{F31E42D4-B472-4D33-8D3D-6F0C0E7887EA}" type="datetime3">
              <a:rPr lang="en-US" smtClean="0"/>
              <a:t>5 October 2025</a:t>
            </a:fld>
            <a:endParaRPr lang="en-US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BFB8E6AE-CE09-47D7-920B-FDC64A53DE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1" y="6446839"/>
            <a:ext cx="16764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Arcadis 2020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A0F11B9D-7BF2-45D1-ABB7-7D17F89B67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0900" y="6446839"/>
            <a:ext cx="723900" cy="365125"/>
          </a:xfrm>
          <a:prstGeom prst="rect">
            <a:avLst/>
          </a:prstGeom>
        </p:spPr>
        <p:txBody>
          <a:bodyPr/>
          <a:lstStyle/>
          <a:p>
            <a:fld id="{2FE63AA4-120D-435A-A130-F49443AF7CB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0AB2F11-B6C1-B84C-AFFE-6F6717C01B8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6200" y="457202"/>
            <a:ext cx="1498600" cy="228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4889053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ngle image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B4049965-34B5-48F5-8EBC-41C49A33113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267200" y="0"/>
            <a:ext cx="7924800" cy="68580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097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insert an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55ECC8B-4B56-4777-97FD-BF1D9B8F06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2" y="1143000"/>
            <a:ext cx="3581399" cy="2514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sz="2793">
                <a:solidFill>
                  <a:schemeClr val="accent1"/>
                </a:solidFill>
              </a:defRPr>
            </a:lvl1pPr>
          </a:lstStyle>
          <a:p>
            <a:r>
              <a:rPr lang="en-US"/>
              <a:t>Single image with description title</a:t>
            </a:r>
            <a:endParaRPr lang="en-PH"/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19AF6AE8-D2B1-4EB5-BBB4-9077B1F7CB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2" y="4114800"/>
            <a:ext cx="3581399" cy="228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Overview text here as additional description for the image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06ED1264-F351-4CA8-9D38-F5167E4E7F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1" y="6446839"/>
            <a:ext cx="1676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C2C1C1"/>
                </a:solidFill>
              </a:defRPr>
            </a:lvl1pPr>
          </a:lstStyle>
          <a:p>
            <a:r>
              <a:rPr lang="en-US"/>
              <a:t>© Arcadis 2020</a:t>
            </a:r>
          </a:p>
        </p:txBody>
      </p:sp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1DA22D19-39BA-A541-91CE-6DE28425EAA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67800" y="6446839"/>
            <a:ext cx="1714500" cy="365125"/>
          </a:xfrm>
          <a:prstGeom prst="rect">
            <a:avLst/>
          </a:prstGeom>
        </p:spPr>
        <p:txBody>
          <a:bodyPr/>
          <a:lstStyle/>
          <a:p>
            <a:fld id="{F31E42D4-B472-4D33-8D3D-6F0C0E7887EA}" type="datetime3">
              <a:rPr lang="en-US" smtClean="0"/>
              <a:t>5 October 2025</a:t>
            </a:fld>
            <a:endParaRPr lang="en-US"/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92A55820-A9F4-1B44-BC00-F2A203B934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0900" y="6446839"/>
            <a:ext cx="723900" cy="365125"/>
          </a:xfrm>
          <a:prstGeom prst="rect">
            <a:avLst/>
          </a:prstGeom>
        </p:spPr>
        <p:txBody>
          <a:bodyPr/>
          <a:lstStyle/>
          <a:p>
            <a:fld id="{2FE63AA4-120D-435A-A130-F49443AF7C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032753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4A8869CB-2223-4946-81BC-8717270A6AD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1" y="3886200"/>
            <a:ext cx="5524500" cy="25146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097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insert video still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12C63D43-69CB-4811-B72D-5F3DCB51568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210300" y="1828800"/>
            <a:ext cx="5524500" cy="45720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097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insert video stil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34B9CBD-AF1F-4C24-B1D3-A7A9BEC7E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2"/>
            <a:ext cx="11277600" cy="6857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Title</a:t>
            </a:r>
            <a:endParaRPr lang="en-PH"/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3250F41B-9145-47D2-ABD7-EBD915A67B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1828800"/>
            <a:ext cx="5524500" cy="1600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795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 </a:t>
            </a:r>
          </a:p>
        </p:txBody>
      </p:sp>
      <p:sp>
        <p:nvSpPr>
          <p:cNvPr id="10" name="Date Placeholder 2">
            <a:extLst>
              <a:ext uri="{FF2B5EF4-FFF2-40B4-BE49-F238E27FC236}">
                <a16:creationId xmlns:a16="http://schemas.microsoft.com/office/drawing/2014/main" id="{9ADB8E11-AF01-4EEB-8E7C-CFE5ACF71C9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67800" y="6446839"/>
            <a:ext cx="1714500" cy="365125"/>
          </a:xfrm>
          <a:prstGeom prst="rect">
            <a:avLst/>
          </a:prstGeom>
        </p:spPr>
        <p:txBody>
          <a:bodyPr/>
          <a:lstStyle/>
          <a:p>
            <a:fld id="{F31E42D4-B472-4D33-8D3D-6F0C0E7887EA}" type="datetime3">
              <a:rPr lang="en-US" smtClean="0"/>
              <a:t>5 October 2025</a:t>
            </a:fld>
            <a:endParaRPr lang="en-US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BFB8E6AE-CE09-47D7-920B-FDC64A53DE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1" y="6446839"/>
            <a:ext cx="16764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Arcadis 2020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A0F11B9D-7BF2-45D1-ABB7-7D17F89B67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0900" y="6446839"/>
            <a:ext cx="723900" cy="365125"/>
          </a:xfrm>
          <a:prstGeom prst="rect">
            <a:avLst/>
          </a:prstGeom>
        </p:spPr>
        <p:txBody>
          <a:bodyPr/>
          <a:lstStyle/>
          <a:p>
            <a:fld id="{2FE63AA4-120D-435A-A130-F49443AF7CB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8BD6C6B-CE11-4D0F-9437-0FE85603524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6200" y="457202"/>
            <a:ext cx="1498600" cy="228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8418936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with description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4A8869CB-2223-4946-81BC-8717270A6AD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210302" y="4114802"/>
            <a:ext cx="5524500" cy="2285999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097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insert image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12C63D43-69CB-4811-B72D-5F3DCB51568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57201" y="1828800"/>
            <a:ext cx="5524500" cy="45720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097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insert imag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34B9CBD-AF1F-4C24-B1D3-A7A9BEC7E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2"/>
            <a:ext cx="11277600" cy="6857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Three image slide title</a:t>
            </a:r>
            <a:endParaRPr lang="en-PH"/>
          </a:p>
        </p:txBody>
      </p:sp>
      <p:sp>
        <p:nvSpPr>
          <p:cNvPr id="10" name="Date Placeholder 2">
            <a:extLst>
              <a:ext uri="{FF2B5EF4-FFF2-40B4-BE49-F238E27FC236}">
                <a16:creationId xmlns:a16="http://schemas.microsoft.com/office/drawing/2014/main" id="{9ADB8E11-AF01-4EEB-8E7C-CFE5ACF71C9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67800" y="6446839"/>
            <a:ext cx="1714500" cy="365125"/>
          </a:xfrm>
          <a:prstGeom prst="rect">
            <a:avLst/>
          </a:prstGeom>
        </p:spPr>
        <p:txBody>
          <a:bodyPr/>
          <a:lstStyle/>
          <a:p>
            <a:fld id="{F31E42D4-B472-4D33-8D3D-6F0C0E7887EA}" type="datetime3">
              <a:rPr lang="en-US" smtClean="0"/>
              <a:t>5 October 2025</a:t>
            </a:fld>
            <a:endParaRPr lang="en-US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BFB8E6AE-CE09-47D7-920B-FDC64A53DE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1" y="6446839"/>
            <a:ext cx="16764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Arcadis 2020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A0F11B9D-7BF2-45D1-ABB7-7D17F89B67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0900" y="6446839"/>
            <a:ext cx="723900" cy="365125"/>
          </a:xfrm>
          <a:prstGeom prst="rect">
            <a:avLst/>
          </a:prstGeom>
        </p:spPr>
        <p:txBody>
          <a:bodyPr/>
          <a:lstStyle/>
          <a:p>
            <a:fld id="{2FE63AA4-120D-435A-A130-F49443AF7CB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8BD6C6B-CE11-4D0F-9437-0FE85603524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6200" y="457202"/>
            <a:ext cx="1498600" cy="228631"/>
          </a:xfrm>
          <a:prstGeom prst="rect">
            <a:avLst/>
          </a:prstGeom>
        </p:spPr>
      </p:pic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E9A60CDB-16CE-3146-B810-249BD5D7810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10302" y="1828800"/>
            <a:ext cx="5524500" cy="20574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097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insert image</a:t>
            </a:r>
          </a:p>
        </p:txBody>
      </p:sp>
    </p:spTree>
    <p:extLst>
      <p:ext uri="{BB962C8B-B14F-4D97-AF65-F5344CB8AC3E}">
        <p14:creationId xmlns:p14="http://schemas.microsoft.com/office/powerpoint/2010/main" val="2050370292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12C63D43-69CB-4811-B72D-5F3DCB51568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57200" y="1828800"/>
            <a:ext cx="3581400" cy="45720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097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insert imag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34B9CBD-AF1F-4C24-B1D3-A7A9BEC7E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2"/>
            <a:ext cx="11277600" cy="6857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Three image slide title</a:t>
            </a:r>
            <a:endParaRPr lang="en-PH"/>
          </a:p>
        </p:txBody>
      </p:sp>
      <p:sp>
        <p:nvSpPr>
          <p:cNvPr id="10" name="Date Placeholder 2">
            <a:extLst>
              <a:ext uri="{FF2B5EF4-FFF2-40B4-BE49-F238E27FC236}">
                <a16:creationId xmlns:a16="http://schemas.microsoft.com/office/drawing/2014/main" id="{9ADB8E11-AF01-4EEB-8E7C-CFE5ACF71C9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67800" y="6446839"/>
            <a:ext cx="1714500" cy="365125"/>
          </a:xfrm>
          <a:prstGeom prst="rect">
            <a:avLst/>
          </a:prstGeom>
        </p:spPr>
        <p:txBody>
          <a:bodyPr/>
          <a:lstStyle/>
          <a:p>
            <a:fld id="{F31E42D4-B472-4D33-8D3D-6F0C0E7887EA}" type="datetime3">
              <a:rPr lang="en-US" smtClean="0"/>
              <a:t>5 October 2025</a:t>
            </a:fld>
            <a:endParaRPr lang="en-US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BFB8E6AE-CE09-47D7-920B-FDC64A53DE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1" y="6446839"/>
            <a:ext cx="16764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Arcadis 2020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A0F11B9D-7BF2-45D1-ABB7-7D17F89B67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0900" y="6446839"/>
            <a:ext cx="723900" cy="365125"/>
          </a:xfrm>
          <a:prstGeom prst="rect">
            <a:avLst/>
          </a:prstGeom>
        </p:spPr>
        <p:txBody>
          <a:bodyPr/>
          <a:lstStyle/>
          <a:p>
            <a:fld id="{2FE63AA4-120D-435A-A130-F49443AF7CB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8BD6C6B-CE11-4D0F-9437-0FE85603524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6200" y="457202"/>
            <a:ext cx="1498600" cy="228631"/>
          </a:xfrm>
          <a:prstGeom prst="rect">
            <a:avLst/>
          </a:prstGeom>
        </p:spPr>
      </p:pic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9FF410F7-E40B-DF41-B357-09FB5BA627F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67200" y="1828800"/>
            <a:ext cx="3619500" cy="45720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097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insert image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66C40E00-B15B-E042-A7AA-E28675055E5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15300" y="1828800"/>
            <a:ext cx="3619500" cy="45720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097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insert image</a:t>
            </a:r>
          </a:p>
        </p:txBody>
      </p:sp>
    </p:spTree>
    <p:extLst>
      <p:ext uri="{BB962C8B-B14F-4D97-AF65-F5344CB8AC3E}">
        <p14:creationId xmlns:p14="http://schemas.microsoft.com/office/powerpoint/2010/main" val="2024265469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4A8869CB-2223-4946-81BC-8717270A6AD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1" y="1828800"/>
            <a:ext cx="5524500" cy="45720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097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insert image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12C63D43-69CB-4811-B72D-5F3DCB51568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210300" y="1828800"/>
            <a:ext cx="5524500" cy="45720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097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insert imag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34B9CBD-AF1F-4C24-B1D3-A7A9BEC7E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2"/>
            <a:ext cx="11277600" cy="6857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Two image slide title</a:t>
            </a:r>
            <a:endParaRPr lang="en-PH"/>
          </a:p>
        </p:txBody>
      </p:sp>
      <p:sp>
        <p:nvSpPr>
          <p:cNvPr id="10" name="Date Placeholder 2">
            <a:extLst>
              <a:ext uri="{FF2B5EF4-FFF2-40B4-BE49-F238E27FC236}">
                <a16:creationId xmlns:a16="http://schemas.microsoft.com/office/drawing/2014/main" id="{9ADB8E11-AF01-4EEB-8E7C-CFE5ACF71C9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67800" y="6446839"/>
            <a:ext cx="1714500" cy="365125"/>
          </a:xfrm>
          <a:prstGeom prst="rect">
            <a:avLst/>
          </a:prstGeom>
        </p:spPr>
        <p:txBody>
          <a:bodyPr/>
          <a:lstStyle/>
          <a:p>
            <a:fld id="{F31E42D4-B472-4D33-8D3D-6F0C0E7887EA}" type="datetime3">
              <a:rPr lang="en-US" smtClean="0"/>
              <a:t>5 October 2025</a:t>
            </a:fld>
            <a:endParaRPr lang="en-US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BFB8E6AE-CE09-47D7-920B-FDC64A53DE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1" y="6446839"/>
            <a:ext cx="16764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Arcadis 2020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A0F11B9D-7BF2-45D1-ABB7-7D17F89B67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0900" y="6446839"/>
            <a:ext cx="723900" cy="365125"/>
          </a:xfrm>
          <a:prstGeom prst="rect">
            <a:avLst/>
          </a:prstGeom>
        </p:spPr>
        <p:txBody>
          <a:bodyPr/>
          <a:lstStyle/>
          <a:p>
            <a:fld id="{2FE63AA4-120D-435A-A130-F49443AF7CB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8BD6C6B-CE11-4D0F-9437-0FE85603524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6200" y="457202"/>
            <a:ext cx="1498600" cy="228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0542812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F0A481-AFC3-4B48-A5A1-24BC5FA605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2"/>
            <a:ext cx="11277600" cy="6857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Title</a:t>
            </a:r>
            <a:endParaRPr lang="en-PH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514831D-50B6-45FD-858A-076E5021FB3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67800" y="6446839"/>
            <a:ext cx="1714500" cy="365125"/>
          </a:xfrm>
          <a:prstGeom prst="rect">
            <a:avLst/>
          </a:prstGeom>
        </p:spPr>
        <p:txBody>
          <a:bodyPr/>
          <a:lstStyle/>
          <a:p>
            <a:fld id="{F31E42D4-B472-4D33-8D3D-6F0C0E7887EA}" type="datetime3">
              <a:rPr lang="en-US" smtClean="0"/>
              <a:t>5 October 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269FDED-66EB-4FC3-8D66-FDC7FA759C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1" y="6446839"/>
            <a:ext cx="16764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Arcadis 20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9847767-2113-42C2-896C-F0DEFDF4C6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0900" y="6446839"/>
            <a:ext cx="723900" cy="365125"/>
          </a:xfrm>
          <a:prstGeom prst="rect">
            <a:avLst/>
          </a:prstGeom>
        </p:spPr>
        <p:txBody>
          <a:bodyPr/>
          <a:lstStyle/>
          <a:p>
            <a:fld id="{2FE63AA4-120D-435A-A130-F49443AF7CB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678EC24-1B0B-4063-90EF-2B01EE915F3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6200" y="457202"/>
            <a:ext cx="1498600" cy="228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171010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ayout - Multi-image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8DF063-B0BD-4053-ADC6-99766F39F9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2"/>
            <a:ext cx="4572000" cy="6857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Title</a:t>
            </a:r>
            <a:endParaRPr lang="en-PH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29F2E6C-2AC3-46CC-ADD7-FBC44617D1D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67800" y="6446839"/>
            <a:ext cx="1714500" cy="365125"/>
          </a:xfrm>
          <a:prstGeom prst="rect">
            <a:avLst/>
          </a:prstGeom>
        </p:spPr>
        <p:txBody>
          <a:bodyPr/>
          <a:lstStyle/>
          <a:p>
            <a:fld id="{F31E42D4-B472-4D33-8D3D-6F0C0E7887EA}" type="datetime3">
              <a:rPr lang="en-US" smtClean="0"/>
              <a:t>5 October 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7CFF94-9D68-4764-B509-2DFCB70374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1" y="6446839"/>
            <a:ext cx="16764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Arcadis 20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27E121F-6096-426B-8D0F-9FEB96CC14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0900" y="6446839"/>
            <a:ext cx="723900" cy="365125"/>
          </a:xfrm>
          <a:prstGeom prst="rect">
            <a:avLst/>
          </a:prstGeom>
        </p:spPr>
        <p:txBody>
          <a:bodyPr/>
          <a:lstStyle/>
          <a:p>
            <a:fld id="{2FE63AA4-120D-435A-A130-F49443AF7CB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8F504382-8ECA-4BCC-BB7E-448D5DB4B91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600202"/>
            <a:ext cx="4572000" cy="20504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795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 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63CBCC71-2452-4503-B1A4-108D5F857D1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257800" y="3886200"/>
            <a:ext cx="6477000" cy="25146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097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insert an image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E6D093F3-ED3C-4484-84B5-EAC2CCB96C4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257800" y="914400"/>
            <a:ext cx="6477000" cy="27432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097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insert an image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2898094A-56AA-4694-83D1-C0FA897C33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09700" y="3893126"/>
            <a:ext cx="3619500" cy="67887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3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 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EACB6B04-7D78-420C-A227-6088AB0653C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409700" y="4800600"/>
            <a:ext cx="3619500" cy="67887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3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 </a:t>
            </a:r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635274F4-DEFE-4EDD-B848-9F30F5BF1BC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409700" y="5715000"/>
            <a:ext cx="3619500" cy="67887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3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 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8EF84345-26F4-F84C-999E-35292B5BB42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7201" y="3886202"/>
            <a:ext cx="723900" cy="685801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097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insert an icon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196A5646-1541-2D4E-A431-0119CA2409B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7201" y="4800602"/>
            <a:ext cx="723900" cy="685801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097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insert an icon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8599404F-9789-6D40-8749-27B4FA39042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57201" y="5715002"/>
            <a:ext cx="723900" cy="685801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097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insert an icon</a:t>
            </a:r>
          </a:p>
        </p:txBody>
      </p:sp>
    </p:spTree>
    <p:extLst>
      <p:ext uri="{BB962C8B-B14F-4D97-AF65-F5344CB8AC3E}">
        <p14:creationId xmlns:p14="http://schemas.microsoft.com/office/powerpoint/2010/main" val="2533512571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-image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8DF063-B0BD-4053-ADC6-99766F39F9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886203"/>
            <a:ext cx="4572000" cy="6857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Multi image slide title</a:t>
            </a:r>
            <a:endParaRPr lang="en-PH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29F2E6C-2AC3-46CC-ADD7-FBC44617D1D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67800" y="6446839"/>
            <a:ext cx="1714500" cy="365125"/>
          </a:xfrm>
          <a:prstGeom prst="rect">
            <a:avLst/>
          </a:prstGeom>
        </p:spPr>
        <p:txBody>
          <a:bodyPr/>
          <a:lstStyle/>
          <a:p>
            <a:fld id="{F31E42D4-B472-4D33-8D3D-6F0C0E7887EA}" type="datetime3">
              <a:rPr lang="en-US" smtClean="0"/>
              <a:t>5 October 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7CFF94-9D68-4764-B509-2DFCB70374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1" y="6446839"/>
            <a:ext cx="16764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Arcadis 20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27E121F-6096-426B-8D0F-9FEB96CC14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0900" y="6446839"/>
            <a:ext cx="723900" cy="365125"/>
          </a:xfrm>
          <a:prstGeom prst="rect">
            <a:avLst/>
          </a:prstGeom>
        </p:spPr>
        <p:txBody>
          <a:bodyPr/>
          <a:lstStyle/>
          <a:p>
            <a:fld id="{2FE63AA4-120D-435A-A130-F49443AF7CB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8F504382-8ECA-4BCC-BB7E-448D5DB4B91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5045412"/>
            <a:ext cx="4572000" cy="1126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59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 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63CBCC71-2452-4503-B1A4-108D5F857D1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067800" y="3886200"/>
            <a:ext cx="2667000" cy="25146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097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insert an image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E6D093F3-ED3C-4484-84B5-EAC2CCB96C4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10300" y="914400"/>
            <a:ext cx="5524500" cy="27432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097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insert an image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B1434175-4EE8-4C23-B6F6-EB9CE5C8E24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210300" y="3886202"/>
            <a:ext cx="2628900" cy="2514599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097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insert an image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D8477AEF-69A9-4639-87C4-67E33637187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57201" y="914399"/>
            <a:ext cx="5524500" cy="27432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097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insert an imag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27D95C-5762-EE4D-9671-248BC6815E4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6200" y="457202"/>
            <a:ext cx="1498600" cy="228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2409268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ple Lis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8DF063-B0BD-4053-ADC6-99766F39F9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2"/>
            <a:ext cx="11277600" cy="6857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Title</a:t>
            </a:r>
            <a:endParaRPr lang="en-PH"/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74CB9AC7-D54D-4C82-AB92-62474793D3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09700" y="2057400"/>
            <a:ext cx="26289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CA3E38B9-57D3-4241-8001-2CF71DA7A59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09700" y="2514600"/>
            <a:ext cx="2628900" cy="1143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rief description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BC8DC81F-F6C8-4AE3-A187-6005D0D828D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201" y="2057400"/>
            <a:ext cx="7239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704B3F5D-456F-4F33-9435-402FF42EB7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57800" y="2057400"/>
            <a:ext cx="26289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E55DDE99-7262-400F-B216-385B8CD0929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57800" y="2514600"/>
            <a:ext cx="2628900" cy="1143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rief description</a:t>
            </a:r>
          </a:p>
        </p:txBody>
      </p:sp>
      <p:sp>
        <p:nvSpPr>
          <p:cNvPr id="21" name="Text Placeholder 16">
            <a:extLst>
              <a:ext uri="{FF2B5EF4-FFF2-40B4-BE49-F238E27FC236}">
                <a16:creationId xmlns:a16="http://schemas.microsoft.com/office/drawing/2014/main" id="{C69768B3-F736-452B-9775-EC16E279D5A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2057400"/>
            <a:ext cx="7239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70AD79E9-43D9-4C8D-A8CF-810BC004B2A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67800" y="2057400"/>
            <a:ext cx="26670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3" name="Text Placeholder 16">
            <a:extLst>
              <a:ext uri="{FF2B5EF4-FFF2-40B4-BE49-F238E27FC236}">
                <a16:creationId xmlns:a16="http://schemas.microsoft.com/office/drawing/2014/main" id="{94202B5C-1CAC-4915-9A0A-B1BF367BD45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67800" y="2514600"/>
            <a:ext cx="2667000" cy="1143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rief description</a:t>
            </a:r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id="{A672DDA7-CFC1-4BCC-93E2-F7D8DEC29C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15300" y="2057400"/>
            <a:ext cx="7239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25" name="Text Placeholder 16">
            <a:extLst>
              <a:ext uri="{FF2B5EF4-FFF2-40B4-BE49-F238E27FC236}">
                <a16:creationId xmlns:a16="http://schemas.microsoft.com/office/drawing/2014/main" id="{73011CBA-9A19-4F30-ACD7-117613755E6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409700" y="4128655"/>
            <a:ext cx="2628900" cy="44334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A0B31D11-CF69-405C-93F7-CB06714A074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409700" y="4585853"/>
            <a:ext cx="2628900" cy="11222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rief description</a:t>
            </a:r>
          </a:p>
        </p:txBody>
      </p:sp>
      <p:sp>
        <p:nvSpPr>
          <p:cNvPr id="27" name="Text Placeholder 16">
            <a:extLst>
              <a:ext uri="{FF2B5EF4-FFF2-40B4-BE49-F238E27FC236}">
                <a16:creationId xmlns:a16="http://schemas.microsoft.com/office/drawing/2014/main" id="{F77C7971-AD10-4979-8E30-7CB7030D879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7201" y="4128653"/>
            <a:ext cx="7239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28" name="Text Placeholder 16">
            <a:extLst>
              <a:ext uri="{FF2B5EF4-FFF2-40B4-BE49-F238E27FC236}">
                <a16:creationId xmlns:a16="http://schemas.microsoft.com/office/drawing/2014/main" id="{838A750F-7B19-436E-816B-E0A0419F048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257800" y="4128655"/>
            <a:ext cx="2628900" cy="44334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9" name="Text Placeholder 16">
            <a:extLst>
              <a:ext uri="{FF2B5EF4-FFF2-40B4-BE49-F238E27FC236}">
                <a16:creationId xmlns:a16="http://schemas.microsoft.com/office/drawing/2014/main" id="{8BA42E28-AEFB-436A-9309-E614AD99AD1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257800" y="4585853"/>
            <a:ext cx="2628900" cy="11222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rief description</a:t>
            </a:r>
          </a:p>
        </p:txBody>
      </p:sp>
      <p:sp>
        <p:nvSpPr>
          <p:cNvPr id="30" name="Text Placeholder 16">
            <a:extLst>
              <a:ext uri="{FF2B5EF4-FFF2-40B4-BE49-F238E27FC236}">
                <a16:creationId xmlns:a16="http://schemas.microsoft.com/office/drawing/2014/main" id="{859D29E2-ABB3-4AD2-99D6-EC2E0AB684B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305300" y="4128653"/>
            <a:ext cx="7239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1" name="Text Placeholder 16">
            <a:extLst>
              <a:ext uri="{FF2B5EF4-FFF2-40B4-BE49-F238E27FC236}">
                <a16:creationId xmlns:a16="http://schemas.microsoft.com/office/drawing/2014/main" id="{169D9B2C-EAE1-4BBA-83F4-628331339D9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067800" y="4128655"/>
            <a:ext cx="2667000" cy="44334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7CD9D46E-1D14-4ED4-B92B-D635B6A4DA1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067800" y="4585853"/>
            <a:ext cx="2667000" cy="11222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rief description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67BA5F19-CDD6-485D-B65A-B6DFB8BB429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115300" y="4128653"/>
            <a:ext cx="7239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017C6EFB-0834-BB4F-95BA-F5EAC4B710E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6200" y="457202"/>
            <a:ext cx="1498600" cy="228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984078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609600" y="683843"/>
            <a:ext cx="4965127" cy="902427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2911"/>
            </a:lvl1pPr>
          </a:lstStyle>
          <a:p>
            <a:pPr lvl="0"/>
            <a:r>
              <a:rPr lang="en-US"/>
              <a:t>Click to edit Master </a:t>
            </a:r>
            <a:br>
              <a:rPr lang="en-US"/>
            </a:br>
            <a:r>
              <a:rPr lang="en-US"/>
              <a:t>text styles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CCD3313-C047-41AF-98EB-C882E5526AA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1" y="0"/>
            <a:ext cx="6096001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44675464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ple list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8DF063-B0BD-4053-ADC6-99766F39F9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2"/>
            <a:ext cx="11277600" cy="6857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Title</a:t>
            </a:r>
            <a:endParaRPr lang="en-PH"/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74CB9AC7-D54D-4C82-AB92-62474793D3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09700" y="2057400"/>
            <a:ext cx="26289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CA3E38B9-57D3-4241-8001-2CF71DA7A59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09700" y="2514600"/>
            <a:ext cx="2628900" cy="1143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Brief description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BC8DC81F-F6C8-4AE3-A187-6005D0D828D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201" y="2057400"/>
            <a:ext cx="7239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704B3F5D-456F-4F33-9435-402FF42EB7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57800" y="2057400"/>
            <a:ext cx="26289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E55DDE99-7262-400F-B216-385B8CD0929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57800" y="2514600"/>
            <a:ext cx="2628900" cy="1143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Brief description</a:t>
            </a:r>
          </a:p>
        </p:txBody>
      </p:sp>
      <p:sp>
        <p:nvSpPr>
          <p:cNvPr id="21" name="Text Placeholder 16">
            <a:extLst>
              <a:ext uri="{FF2B5EF4-FFF2-40B4-BE49-F238E27FC236}">
                <a16:creationId xmlns:a16="http://schemas.microsoft.com/office/drawing/2014/main" id="{C69768B3-F736-452B-9775-EC16E279D5A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2057400"/>
            <a:ext cx="7239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70AD79E9-43D9-4C8D-A8CF-810BC004B2A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67800" y="2057400"/>
            <a:ext cx="26670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3" name="Text Placeholder 16">
            <a:extLst>
              <a:ext uri="{FF2B5EF4-FFF2-40B4-BE49-F238E27FC236}">
                <a16:creationId xmlns:a16="http://schemas.microsoft.com/office/drawing/2014/main" id="{94202B5C-1CAC-4915-9A0A-B1BF367BD45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67800" y="2514600"/>
            <a:ext cx="2667000" cy="1143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Brief description</a:t>
            </a:r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id="{A672DDA7-CFC1-4BCC-93E2-F7D8DEC29C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15300" y="2057400"/>
            <a:ext cx="7239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25" name="Text Placeholder 16">
            <a:extLst>
              <a:ext uri="{FF2B5EF4-FFF2-40B4-BE49-F238E27FC236}">
                <a16:creationId xmlns:a16="http://schemas.microsoft.com/office/drawing/2014/main" id="{73011CBA-9A19-4F30-ACD7-117613755E6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409700" y="4128655"/>
            <a:ext cx="2628900" cy="44334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A0B31D11-CF69-405C-93F7-CB06714A074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409700" y="4585853"/>
            <a:ext cx="2628900" cy="11222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Brief description</a:t>
            </a:r>
          </a:p>
        </p:txBody>
      </p:sp>
      <p:sp>
        <p:nvSpPr>
          <p:cNvPr id="27" name="Text Placeholder 16">
            <a:extLst>
              <a:ext uri="{FF2B5EF4-FFF2-40B4-BE49-F238E27FC236}">
                <a16:creationId xmlns:a16="http://schemas.microsoft.com/office/drawing/2014/main" id="{F77C7971-AD10-4979-8E30-7CB7030D879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7201" y="4128653"/>
            <a:ext cx="7239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28" name="Text Placeholder 16">
            <a:extLst>
              <a:ext uri="{FF2B5EF4-FFF2-40B4-BE49-F238E27FC236}">
                <a16:creationId xmlns:a16="http://schemas.microsoft.com/office/drawing/2014/main" id="{838A750F-7B19-436E-816B-E0A0419F048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257800" y="4128655"/>
            <a:ext cx="2628900" cy="44334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9" name="Text Placeholder 16">
            <a:extLst>
              <a:ext uri="{FF2B5EF4-FFF2-40B4-BE49-F238E27FC236}">
                <a16:creationId xmlns:a16="http://schemas.microsoft.com/office/drawing/2014/main" id="{8BA42E28-AEFB-436A-9309-E614AD99AD1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257800" y="4585853"/>
            <a:ext cx="2628900" cy="11222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Brief description</a:t>
            </a:r>
          </a:p>
        </p:txBody>
      </p:sp>
      <p:sp>
        <p:nvSpPr>
          <p:cNvPr id="30" name="Text Placeholder 16">
            <a:extLst>
              <a:ext uri="{FF2B5EF4-FFF2-40B4-BE49-F238E27FC236}">
                <a16:creationId xmlns:a16="http://schemas.microsoft.com/office/drawing/2014/main" id="{859D29E2-ABB3-4AD2-99D6-EC2E0AB684B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305300" y="4128653"/>
            <a:ext cx="7239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1" name="Text Placeholder 16">
            <a:extLst>
              <a:ext uri="{FF2B5EF4-FFF2-40B4-BE49-F238E27FC236}">
                <a16:creationId xmlns:a16="http://schemas.microsoft.com/office/drawing/2014/main" id="{169D9B2C-EAE1-4BBA-83F4-628331339D9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067800" y="4128655"/>
            <a:ext cx="2667000" cy="44334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7CD9D46E-1D14-4ED4-B92B-D635B6A4DA1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067800" y="4585853"/>
            <a:ext cx="2667000" cy="11222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Brief description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67BA5F19-CDD6-485D-B65A-B6DFB8BB429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115300" y="4128653"/>
            <a:ext cx="7239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pic>
        <p:nvPicPr>
          <p:cNvPr id="34" name="Picture 33" descr="&#10;">
            <a:extLst>
              <a:ext uri="{FF2B5EF4-FFF2-40B4-BE49-F238E27FC236}">
                <a16:creationId xmlns:a16="http://schemas.microsoft.com/office/drawing/2014/main" id="{7DAA6D68-FCAC-F349-9566-13D9C60B38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6201" y="457201"/>
            <a:ext cx="1496045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6305024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0A3412-F8F5-4C34-944B-36CFCB7325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0"/>
            <a:ext cx="2628900" cy="5029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190"/>
            </a:lvl1pPr>
          </a:lstStyle>
          <a:p>
            <a:r>
              <a:rPr lang="en-US"/>
              <a:t>Agenda Title</a:t>
            </a:r>
            <a:endParaRPr lang="en-P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63C01C-5E4A-48C8-8DFB-9535E24693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1" y="6446839"/>
            <a:ext cx="16764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Arcadis 2020</a:t>
            </a: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A77579DE-DB74-46FF-84F6-29EC955B4E6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67200" y="1614054"/>
            <a:ext cx="260119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genda item 1 title</a:t>
            </a:r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41D393E6-10CC-413D-9A57-F7E0D262849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67200" y="2071254"/>
            <a:ext cx="2601190" cy="4433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rief description if needed.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3C026DCF-CD0E-413B-82F9-C0581F01DBE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14701" y="1614054"/>
            <a:ext cx="723900" cy="900546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94C9C2AA-911A-4114-91C9-6EAE696FCFD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67200" y="2743200"/>
            <a:ext cx="260119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genda item 2 title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26C0E548-7870-429B-9B92-BE3E3CD5505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67200" y="3200400"/>
            <a:ext cx="2601190" cy="4433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rief description if needed.</a:t>
            </a:r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0D6A66BA-4543-4786-A6ED-D01CD326E12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314701" y="2743200"/>
            <a:ext cx="723900" cy="900546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2FC311F8-36DC-47B9-A8A5-AC899D0C93E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67200" y="3900054"/>
            <a:ext cx="260119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genda item 3 title</a:t>
            </a:r>
          </a:p>
        </p:txBody>
      </p:sp>
      <p:sp>
        <p:nvSpPr>
          <p:cNvPr id="15" name="Text Placeholder 16">
            <a:extLst>
              <a:ext uri="{FF2B5EF4-FFF2-40B4-BE49-F238E27FC236}">
                <a16:creationId xmlns:a16="http://schemas.microsoft.com/office/drawing/2014/main" id="{F28B10F1-284B-4904-BFA3-824B1F9640A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67200" y="4357254"/>
            <a:ext cx="2601190" cy="4433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rief description if needed.</a:t>
            </a:r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7283BFC4-D845-4FE4-8401-A18F675BA62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14701" y="3900054"/>
            <a:ext cx="723900" cy="900546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99218627-9DF4-4DC1-9A04-89B60B91093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67200" y="5029200"/>
            <a:ext cx="260119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genda item 4 title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897FE195-12FD-4EC5-A4A3-0D6AD5612C6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267200" y="5486400"/>
            <a:ext cx="2601190" cy="4433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rief description if needed.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A7EAAFE9-5464-46B3-939E-F208BB88175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14701" y="5029200"/>
            <a:ext cx="723900" cy="900546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425E291D-C6D2-4A0E-856B-CDFBB4EE7B8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115300" y="1614054"/>
            <a:ext cx="260119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genda item 5 title</a:t>
            </a:r>
          </a:p>
        </p:txBody>
      </p:sp>
      <p:sp>
        <p:nvSpPr>
          <p:cNvPr id="21" name="Text Placeholder 16">
            <a:extLst>
              <a:ext uri="{FF2B5EF4-FFF2-40B4-BE49-F238E27FC236}">
                <a16:creationId xmlns:a16="http://schemas.microsoft.com/office/drawing/2014/main" id="{63B294A3-5269-4870-BA22-91A0F2576C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15300" y="2071254"/>
            <a:ext cx="2601190" cy="4433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rief description if needed.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AD6CC0FA-801B-4C6B-97D2-B74D0C37B3A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162801" y="1614054"/>
            <a:ext cx="723900" cy="900546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23" name="Text Placeholder 16">
            <a:extLst>
              <a:ext uri="{FF2B5EF4-FFF2-40B4-BE49-F238E27FC236}">
                <a16:creationId xmlns:a16="http://schemas.microsoft.com/office/drawing/2014/main" id="{D3D55642-1561-4CFF-B79B-78852798278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115300" y="2743200"/>
            <a:ext cx="260119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genda item 6 title</a:t>
            </a:r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id="{F537D0E4-9430-468F-96FA-C52F27D321E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115300" y="3200400"/>
            <a:ext cx="2601190" cy="4433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rief description if needed.</a:t>
            </a:r>
          </a:p>
        </p:txBody>
      </p:sp>
      <p:sp>
        <p:nvSpPr>
          <p:cNvPr id="25" name="Text Placeholder 16">
            <a:extLst>
              <a:ext uri="{FF2B5EF4-FFF2-40B4-BE49-F238E27FC236}">
                <a16:creationId xmlns:a16="http://schemas.microsoft.com/office/drawing/2014/main" id="{6FDAFE21-5787-40BD-BE6B-42F86C3548B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162801" y="2743200"/>
            <a:ext cx="723900" cy="900546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92D29A6F-7B29-4D19-A9AB-E3CDAA617D6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115300" y="3900054"/>
            <a:ext cx="260119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genda item 7 title</a:t>
            </a:r>
          </a:p>
        </p:txBody>
      </p:sp>
      <p:sp>
        <p:nvSpPr>
          <p:cNvPr id="27" name="Text Placeholder 16">
            <a:extLst>
              <a:ext uri="{FF2B5EF4-FFF2-40B4-BE49-F238E27FC236}">
                <a16:creationId xmlns:a16="http://schemas.microsoft.com/office/drawing/2014/main" id="{713DB33C-7EB8-4578-A2D2-DCCF4520676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115300" y="4357254"/>
            <a:ext cx="2601190" cy="4433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rief description if needed.</a:t>
            </a:r>
          </a:p>
        </p:txBody>
      </p:sp>
      <p:sp>
        <p:nvSpPr>
          <p:cNvPr id="28" name="Text Placeholder 16">
            <a:extLst>
              <a:ext uri="{FF2B5EF4-FFF2-40B4-BE49-F238E27FC236}">
                <a16:creationId xmlns:a16="http://schemas.microsoft.com/office/drawing/2014/main" id="{5D990D95-93AC-4539-8642-BFEF3663DE4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162801" y="3900054"/>
            <a:ext cx="723900" cy="900546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7</a:t>
            </a:r>
          </a:p>
        </p:txBody>
      </p:sp>
      <p:sp>
        <p:nvSpPr>
          <p:cNvPr id="29" name="Text Placeholder 16">
            <a:extLst>
              <a:ext uri="{FF2B5EF4-FFF2-40B4-BE49-F238E27FC236}">
                <a16:creationId xmlns:a16="http://schemas.microsoft.com/office/drawing/2014/main" id="{22F9D84F-2EA4-4D8D-BDF7-6EB3D868B4A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115300" y="5029200"/>
            <a:ext cx="260119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genda item 8 title</a:t>
            </a:r>
          </a:p>
        </p:txBody>
      </p:sp>
      <p:sp>
        <p:nvSpPr>
          <p:cNvPr id="30" name="Text Placeholder 16">
            <a:extLst>
              <a:ext uri="{FF2B5EF4-FFF2-40B4-BE49-F238E27FC236}">
                <a16:creationId xmlns:a16="http://schemas.microsoft.com/office/drawing/2014/main" id="{D1B6D1AF-9D74-4A85-B7E1-7B96E1A558B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115300" y="5486400"/>
            <a:ext cx="2601190" cy="4433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rief description if needed.</a:t>
            </a:r>
          </a:p>
        </p:txBody>
      </p:sp>
      <p:sp>
        <p:nvSpPr>
          <p:cNvPr id="31" name="Text Placeholder 16">
            <a:extLst>
              <a:ext uri="{FF2B5EF4-FFF2-40B4-BE49-F238E27FC236}">
                <a16:creationId xmlns:a16="http://schemas.microsoft.com/office/drawing/2014/main" id="{54C20AAC-ACA0-42AB-BCE9-56AA810FC58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162801" y="5029200"/>
            <a:ext cx="723900" cy="900546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8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6D1CB2D3-6054-9E48-8B7A-D6DECFA632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6200" y="457202"/>
            <a:ext cx="1498600" cy="228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5198795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0A3412-F8F5-4C34-944B-36CFCB7325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0"/>
            <a:ext cx="2628900" cy="5029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190"/>
            </a:lvl1pPr>
          </a:lstStyle>
          <a:p>
            <a:r>
              <a:rPr lang="en-US"/>
              <a:t>Agenda Title</a:t>
            </a:r>
            <a:endParaRPr lang="en-P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63C01C-5E4A-48C8-8DFB-9535E24693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1" y="6446839"/>
            <a:ext cx="16764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Arcadis 2020</a:t>
            </a: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A77579DE-DB74-46FF-84F6-29EC955B4E6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67200" y="1614054"/>
            <a:ext cx="260119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genda item 1 title</a:t>
            </a:r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41D393E6-10CC-413D-9A57-F7E0D262849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67200" y="2071254"/>
            <a:ext cx="2601190" cy="4433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Brief description if needed.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3C026DCF-CD0E-413B-82F9-C0581F01DBE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14701" y="1614054"/>
            <a:ext cx="723900" cy="900546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94C9C2AA-911A-4114-91C9-6EAE696FCFD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67200" y="2743200"/>
            <a:ext cx="260119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genda item 2 title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26C0E548-7870-429B-9B92-BE3E3CD5505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67200" y="3200400"/>
            <a:ext cx="2601190" cy="4433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Brief description if needed.</a:t>
            </a:r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0D6A66BA-4543-4786-A6ED-D01CD326E12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314701" y="2743200"/>
            <a:ext cx="723900" cy="900546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2FC311F8-36DC-47B9-A8A5-AC899D0C93E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67200" y="3900054"/>
            <a:ext cx="260119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genda item 3 title</a:t>
            </a:r>
          </a:p>
        </p:txBody>
      </p:sp>
      <p:sp>
        <p:nvSpPr>
          <p:cNvPr id="15" name="Text Placeholder 16">
            <a:extLst>
              <a:ext uri="{FF2B5EF4-FFF2-40B4-BE49-F238E27FC236}">
                <a16:creationId xmlns:a16="http://schemas.microsoft.com/office/drawing/2014/main" id="{F28B10F1-284B-4904-BFA3-824B1F9640A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67200" y="4357254"/>
            <a:ext cx="2601190" cy="4433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Brief description if needed.</a:t>
            </a:r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7283BFC4-D845-4FE4-8401-A18F675BA62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14701" y="3900054"/>
            <a:ext cx="723900" cy="900546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99218627-9DF4-4DC1-9A04-89B60B91093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67200" y="5029200"/>
            <a:ext cx="260119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genda item 4 title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897FE195-12FD-4EC5-A4A3-0D6AD5612C6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267200" y="5486400"/>
            <a:ext cx="2601190" cy="4433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Brief description if needed.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A7EAAFE9-5464-46B3-939E-F208BB88175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14701" y="5029200"/>
            <a:ext cx="723900" cy="900546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425E291D-C6D2-4A0E-856B-CDFBB4EE7B8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115300" y="1614054"/>
            <a:ext cx="260119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genda item 5 title</a:t>
            </a:r>
          </a:p>
        </p:txBody>
      </p:sp>
      <p:sp>
        <p:nvSpPr>
          <p:cNvPr id="21" name="Text Placeholder 16">
            <a:extLst>
              <a:ext uri="{FF2B5EF4-FFF2-40B4-BE49-F238E27FC236}">
                <a16:creationId xmlns:a16="http://schemas.microsoft.com/office/drawing/2014/main" id="{63B294A3-5269-4870-BA22-91A0F2576C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15300" y="2071254"/>
            <a:ext cx="2601190" cy="4433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Brief description if needed.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AD6CC0FA-801B-4C6B-97D2-B74D0C37B3A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162801" y="1614054"/>
            <a:ext cx="723900" cy="900546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23" name="Text Placeholder 16">
            <a:extLst>
              <a:ext uri="{FF2B5EF4-FFF2-40B4-BE49-F238E27FC236}">
                <a16:creationId xmlns:a16="http://schemas.microsoft.com/office/drawing/2014/main" id="{D3D55642-1561-4CFF-B79B-78852798278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115300" y="2743200"/>
            <a:ext cx="260119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genda item 6 title</a:t>
            </a:r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id="{F537D0E4-9430-468F-96FA-C52F27D321E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115300" y="3200400"/>
            <a:ext cx="2601190" cy="4433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Brief description if needed.</a:t>
            </a:r>
          </a:p>
        </p:txBody>
      </p:sp>
      <p:sp>
        <p:nvSpPr>
          <p:cNvPr id="25" name="Text Placeholder 16">
            <a:extLst>
              <a:ext uri="{FF2B5EF4-FFF2-40B4-BE49-F238E27FC236}">
                <a16:creationId xmlns:a16="http://schemas.microsoft.com/office/drawing/2014/main" id="{6FDAFE21-5787-40BD-BE6B-42F86C3548B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162801" y="2743200"/>
            <a:ext cx="723900" cy="900546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92D29A6F-7B29-4D19-A9AB-E3CDAA617D6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115300" y="3900054"/>
            <a:ext cx="260119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genda item 7 title</a:t>
            </a:r>
          </a:p>
        </p:txBody>
      </p:sp>
      <p:sp>
        <p:nvSpPr>
          <p:cNvPr id="27" name="Text Placeholder 16">
            <a:extLst>
              <a:ext uri="{FF2B5EF4-FFF2-40B4-BE49-F238E27FC236}">
                <a16:creationId xmlns:a16="http://schemas.microsoft.com/office/drawing/2014/main" id="{713DB33C-7EB8-4578-A2D2-DCCF4520676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115300" y="4357254"/>
            <a:ext cx="2601190" cy="4433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Brief description if needed.</a:t>
            </a:r>
          </a:p>
        </p:txBody>
      </p:sp>
      <p:sp>
        <p:nvSpPr>
          <p:cNvPr id="28" name="Text Placeholder 16">
            <a:extLst>
              <a:ext uri="{FF2B5EF4-FFF2-40B4-BE49-F238E27FC236}">
                <a16:creationId xmlns:a16="http://schemas.microsoft.com/office/drawing/2014/main" id="{5D990D95-93AC-4539-8642-BFEF3663DE4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162801" y="3900054"/>
            <a:ext cx="723900" cy="900546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7</a:t>
            </a:r>
          </a:p>
        </p:txBody>
      </p:sp>
      <p:sp>
        <p:nvSpPr>
          <p:cNvPr id="29" name="Text Placeholder 16">
            <a:extLst>
              <a:ext uri="{FF2B5EF4-FFF2-40B4-BE49-F238E27FC236}">
                <a16:creationId xmlns:a16="http://schemas.microsoft.com/office/drawing/2014/main" id="{22F9D84F-2EA4-4D8D-BDF7-6EB3D868B4A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115300" y="5029200"/>
            <a:ext cx="260119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genda item 8 title</a:t>
            </a:r>
          </a:p>
        </p:txBody>
      </p:sp>
      <p:sp>
        <p:nvSpPr>
          <p:cNvPr id="30" name="Text Placeholder 16">
            <a:extLst>
              <a:ext uri="{FF2B5EF4-FFF2-40B4-BE49-F238E27FC236}">
                <a16:creationId xmlns:a16="http://schemas.microsoft.com/office/drawing/2014/main" id="{D1B6D1AF-9D74-4A85-B7E1-7B96E1A558B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115300" y="5486400"/>
            <a:ext cx="2601190" cy="4433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Brief description if needed.</a:t>
            </a:r>
          </a:p>
        </p:txBody>
      </p:sp>
      <p:sp>
        <p:nvSpPr>
          <p:cNvPr id="31" name="Text Placeholder 16">
            <a:extLst>
              <a:ext uri="{FF2B5EF4-FFF2-40B4-BE49-F238E27FC236}">
                <a16:creationId xmlns:a16="http://schemas.microsoft.com/office/drawing/2014/main" id="{54C20AAC-ACA0-42AB-BCE9-56AA810FC58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162801" y="5029200"/>
            <a:ext cx="723900" cy="900546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8</a:t>
            </a:r>
          </a:p>
        </p:txBody>
      </p:sp>
      <p:pic>
        <p:nvPicPr>
          <p:cNvPr id="32" name="Picture 31" descr="&#10;">
            <a:extLst>
              <a:ext uri="{FF2B5EF4-FFF2-40B4-BE49-F238E27FC236}">
                <a16:creationId xmlns:a16="http://schemas.microsoft.com/office/drawing/2014/main" id="{457C6F17-416C-164E-AF03-802469A5A45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6201" y="457201"/>
            <a:ext cx="1496045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8795342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DF16A7-2413-4DEA-998F-44BA9197DA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2"/>
            <a:ext cx="11277600" cy="6857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Title</a:t>
            </a:r>
            <a:endParaRPr lang="en-P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565E6A-A3AB-4223-969B-B70BB8C15D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1" y="6446839"/>
            <a:ext cx="16764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Arcadis 2020</a:t>
            </a:r>
          </a:p>
        </p:txBody>
      </p:sp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8E35D0D9-5B28-41AF-8FFF-51B3BB0B9F4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3672608"/>
            <a:ext cx="2628900" cy="2135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397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First Last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3AAFDD20-5CB4-4E7B-8A4B-580E186EB39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3969330"/>
            <a:ext cx="2628900" cy="228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3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31D2D96-5863-4E23-8681-D4FE16A1691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6200" y="457202"/>
            <a:ext cx="1498600" cy="228631"/>
          </a:xfrm>
          <a:prstGeom prst="rect">
            <a:avLst/>
          </a:prstGeom>
        </p:spPr>
      </p:pic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87F9A40D-E5DD-4230-B23C-691D9FEB7FC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1" y="2071254"/>
            <a:ext cx="1094509" cy="1357746"/>
          </a:xfrm>
          <a:prstGeom prst="rect">
            <a:avLst/>
          </a:prstGeom>
          <a:noFill/>
        </p:spPr>
        <p:txBody>
          <a:bodyPr anchor="b"/>
          <a:lstStyle>
            <a:lvl1pPr algn="ctr">
              <a:defRPr sz="9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an image</a:t>
            </a:r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DB885B5F-0954-49E7-AA53-075C3516A00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343400"/>
            <a:ext cx="2628900" cy="18288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mall description of a few lines to introduce a key fact or interesting talking point of this team member</a:t>
            </a:r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868D2F65-B2D4-4F26-8D5F-34C8339CF95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14700" y="3672608"/>
            <a:ext cx="2628900" cy="2135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397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First Last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ED96DA15-06C1-48C4-9502-4E8B56D8C91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14700" y="3969330"/>
            <a:ext cx="2628900" cy="228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3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DC739CA2-9BBD-46D8-959F-BD6B5478199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314701" y="2071254"/>
            <a:ext cx="1094509" cy="1357746"/>
          </a:xfrm>
          <a:prstGeom prst="rect">
            <a:avLst/>
          </a:prstGeom>
          <a:noFill/>
        </p:spPr>
        <p:txBody>
          <a:bodyPr anchor="b"/>
          <a:lstStyle>
            <a:lvl1pPr algn="ctr">
              <a:defRPr sz="9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an image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E3666465-77EF-48D5-8577-2CB313F81FE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14700" y="4343400"/>
            <a:ext cx="2628900" cy="18288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mall description of a few lines to introduce a key fact or interesting talking point of this team member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6596144F-8291-4980-9EEA-CB143F3B343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10300" y="3672608"/>
            <a:ext cx="2628900" cy="2135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397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First Last</a:t>
            </a:r>
          </a:p>
        </p:txBody>
      </p:sp>
      <p:sp>
        <p:nvSpPr>
          <p:cNvPr id="21" name="Text Placeholder 16">
            <a:extLst>
              <a:ext uri="{FF2B5EF4-FFF2-40B4-BE49-F238E27FC236}">
                <a16:creationId xmlns:a16="http://schemas.microsoft.com/office/drawing/2014/main" id="{80EEFCF3-A6F0-40D5-BE23-0D575FC0BF4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10300" y="3969330"/>
            <a:ext cx="2628900" cy="228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3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812ADEC8-0B85-4CCE-B064-2F60ECB6FF9F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210301" y="2071254"/>
            <a:ext cx="1094509" cy="1357746"/>
          </a:xfrm>
          <a:prstGeom prst="rect">
            <a:avLst/>
          </a:prstGeom>
          <a:noFill/>
        </p:spPr>
        <p:txBody>
          <a:bodyPr anchor="b"/>
          <a:lstStyle>
            <a:lvl1pPr algn="ctr">
              <a:defRPr sz="9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an image</a:t>
            </a:r>
          </a:p>
        </p:txBody>
      </p:sp>
      <p:sp>
        <p:nvSpPr>
          <p:cNvPr id="23" name="Text Placeholder 16">
            <a:extLst>
              <a:ext uri="{FF2B5EF4-FFF2-40B4-BE49-F238E27FC236}">
                <a16:creationId xmlns:a16="http://schemas.microsoft.com/office/drawing/2014/main" id="{4AD58B23-B3B7-4810-8563-90E425A88F1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10300" y="4343400"/>
            <a:ext cx="2628900" cy="18288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mall description of a few lines to introduce a key fact or interesting talking point of this team member</a:t>
            </a:r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id="{A108268C-8B6E-4DD2-9A95-7B5F9BDDDD5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67800" y="3672608"/>
            <a:ext cx="2628900" cy="2135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397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First Last</a:t>
            </a:r>
          </a:p>
        </p:txBody>
      </p:sp>
      <p:sp>
        <p:nvSpPr>
          <p:cNvPr id="25" name="Text Placeholder 16">
            <a:extLst>
              <a:ext uri="{FF2B5EF4-FFF2-40B4-BE49-F238E27FC236}">
                <a16:creationId xmlns:a16="http://schemas.microsoft.com/office/drawing/2014/main" id="{002DA79F-C7C5-476C-9A18-61B31B27993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67800" y="3969330"/>
            <a:ext cx="2628900" cy="228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3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FA7C9EED-B939-4DF9-8ECD-1BBC57725E75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067801" y="2071254"/>
            <a:ext cx="1094509" cy="1357746"/>
          </a:xfrm>
          <a:prstGeom prst="rect">
            <a:avLst/>
          </a:prstGeom>
          <a:noFill/>
        </p:spPr>
        <p:txBody>
          <a:bodyPr anchor="b"/>
          <a:lstStyle>
            <a:lvl1pPr algn="ctr">
              <a:defRPr sz="9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an image</a:t>
            </a:r>
          </a:p>
        </p:txBody>
      </p:sp>
      <p:sp>
        <p:nvSpPr>
          <p:cNvPr id="27" name="Text Placeholder 16">
            <a:extLst>
              <a:ext uri="{FF2B5EF4-FFF2-40B4-BE49-F238E27FC236}">
                <a16:creationId xmlns:a16="http://schemas.microsoft.com/office/drawing/2014/main" id="{9CCE0E4F-F021-4673-AE69-FAAFAEDBA13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067800" y="4343400"/>
            <a:ext cx="2628900" cy="18288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mall description of a few lines to introduce a key fact or interesting talking point of this team member</a:t>
            </a:r>
          </a:p>
        </p:txBody>
      </p:sp>
      <p:sp>
        <p:nvSpPr>
          <p:cNvPr id="28" name="Date Placeholder 2">
            <a:extLst>
              <a:ext uri="{FF2B5EF4-FFF2-40B4-BE49-F238E27FC236}">
                <a16:creationId xmlns:a16="http://schemas.microsoft.com/office/drawing/2014/main" id="{2BB379EA-B683-EB43-871D-BD3F6883A6D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67800" y="6446839"/>
            <a:ext cx="1714500" cy="365125"/>
          </a:xfrm>
          <a:prstGeom prst="rect">
            <a:avLst/>
          </a:prstGeom>
        </p:spPr>
        <p:txBody>
          <a:bodyPr/>
          <a:lstStyle/>
          <a:p>
            <a:fld id="{F31E42D4-B472-4D33-8D3D-6F0C0E7887EA}" type="datetime3">
              <a:rPr lang="en-US" smtClean="0"/>
              <a:t>5 October 2025</a:t>
            </a:fld>
            <a:endParaRPr lang="en-US"/>
          </a:p>
        </p:txBody>
      </p:sp>
      <p:sp>
        <p:nvSpPr>
          <p:cNvPr id="29" name="Slide Number Placeholder 4">
            <a:extLst>
              <a:ext uri="{FF2B5EF4-FFF2-40B4-BE49-F238E27FC236}">
                <a16:creationId xmlns:a16="http://schemas.microsoft.com/office/drawing/2014/main" id="{0782CA2D-3339-B046-8B48-3ED9BA0FAE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0900" y="6446839"/>
            <a:ext cx="723900" cy="365125"/>
          </a:xfrm>
          <a:prstGeom prst="rect">
            <a:avLst/>
          </a:prstGeom>
        </p:spPr>
        <p:txBody>
          <a:bodyPr/>
          <a:lstStyle/>
          <a:p>
            <a:fld id="{2FE63AA4-120D-435A-A130-F49443AF7C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9071124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34111703-491E-4C29-AA49-D7743322B4A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6200" y="457202"/>
            <a:ext cx="1498600" cy="228631"/>
          </a:xfrm>
          <a:prstGeom prst="rect">
            <a:avLst/>
          </a:prstGeom>
        </p:spPr>
      </p:pic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42C491A1-596D-4F98-B2B4-1390B9EE50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1" y="6446839"/>
            <a:ext cx="16764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Arcadis 2020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9D3C3DF-07C9-476C-AC69-B1DC18183ED0}"/>
              </a:ext>
            </a:extLst>
          </p:cNvPr>
          <p:cNvSpPr txBox="1"/>
          <p:nvPr userDrawn="1"/>
        </p:nvSpPr>
        <p:spPr>
          <a:xfrm>
            <a:off x="457201" y="6037945"/>
            <a:ext cx="2601190" cy="16619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lvl="0" indent="0" algn="l" defTabSz="984445" rtl="0" eaLnBrk="1" latinLnBrk="0" hangingPunct="1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</a:pPr>
            <a:r>
              <a:rPr lang="en-US" sz="1197" b="1" kern="120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Arcadis.</a:t>
            </a:r>
            <a:r>
              <a:rPr lang="en-US" sz="1197" b="1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mproving quality of life.</a:t>
            </a:r>
            <a:endParaRPr lang="en-PH" sz="1197" b="1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4672009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with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9D0BEDAC-CC6F-492A-BB9E-D7668217CC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1" y="6446839"/>
            <a:ext cx="16764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Arcadis 2020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3ABD71C-D8EF-4234-A2D0-085295E2EC52}"/>
              </a:ext>
            </a:extLst>
          </p:cNvPr>
          <p:cNvSpPr txBox="1"/>
          <p:nvPr userDrawn="1"/>
        </p:nvSpPr>
        <p:spPr>
          <a:xfrm>
            <a:off x="457201" y="6037945"/>
            <a:ext cx="2601190" cy="16619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lvl="0" indent="0" algn="l" defTabSz="984445" rtl="0" eaLnBrk="1" latinLnBrk="0" hangingPunct="1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</a:pPr>
            <a:r>
              <a:rPr lang="en-US" sz="1197" b="1" kern="120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Arcadis.</a:t>
            </a:r>
            <a:r>
              <a:rPr lang="en-US" sz="1197" b="1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mproving quality of life.</a:t>
            </a:r>
            <a:endParaRPr lang="en-PH" sz="1197" b="1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132E485-D736-4DCB-95B5-1F51A5B069C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6200" y="457202"/>
            <a:ext cx="1498600" cy="228631"/>
          </a:xfrm>
          <a:prstGeom prst="rect">
            <a:avLst/>
          </a:prstGeom>
        </p:spPr>
      </p:pic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99BBA926-2F06-4BAA-803E-52ECFB7751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09700" y="2071254"/>
            <a:ext cx="2628900" cy="2135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Last</a:t>
            </a: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EDFC0252-57A3-46DD-9427-F2791D0270E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09700" y="2400993"/>
            <a:ext cx="2628900" cy="228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75B3955F-7CDE-468A-AFD1-FBD8C68E0E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1" y="2071254"/>
            <a:ext cx="723899" cy="887846"/>
          </a:xfrm>
          <a:prstGeom prst="rect">
            <a:avLst/>
          </a:prstGeom>
          <a:noFill/>
        </p:spPr>
        <p:txBody>
          <a:bodyPr anchor="b"/>
          <a:lstStyle>
            <a:lvl1pPr algn="ctr">
              <a:defRPr sz="9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an imag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88CAFCB-962C-446A-85AD-1C20E120FC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371601"/>
            <a:ext cx="3581400" cy="45719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95"/>
            </a:lvl1pPr>
          </a:lstStyle>
          <a:p>
            <a:r>
              <a:rPr lang="en-US"/>
              <a:t>Contact Us</a:t>
            </a:r>
            <a:endParaRPr lang="en-PH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9AF3F018-2B2A-4D9F-BF18-FADB2BE121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409700" y="2745740"/>
            <a:ext cx="2628900" cy="2133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name@arcadis.com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8D788D96-85C2-4AA3-9798-7A6DCCE7CAA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409700" y="3434483"/>
            <a:ext cx="2628900" cy="2135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Last</a:t>
            </a:r>
          </a:p>
        </p:txBody>
      </p:sp>
      <p:sp>
        <p:nvSpPr>
          <p:cNvPr id="15" name="Text Placeholder 16">
            <a:extLst>
              <a:ext uri="{FF2B5EF4-FFF2-40B4-BE49-F238E27FC236}">
                <a16:creationId xmlns:a16="http://schemas.microsoft.com/office/drawing/2014/main" id="{4EE1C37F-6B8B-402C-90C4-8EB95105D3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09700" y="3755110"/>
            <a:ext cx="2628900" cy="228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A0FAD612-061C-456B-8750-9FBD298633F7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7201" y="3444421"/>
            <a:ext cx="723899" cy="887846"/>
          </a:xfrm>
          <a:prstGeom prst="rect">
            <a:avLst/>
          </a:prstGeom>
          <a:noFill/>
        </p:spPr>
        <p:txBody>
          <a:bodyPr anchor="b"/>
          <a:lstStyle>
            <a:lvl1pPr algn="ctr">
              <a:defRPr sz="9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an image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72B3707-2853-497B-9202-A64DFDF842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409700" y="4114800"/>
            <a:ext cx="2628900" cy="2133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name@arcadis.com</a:t>
            </a:r>
          </a:p>
        </p:txBody>
      </p:sp>
    </p:spTree>
    <p:extLst>
      <p:ext uri="{BB962C8B-B14F-4D97-AF65-F5344CB8AC3E}">
        <p14:creationId xmlns:p14="http://schemas.microsoft.com/office/powerpoint/2010/main" val="424803144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osing Slide with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9D0BEDAC-CC6F-492A-BB9E-D7668217CC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1" y="6446839"/>
            <a:ext cx="16764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Arcadis 2020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3ABD71C-D8EF-4234-A2D0-085295E2EC52}"/>
              </a:ext>
            </a:extLst>
          </p:cNvPr>
          <p:cNvSpPr txBox="1"/>
          <p:nvPr userDrawn="1"/>
        </p:nvSpPr>
        <p:spPr>
          <a:xfrm>
            <a:off x="457201" y="6037945"/>
            <a:ext cx="2601190" cy="16619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lvl="0" indent="0" algn="l" defTabSz="984445" rtl="0" eaLnBrk="1" latinLnBrk="0" hangingPunct="1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</a:pPr>
            <a:r>
              <a:rPr lang="en-US" sz="1197" b="1" kern="120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Arcadis.</a:t>
            </a:r>
            <a:r>
              <a:rPr lang="en-US" sz="1197" b="1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mproving quality of life.</a:t>
            </a:r>
            <a:endParaRPr lang="en-PH" sz="1197" b="1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132E485-D736-4DCB-95B5-1F51A5B069C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6200" y="457202"/>
            <a:ext cx="1498600" cy="228631"/>
          </a:xfrm>
          <a:prstGeom prst="rect">
            <a:avLst/>
          </a:prstGeom>
        </p:spPr>
      </p:pic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99BBA926-2F06-4BAA-803E-52ECFB7751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09700" y="2071256"/>
            <a:ext cx="3619500" cy="2013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Last</a:t>
            </a: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EDFC0252-57A3-46DD-9427-F2791D0270E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09700" y="2282993"/>
            <a:ext cx="3619500" cy="2363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/Rol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75B3955F-7CDE-468A-AFD1-FBD8C68E0E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1" y="2071254"/>
            <a:ext cx="723899" cy="887846"/>
          </a:xfrm>
          <a:prstGeom prst="rect">
            <a:avLst/>
          </a:prstGeom>
          <a:noFill/>
        </p:spPr>
        <p:txBody>
          <a:bodyPr anchor="b"/>
          <a:lstStyle>
            <a:lvl1pPr algn="ctr">
              <a:defRPr sz="9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an imag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88CAFCB-962C-446A-85AD-1C20E120FC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371601"/>
            <a:ext cx="3581400" cy="45719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95"/>
            </a:lvl1pPr>
          </a:lstStyle>
          <a:p>
            <a:r>
              <a:rPr lang="en-US"/>
              <a:t>Contact Us</a:t>
            </a:r>
            <a:endParaRPr lang="en-PH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9AF3F018-2B2A-4D9F-BF18-FADB2BE121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409700" y="2865122"/>
            <a:ext cx="3626465" cy="2133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047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name@arcadis.com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A0FAD612-061C-456B-8750-9FBD298633F7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7201" y="3894362"/>
            <a:ext cx="723899" cy="887846"/>
          </a:xfrm>
          <a:prstGeom prst="rect">
            <a:avLst/>
          </a:prstGeom>
          <a:noFill/>
        </p:spPr>
        <p:txBody>
          <a:bodyPr anchor="b"/>
          <a:lstStyle>
            <a:lvl1pPr algn="ctr">
              <a:defRPr sz="9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an image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A7EBCCDB-82A3-2647-8C2F-357F2296CA8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407742" y="2522507"/>
            <a:ext cx="3619500" cy="228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998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Address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14F4D0F6-A3E6-584C-AE76-552F0AA581B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409700" y="3092574"/>
            <a:ext cx="3617543" cy="25102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047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+(00) 1234 56789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7BE7CAEA-03FF-B841-B4A1-05D3BAF89FF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418623" y="3886322"/>
            <a:ext cx="3619500" cy="2013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Last</a:t>
            </a:r>
          </a:p>
        </p:txBody>
      </p:sp>
      <p:sp>
        <p:nvSpPr>
          <p:cNvPr id="21" name="Text Placeholder 16">
            <a:extLst>
              <a:ext uri="{FF2B5EF4-FFF2-40B4-BE49-F238E27FC236}">
                <a16:creationId xmlns:a16="http://schemas.microsoft.com/office/drawing/2014/main" id="{B1E354D4-91D4-4C46-92C4-51A1F2ADC3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418623" y="4098059"/>
            <a:ext cx="3619500" cy="2363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/Role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78237C3E-C1B0-D54C-AE57-80A34EA7CF0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418623" y="4680186"/>
            <a:ext cx="3608619" cy="195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047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name@arcadis.com</a:t>
            </a:r>
          </a:p>
        </p:txBody>
      </p:sp>
      <p:sp>
        <p:nvSpPr>
          <p:cNvPr id="23" name="Text Placeholder 16">
            <a:extLst>
              <a:ext uri="{FF2B5EF4-FFF2-40B4-BE49-F238E27FC236}">
                <a16:creationId xmlns:a16="http://schemas.microsoft.com/office/drawing/2014/main" id="{EF5DF5DB-824D-AC4D-9591-435C89E7936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16665" y="4337573"/>
            <a:ext cx="3619500" cy="228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998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Address</a:t>
            </a:r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id="{C4C1BAAE-9DAA-304D-96A6-DB8AA7A1AFA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418623" y="4907643"/>
            <a:ext cx="3608619" cy="2326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047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+(00) 1234 56789</a:t>
            </a:r>
          </a:p>
        </p:txBody>
      </p:sp>
    </p:spTree>
    <p:extLst>
      <p:ext uri="{BB962C8B-B14F-4D97-AF65-F5344CB8AC3E}">
        <p14:creationId xmlns:p14="http://schemas.microsoft.com/office/powerpoint/2010/main" val="2640279588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720000" y="1008000"/>
            <a:ext cx="10752000" cy="630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baseline="0"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6" name="Kicker"/>
          <p:cNvSpPr>
            <a:spLocks noGrp="1"/>
          </p:cNvSpPr>
          <p:nvPr>
            <p:ph type="body" sz="quarter" idx="12" hasCustomPrompt="1"/>
          </p:nvPr>
        </p:nvSpPr>
        <p:spPr>
          <a:xfrm>
            <a:off x="720000" y="5778121"/>
            <a:ext cx="10752000" cy="522808"/>
          </a:xfrm>
          <a:solidFill>
            <a:schemeClr val="tx2"/>
          </a:solidFill>
          <a:ln w="3175">
            <a:solidFill>
              <a:schemeClr val="tx2"/>
            </a:solidFill>
          </a:ln>
        </p:spPr>
        <p:txBody>
          <a:bodyPr tIns="108000" bIns="108000" anchor="b" anchorCtr="1">
            <a:spAutoFit/>
          </a:bodyPr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195" b="1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kicker or ‘so what’. Delete if not required.</a:t>
            </a:r>
          </a:p>
        </p:txBody>
      </p:sp>
      <p:sp>
        <p:nvSpPr>
          <p:cNvPr id="7" name="Content"/>
          <p:cNvSpPr>
            <a:spLocks noGrp="1"/>
          </p:cNvSpPr>
          <p:nvPr>
            <p:ph sz="quarter" idx="11" hasCustomPrompt="1"/>
          </p:nvPr>
        </p:nvSpPr>
        <p:spPr>
          <a:xfrm>
            <a:off x="720000" y="1656001"/>
            <a:ext cx="10752000" cy="400502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95" baseline="0"/>
            </a:lvl1pPr>
            <a:lvl2pPr marL="269200" marR="0" indent="-269200" algn="l" defTabSz="912114" rtl="0" eaLnBrk="1" fontAlgn="auto" latinLnBrk="0" hangingPunct="1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596">
                <a:solidFill>
                  <a:schemeClr val="tx1"/>
                </a:solidFill>
              </a:defRPr>
            </a:lvl2pPr>
            <a:lvl3pPr>
              <a:defRPr sz="1397">
                <a:solidFill>
                  <a:schemeClr val="tx1"/>
                </a:solidFill>
              </a:defRPr>
            </a:lvl3pPr>
            <a:lvl4pPr>
              <a:defRPr sz="1197">
                <a:solidFill>
                  <a:schemeClr val="tx1"/>
                </a:solidFill>
              </a:defRPr>
            </a:lvl4pPr>
            <a:lvl5pPr>
              <a:defRPr sz="1197">
                <a:solidFill>
                  <a:schemeClr val="tx1"/>
                </a:solidFill>
              </a:defRPr>
            </a:lvl5pPr>
          </a:lstStyle>
          <a:p>
            <a:pPr marL="269200" marR="0" lvl="1" indent="-269200" algn="l" defTabSz="912114" rtl="0" eaLnBrk="1" fontAlgn="auto" latinLnBrk="0" hangingPunct="1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Click to add text, tables, charts, smart art, pictures or media</a:t>
            </a:r>
          </a:p>
          <a:p>
            <a:pPr lvl="1"/>
            <a:r>
              <a:rPr lang="en-US"/>
              <a:t>First bullet</a:t>
            </a:r>
          </a:p>
          <a:p>
            <a:pPr lvl="2"/>
            <a:r>
              <a:rPr lang="en-US"/>
              <a:t>Second bullet</a:t>
            </a:r>
          </a:p>
          <a:p>
            <a:pPr lvl="3"/>
            <a:r>
              <a:rPr lang="en-US"/>
              <a:t>Third bullet</a:t>
            </a:r>
          </a:p>
          <a:p>
            <a:pPr lvl="4"/>
            <a:r>
              <a:rPr lang="en-US"/>
              <a:t>Fourth bullet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3"/>
          </p:nvPr>
        </p:nvSpPr>
        <p:spPr>
          <a:xfrm>
            <a:off x="9067800" y="6446839"/>
            <a:ext cx="1714500" cy="365125"/>
          </a:xfrm>
          <a:prstGeom prst="rect">
            <a:avLst/>
          </a:prstGeom>
        </p:spPr>
        <p:txBody>
          <a:bodyPr/>
          <a:lstStyle/>
          <a:p>
            <a:fld id="{7174028F-FC55-4814-9D01-B1C00550C2C3}" type="datetime4">
              <a:rPr lang="en-GB" smtClean="0"/>
              <a:pPr/>
              <a:t>05 October 2025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>
          <a:xfrm>
            <a:off x="457201" y="6446839"/>
            <a:ext cx="16764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>
          <a:xfrm>
            <a:off x="11010900" y="6446839"/>
            <a:ext cx="723900" cy="365125"/>
          </a:xfrm>
          <a:prstGeom prst="rect">
            <a:avLst/>
          </a:prstGeom>
        </p:spPr>
        <p:txBody>
          <a:bodyPr/>
          <a:lstStyle/>
          <a:p>
            <a:fld id="{203C551C-83BB-4568-94F6-AC8A8312A04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21497651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312887" y="564375"/>
            <a:ext cx="10752000" cy="63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baseline="0"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7" name="Content Right"/>
          <p:cNvSpPr>
            <a:spLocks noGrp="1"/>
          </p:cNvSpPr>
          <p:nvPr>
            <p:ph sz="quarter" idx="11" hasCustomPrompt="1"/>
          </p:nvPr>
        </p:nvSpPr>
        <p:spPr>
          <a:xfrm>
            <a:off x="720001" y="1656000"/>
            <a:ext cx="5184000" cy="440189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795" baseline="0"/>
            </a:lvl1pPr>
            <a:lvl2pPr>
              <a:defRPr sz="1596">
                <a:solidFill>
                  <a:schemeClr val="tx1"/>
                </a:solidFill>
              </a:defRPr>
            </a:lvl2pPr>
            <a:lvl3pPr>
              <a:defRPr sz="1397"/>
            </a:lvl3pPr>
            <a:lvl4pPr>
              <a:defRPr sz="1197"/>
            </a:lvl4pPr>
            <a:lvl5pPr>
              <a:defRPr sz="1197" baseline="0"/>
            </a:lvl5pPr>
          </a:lstStyle>
          <a:p>
            <a:pPr lvl="1"/>
            <a:r>
              <a:rPr lang="en-US"/>
              <a:t>Click to add text, tables, charts, smart art, pictures or media</a:t>
            </a:r>
          </a:p>
        </p:txBody>
      </p:sp>
      <p:sp>
        <p:nvSpPr>
          <p:cNvPr id="5" name="Content Left"/>
          <p:cNvSpPr>
            <a:spLocks noGrp="1"/>
          </p:cNvSpPr>
          <p:nvPr>
            <p:ph sz="quarter" idx="12" hasCustomPrompt="1"/>
          </p:nvPr>
        </p:nvSpPr>
        <p:spPr>
          <a:xfrm>
            <a:off x="6288000" y="1656001"/>
            <a:ext cx="5184000" cy="440189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795" baseline="0"/>
            </a:lvl1pPr>
            <a:lvl2pPr>
              <a:defRPr sz="1596" baseline="0">
                <a:solidFill>
                  <a:schemeClr val="tx1"/>
                </a:solidFill>
              </a:defRPr>
            </a:lvl2pPr>
            <a:lvl3pPr>
              <a:defRPr sz="1397" baseline="0"/>
            </a:lvl3pPr>
            <a:lvl4pPr>
              <a:defRPr sz="1197"/>
            </a:lvl4pPr>
            <a:lvl5pPr>
              <a:defRPr sz="1197"/>
            </a:lvl5pPr>
          </a:lstStyle>
          <a:p>
            <a:pPr lvl="1"/>
            <a:r>
              <a:rPr lang="en-US"/>
              <a:t>Click to add text, tables, charts, smart art, pictures or media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>
          <a:xfrm>
            <a:off x="9067800" y="6446839"/>
            <a:ext cx="1714500" cy="365125"/>
          </a:xfrm>
          <a:prstGeom prst="rect">
            <a:avLst/>
          </a:prstGeom>
        </p:spPr>
        <p:txBody>
          <a:bodyPr/>
          <a:lstStyle/>
          <a:p>
            <a:fld id="{5796964E-E0D3-4381-9D35-3C5630D4BAB7}" type="datetime4">
              <a:rPr lang="en-GB" smtClean="0"/>
              <a:t>05 October 2025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457201" y="6446839"/>
            <a:ext cx="16764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1010900" y="6446839"/>
            <a:ext cx="723900" cy="365125"/>
          </a:xfrm>
          <a:prstGeom prst="rect">
            <a:avLst/>
          </a:prstGeom>
        </p:spPr>
        <p:txBody>
          <a:bodyPr/>
          <a:lstStyle/>
          <a:p>
            <a:fld id="{203C551C-83BB-4568-94F6-AC8A8312A04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9213804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/>
          <p:cNvSpPr>
            <a:spLocks noGrp="1"/>
          </p:cNvSpPr>
          <p:nvPr>
            <p:ph type="title" hasCustomPrompt="1"/>
          </p:nvPr>
        </p:nvSpPr>
        <p:spPr>
          <a:xfrm>
            <a:off x="720000" y="766700"/>
            <a:ext cx="10752000" cy="630000"/>
          </a:xfrm>
          <a:prstGeom prst="rect">
            <a:avLst/>
          </a:prstGeom>
        </p:spPr>
        <p:txBody>
          <a:bodyPr/>
          <a:lstStyle>
            <a:lvl1pPr>
              <a:defRPr sz="3292"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11064888" y="6490962"/>
            <a:ext cx="539749" cy="252000"/>
          </a:xfrm>
          <a:prstGeom prst="rect">
            <a:avLst/>
          </a:prstGeom>
        </p:spPr>
        <p:txBody>
          <a:bodyPr/>
          <a:lstStyle>
            <a:lvl1pPr>
              <a:defRPr sz="798">
                <a:latin typeface="+mj-lt"/>
              </a:defRPr>
            </a:lvl1pPr>
          </a:lstStyle>
          <a:p>
            <a:fld id="{203C551C-83BB-4568-94F6-AC8A8312A04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2413467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34111703-491E-4C29-AA49-D7743322B4A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6200" y="457206"/>
            <a:ext cx="1498600" cy="228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029432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15C286-5618-412C-9989-0DF3E44ABF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4" y="1878806"/>
            <a:ext cx="4266247" cy="166812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Slide title</a:t>
            </a:r>
            <a:br>
              <a:rPr lang="en-US"/>
            </a:br>
            <a:r>
              <a:rPr lang="en-US"/>
              <a:t>maximum</a:t>
            </a:r>
            <a:br>
              <a:rPr lang="en-US"/>
            </a:br>
            <a:r>
              <a:rPr lang="en-US"/>
              <a:t>of 3 lines.</a:t>
            </a:r>
            <a:endParaRPr lang="en-GB"/>
          </a:p>
        </p:txBody>
      </p:sp>
      <p:pic>
        <p:nvPicPr>
          <p:cNvPr id="17" name="Picture 16" descr="A screenshot of a cell phone&#10;&#10;Description automatically generated" hidden="1">
            <a:extLst>
              <a:ext uri="{FF2B5EF4-FFF2-40B4-BE49-F238E27FC236}">
                <a16:creationId xmlns:a16="http://schemas.microsoft.com/office/drawing/2014/main" id="{49ABD49A-62A7-4B82-953C-7B5F54C1C93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6350"/>
            <a:ext cx="12192000" cy="6852646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0CB13A-B8C0-4897-B8D4-BAB690DC8F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12229" y="2133601"/>
            <a:ext cx="4068000" cy="1857632"/>
          </a:xfrm>
        </p:spPr>
        <p:txBody>
          <a:bodyPr lIns="0" t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sz="1197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sz="1097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sz="1047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sz="998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sz="99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8AFC604-4C75-4365-ACB0-AB070B552C9A}"/>
              </a:ext>
            </a:extLst>
          </p:cNvPr>
          <p:cNvCxnSpPr/>
          <p:nvPr userDrawn="1"/>
        </p:nvCxnSpPr>
        <p:spPr>
          <a:xfrm>
            <a:off x="442913" y="1670844"/>
            <a:ext cx="360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E8E9C56-1654-419F-BC62-E5C0C6E47E18}"/>
              </a:ext>
            </a:extLst>
          </p:cNvPr>
          <p:cNvCxnSpPr>
            <a:cxnSpLocks/>
          </p:cNvCxnSpPr>
          <p:nvPr userDrawn="1"/>
        </p:nvCxnSpPr>
        <p:spPr>
          <a:xfrm>
            <a:off x="442914" y="548891"/>
            <a:ext cx="3244657" cy="11905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Date Placeholder 22">
            <a:extLst>
              <a:ext uri="{FF2B5EF4-FFF2-40B4-BE49-F238E27FC236}">
                <a16:creationId xmlns:a16="http://schemas.microsoft.com/office/drawing/2014/main" id="{D5DA3A80-B6F1-4D00-82E4-053FA5FD21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67800" y="6446839"/>
            <a:ext cx="1714500" cy="365125"/>
          </a:xfrm>
          <a:prstGeom prst="rect">
            <a:avLst/>
          </a:prstGeom>
        </p:spPr>
        <p:txBody>
          <a:bodyPr/>
          <a:lstStyle/>
          <a:p>
            <a:fld id="{DBA3B057-F29F-41A6-AB91-60325B11651E}" type="datetime1">
              <a:rPr lang="en-GB" smtClean="0"/>
              <a:t>05/10/2025</a:t>
            </a:fld>
            <a:endParaRPr lang="en-GB"/>
          </a:p>
        </p:txBody>
      </p: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id="{9B02AAB4-C372-4CFA-BD9A-44DE644740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0900" y="6446839"/>
            <a:ext cx="723900" cy="365125"/>
          </a:xfrm>
          <a:prstGeom prst="rect">
            <a:avLst/>
          </a:prstGeom>
        </p:spPr>
        <p:txBody>
          <a:bodyPr/>
          <a:lstStyle/>
          <a:p>
            <a:fld id="{DB9AB6FA-6881-4CA2-B766-1718F58CA9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F70BC118-5579-40ED-8A23-02B3B74E81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11775" y="6400260"/>
            <a:ext cx="5646738" cy="264067"/>
          </a:xfrm>
        </p:spPr>
        <p:txBody>
          <a:bodyPr/>
          <a:lstStyle>
            <a:lvl1pPr marL="0" algn="l" defTabSz="912114" rtl="0" eaLnBrk="1" latinLnBrk="0" hangingPunct="1">
              <a:defRPr lang="en-US" sz="798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2114" rtl="0" eaLnBrk="1" latinLnBrk="0" hangingPunct="1">
              <a:defRPr lang="en-US" sz="1197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2114" rtl="0" eaLnBrk="1" latinLnBrk="0" hangingPunct="1">
              <a:defRPr lang="en-US" sz="1197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2114" rtl="0" eaLnBrk="1" latinLnBrk="0" hangingPunct="1">
              <a:defRPr lang="en-US" sz="1197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2114" rtl="0" eaLnBrk="1" latinLnBrk="0" hangingPunct="1">
              <a:defRPr lang="en-GB" sz="1197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Disclaimers/additional info</a:t>
            </a:r>
            <a:endParaRPr lang="en-GB"/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47BD8038-F37A-4E02-8259-231216AB1B39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709160" y="4095861"/>
            <a:ext cx="7482840" cy="1563396"/>
          </a:xfrm>
          <a:custGeom>
            <a:avLst/>
            <a:gdLst>
              <a:gd name="connsiteX0" fmla="*/ 780176 w 7482840"/>
              <a:gd name="connsiteY0" fmla="*/ 0 h 1563396"/>
              <a:gd name="connsiteX1" fmla="*/ 786105 w 7482840"/>
              <a:gd name="connsiteY1" fmla="*/ 300 h 1563396"/>
              <a:gd name="connsiteX2" fmla="*/ 786105 w 7482840"/>
              <a:gd name="connsiteY2" fmla="*/ 0 h 1563396"/>
              <a:gd name="connsiteX3" fmla="*/ 6031411 w 7482840"/>
              <a:gd name="connsiteY3" fmla="*/ 0 h 1563396"/>
              <a:gd name="connsiteX4" fmla="*/ 7208678 w 7482840"/>
              <a:gd name="connsiteY4" fmla="*/ 0 h 1563396"/>
              <a:gd name="connsiteX5" fmla="*/ 7482840 w 7482840"/>
              <a:gd name="connsiteY5" fmla="*/ 0 h 1563396"/>
              <a:gd name="connsiteX6" fmla="*/ 7482840 w 7482840"/>
              <a:gd name="connsiteY6" fmla="*/ 1563396 h 1563396"/>
              <a:gd name="connsiteX7" fmla="*/ 6031411 w 7482840"/>
              <a:gd name="connsiteY7" fmla="*/ 1563396 h 1563396"/>
              <a:gd name="connsiteX8" fmla="*/ 6031411 w 7482840"/>
              <a:gd name="connsiteY8" fmla="*/ 1563395 h 1563396"/>
              <a:gd name="connsiteX9" fmla="*/ 786105 w 7482840"/>
              <a:gd name="connsiteY9" fmla="*/ 1563395 h 1563396"/>
              <a:gd name="connsiteX10" fmla="*/ 786105 w 7482840"/>
              <a:gd name="connsiteY10" fmla="*/ 1563096 h 1563396"/>
              <a:gd name="connsiteX11" fmla="*/ 780176 w 7482840"/>
              <a:gd name="connsiteY11" fmla="*/ 1563396 h 1563396"/>
              <a:gd name="connsiteX12" fmla="*/ 0 w 7482840"/>
              <a:gd name="connsiteY12" fmla="*/ 781698 h 1563396"/>
              <a:gd name="connsiteX13" fmla="*/ 780176 w 7482840"/>
              <a:gd name="connsiteY13" fmla="*/ 0 h 15633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7482840" h="1563396">
                <a:moveTo>
                  <a:pt x="780176" y="0"/>
                </a:moveTo>
                <a:lnTo>
                  <a:pt x="786105" y="300"/>
                </a:lnTo>
                <a:lnTo>
                  <a:pt x="786105" y="0"/>
                </a:lnTo>
                <a:lnTo>
                  <a:pt x="6031411" y="0"/>
                </a:lnTo>
                <a:lnTo>
                  <a:pt x="7208678" y="0"/>
                </a:lnTo>
                <a:lnTo>
                  <a:pt x="7482840" y="0"/>
                </a:lnTo>
                <a:lnTo>
                  <a:pt x="7482840" y="1563396"/>
                </a:lnTo>
                <a:lnTo>
                  <a:pt x="6031411" y="1563396"/>
                </a:lnTo>
                <a:lnTo>
                  <a:pt x="6031411" y="1563395"/>
                </a:lnTo>
                <a:lnTo>
                  <a:pt x="786105" y="1563395"/>
                </a:lnTo>
                <a:lnTo>
                  <a:pt x="786105" y="1563096"/>
                </a:lnTo>
                <a:lnTo>
                  <a:pt x="780176" y="1563396"/>
                </a:lnTo>
                <a:cubicBezTo>
                  <a:pt x="349297" y="1563396"/>
                  <a:pt x="0" y="1213418"/>
                  <a:pt x="0" y="781698"/>
                </a:cubicBezTo>
                <a:cubicBezTo>
                  <a:pt x="0" y="349978"/>
                  <a:pt x="349297" y="0"/>
                  <a:pt x="780176" y="0"/>
                </a:cubicBez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rgbClr val="EB9561"/>
              </a:gs>
            </a:gsLst>
            <a:lin ang="0" scaled="0"/>
          </a:gradFill>
        </p:spPr>
        <p:txBody>
          <a:bodyPr vert="horz" wrap="square" lIns="576000" tIns="0" rIns="432000" bIns="0" rtlCol="0" anchor="ctr">
            <a:noAutofit/>
          </a:bodyPr>
          <a:lstStyle>
            <a:lvl1pPr>
              <a:defRPr lang="en-GB" sz="1397" b="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</a:pPr>
            <a:r>
              <a:rPr lang="en-US"/>
              <a:t>Quote / additional information</a:t>
            </a:r>
            <a:endParaRPr lang="en-GB"/>
          </a:p>
        </p:txBody>
      </p:sp>
      <p:pic>
        <p:nvPicPr>
          <p:cNvPr id="15" name="Picture 14" descr="A picture containing drawing&#10;&#10;Description automatically generated">
            <a:extLst>
              <a:ext uri="{FF2B5EF4-FFF2-40B4-BE49-F238E27FC236}">
                <a16:creationId xmlns:a16="http://schemas.microsoft.com/office/drawing/2014/main" id="{66C00441-2784-4E2F-AC0C-803BBA5E0F8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3593" y="396453"/>
            <a:ext cx="2231598" cy="325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591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9">
          <p15:clr>
            <a:srgbClr val="FBAE40"/>
          </p15:clr>
        </p15:guide>
        <p15:guide id="2" pos="3341">
          <p15:clr>
            <a:srgbClr val="FBAE40"/>
          </p15:clr>
        </p15:guide>
      </p15:sldGuideLst>
    </p:ext>
  </p:extLs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AE9296C-04E6-D24C-B88A-23DE4A948557}"/>
              </a:ext>
            </a:extLst>
          </p:cNvPr>
          <p:cNvCxnSpPr/>
          <p:nvPr userDrawn="1"/>
        </p:nvCxnSpPr>
        <p:spPr>
          <a:xfrm>
            <a:off x="484554" y="912361"/>
            <a:ext cx="958645" cy="0"/>
          </a:xfrm>
          <a:prstGeom prst="line">
            <a:avLst/>
          </a:prstGeom>
          <a:ln w="57150">
            <a:solidFill>
              <a:srgbClr val="E461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7FF252AD-54A7-3D40-B77A-B9E28614A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003" y="1010987"/>
            <a:ext cx="5627077" cy="5303520"/>
          </a:xfrm>
        </p:spPr>
        <p:txBody>
          <a:bodyPr/>
          <a:lstStyle>
            <a:lvl1pPr>
              <a:buNone/>
              <a:defRPr sz="1097"/>
            </a:lvl1pPr>
            <a:lvl2pPr>
              <a:defRPr sz="1097"/>
            </a:lvl2pPr>
            <a:lvl3pPr>
              <a:defRPr sz="1097"/>
            </a:lvl3pPr>
            <a:lvl4pPr>
              <a:defRPr sz="1097"/>
            </a:lvl4pPr>
            <a:lvl5pPr>
              <a:defRPr sz="1097"/>
            </a:lvl5pPr>
          </a:lstStyle>
          <a:p>
            <a:r>
              <a:rPr lang="en-GB" sz="1097">
                <a:solidFill>
                  <a:srgbClr val="55565A"/>
                </a:solidFill>
              </a:rPr>
              <a:t>Text</a:t>
            </a:r>
            <a:endParaRPr lang="en-GB"/>
          </a:p>
        </p:txBody>
      </p:sp>
      <p:sp>
        <p:nvSpPr>
          <p:cNvPr id="22" name="Title 23">
            <a:extLst>
              <a:ext uri="{FF2B5EF4-FFF2-40B4-BE49-F238E27FC236}">
                <a16:creationId xmlns:a16="http://schemas.microsoft.com/office/drawing/2014/main" id="{383303F5-CFC1-DA43-ABE9-68FF854684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1798" y="279958"/>
            <a:ext cx="4293157" cy="5957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394" b="1">
                <a:solidFill>
                  <a:srgbClr val="E4610F"/>
                </a:solidFill>
                <a:latin typeface="+mn-lt"/>
              </a:defRPr>
            </a:lvl1pPr>
          </a:lstStyle>
          <a:p>
            <a:r>
              <a:rPr lang="en-US"/>
              <a:t>2 COLUMNS </a:t>
            </a:r>
            <a:endParaRPr lang="en-GB"/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734651BB-88DF-FD4A-8954-B476CB9622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9925" y="1010987"/>
            <a:ext cx="5627077" cy="5303520"/>
          </a:xfrm>
        </p:spPr>
        <p:txBody>
          <a:bodyPr/>
          <a:lstStyle>
            <a:lvl1pPr>
              <a:buNone/>
              <a:defRPr sz="1097"/>
            </a:lvl1pPr>
            <a:lvl2pPr>
              <a:defRPr sz="1097"/>
            </a:lvl2pPr>
            <a:lvl3pPr>
              <a:defRPr sz="1097"/>
            </a:lvl3pPr>
            <a:lvl4pPr>
              <a:defRPr sz="1097"/>
            </a:lvl4pPr>
            <a:lvl5pPr>
              <a:defRPr sz="1097"/>
            </a:lvl5pPr>
          </a:lstStyle>
          <a:p>
            <a:r>
              <a:rPr lang="en-GB" sz="1097">
                <a:solidFill>
                  <a:srgbClr val="55565A"/>
                </a:solidFill>
              </a:rPr>
              <a:t>Text</a:t>
            </a:r>
            <a:endParaRPr lang="en-GB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A793D616-070F-1F47-84B1-B7A77B269546}"/>
              </a:ext>
            </a:extLst>
          </p:cNvPr>
          <p:cNvGrpSpPr/>
          <p:nvPr userDrawn="1"/>
        </p:nvGrpSpPr>
        <p:grpSpPr>
          <a:xfrm>
            <a:off x="-1" y="6578049"/>
            <a:ext cx="12192001" cy="281238"/>
            <a:chOff x="-1" y="6468525"/>
            <a:chExt cx="9906001" cy="390746"/>
          </a:xfrm>
        </p:grpSpPr>
        <p:sp>
          <p:nvSpPr>
            <p:cNvPr id="44" name="object 2">
              <a:extLst>
                <a:ext uri="{FF2B5EF4-FFF2-40B4-BE49-F238E27FC236}">
                  <a16:creationId xmlns:a16="http://schemas.microsoft.com/office/drawing/2014/main" id="{96C5BC22-8DB5-024D-9FF7-E4EE403BCFD2}"/>
                </a:ext>
              </a:extLst>
            </p:cNvPr>
            <p:cNvSpPr/>
            <p:nvPr/>
          </p:nvSpPr>
          <p:spPr>
            <a:xfrm>
              <a:off x="0" y="6468533"/>
              <a:ext cx="9906000" cy="381135"/>
            </a:xfrm>
            <a:custGeom>
              <a:avLst/>
              <a:gdLst/>
              <a:ahLst/>
              <a:cxnLst/>
              <a:rect l="l" t="t" r="r" b="b"/>
              <a:pathLst>
                <a:path w="10152380" h="317500">
                  <a:moveTo>
                    <a:pt x="0" y="317449"/>
                  </a:moveTo>
                  <a:lnTo>
                    <a:pt x="10151999" y="317449"/>
                  </a:lnTo>
                  <a:lnTo>
                    <a:pt x="10151999" y="0"/>
                  </a:lnTo>
                  <a:lnTo>
                    <a:pt x="0" y="0"/>
                  </a:lnTo>
                  <a:lnTo>
                    <a:pt x="0" y="317449"/>
                  </a:lnTo>
                  <a:close/>
                </a:path>
              </a:pathLst>
            </a:custGeom>
            <a:solidFill>
              <a:srgbClr val="B3B3B3"/>
            </a:solidFill>
          </p:spPr>
          <p:txBody>
            <a:bodyPr wrap="square" lIns="0" tIns="0" rIns="0" bIns="0" rtlCol="0"/>
            <a:lstStyle/>
            <a:p>
              <a:endParaRPr sz="1270"/>
            </a:p>
          </p:txBody>
        </p:sp>
        <p:sp>
          <p:nvSpPr>
            <p:cNvPr id="45" name="object 6">
              <a:extLst>
                <a:ext uri="{FF2B5EF4-FFF2-40B4-BE49-F238E27FC236}">
                  <a16:creationId xmlns:a16="http://schemas.microsoft.com/office/drawing/2014/main" id="{36F1118A-198A-574D-A252-E430EF087180}"/>
                </a:ext>
              </a:extLst>
            </p:cNvPr>
            <p:cNvSpPr/>
            <p:nvPr/>
          </p:nvSpPr>
          <p:spPr>
            <a:xfrm>
              <a:off x="1316885" y="6468525"/>
              <a:ext cx="3276600" cy="390746"/>
            </a:xfrm>
            <a:custGeom>
              <a:avLst/>
              <a:gdLst/>
              <a:ahLst/>
              <a:cxnLst/>
              <a:rect l="l" t="t" r="r" b="b"/>
              <a:pathLst>
                <a:path w="1994535" h="317500">
                  <a:moveTo>
                    <a:pt x="1877517" y="0"/>
                  </a:moveTo>
                  <a:lnTo>
                    <a:pt x="0" y="0"/>
                  </a:lnTo>
                  <a:lnTo>
                    <a:pt x="0" y="317449"/>
                  </a:lnTo>
                  <a:lnTo>
                    <a:pt x="1877517" y="317449"/>
                  </a:lnTo>
                  <a:lnTo>
                    <a:pt x="1994522" y="158724"/>
                  </a:lnTo>
                  <a:lnTo>
                    <a:pt x="1877517" y="0"/>
                  </a:lnTo>
                  <a:close/>
                </a:path>
              </a:pathLst>
            </a:custGeom>
            <a:solidFill>
              <a:srgbClr val="88898B"/>
            </a:solidFill>
          </p:spPr>
          <p:txBody>
            <a:bodyPr wrap="square" lIns="756000" tIns="108000" rIns="0" bIns="0" rtlCol="0"/>
            <a:lstStyle/>
            <a:p>
              <a:endParaRPr lang="en-GB" sz="1047">
                <a:solidFill>
                  <a:schemeClr val="bg1"/>
                </a:solidFill>
              </a:endParaRPr>
            </a:p>
          </p:txBody>
        </p:sp>
        <p:sp>
          <p:nvSpPr>
            <p:cNvPr id="46" name="object 7">
              <a:extLst>
                <a:ext uri="{FF2B5EF4-FFF2-40B4-BE49-F238E27FC236}">
                  <a16:creationId xmlns:a16="http://schemas.microsoft.com/office/drawing/2014/main" id="{F0FECBB9-F808-F145-BF8F-E3A462E2A7EC}"/>
                </a:ext>
              </a:extLst>
            </p:cNvPr>
            <p:cNvSpPr/>
            <p:nvPr/>
          </p:nvSpPr>
          <p:spPr>
            <a:xfrm>
              <a:off x="-1" y="6468534"/>
              <a:ext cx="1964268" cy="389466"/>
            </a:xfrm>
            <a:custGeom>
              <a:avLst/>
              <a:gdLst/>
              <a:ahLst/>
              <a:cxnLst/>
              <a:rect l="l" t="t" r="r" b="b"/>
              <a:pathLst>
                <a:path w="1877695" h="317500">
                  <a:moveTo>
                    <a:pt x="1760524" y="0"/>
                  </a:moveTo>
                  <a:lnTo>
                    <a:pt x="0" y="0"/>
                  </a:lnTo>
                  <a:lnTo>
                    <a:pt x="0" y="317449"/>
                  </a:lnTo>
                  <a:lnTo>
                    <a:pt x="1760524" y="317449"/>
                  </a:lnTo>
                  <a:lnTo>
                    <a:pt x="1877517" y="158724"/>
                  </a:lnTo>
                  <a:lnTo>
                    <a:pt x="1760524" y="0"/>
                  </a:lnTo>
                  <a:close/>
                </a:path>
              </a:pathLst>
            </a:custGeom>
            <a:solidFill>
              <a:srgbClr val="66686B"/>
            </a:solidFill>
          </p:spPr>
          <p:txBody>
            <a:bodyPr wrap="square" lIns="180000" tIns="108000" rIns="0" bIns="0" rtlCol="0"/>
            <a:lstStyle/>
            <a:p>
              <a:endParaRPr sz="1047">
                <a:solidFill>
                  <a:schemeClr val="bg1"/>
                </a:solidFill>
              </a:endParaRPr>
            </a:p>
          </p:txBody>
        </p:sp>
        <p:pic>
          <p:nvPicPr>
            <p:cNvPr id="47" name="Picture 46" descr="A picture containing text, clipart&#10;&#10;Description automatically generated">
              <a:hlinkClick r:id="" action="ppaction://noaction"/>
              <a:extLst>
                <a:ext uri="{FF2B5EF4-FFF2-40B4-BE49-F238E27FC236}">
                  <a16:creationId xmlns:a16="http://schemas.microsoft.com/office/drawing/2014/main" id="{15794F58-B22A-6242-B68E-86B1598845F0}"/>
                </a:ext>
              </a:extLst>
            </p:cNvPr>
            <p:cNvPicPr>
              <a:picLocks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" r="82441" b="-15649"/>
            <a:stretch/>
          </p:blipFill>
          <p:spPr>
            <a:xfrm>
              <a:off x="183216" y="6595125"/>
              <a:ext cx="118872" cy="159582"/>
            </a:xfrm>
            <a:prstGeom prst="rect">
              <a:avLst/>
            </a:prstGeom>
          </p:spPr>
        </p:pic>
      </p:grpSp>
      <p:sp>
        <p:nvSpPr>
          <p:cNvPr id="48" name="Slide Number Placeholder 4">
            <a:extLst>
              <a:ext uri="{FF2B5EF4-FFF2-40B4-BE49-F238E27FC236}">
                <a16:creationId xmlns:a16="http://schemas.microsoft.com/office/drawing/2014/main" id="{3E4C28F0-2EF4-834A-8635-9870CD0803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1264" y="6590034"/>
            <a:ext cx="2743200" cy="243690"/>
          </a:xfrm>
          <a:prstGeom prst="rect">
            <a:avLst/>
          </a:prstGeom>
        </p:spPr>
        <p:txBody>
          <a:bodyPr/>
          <a:lstStyle>
            <a:lvl1pPr>
              <a:defRPr sz="1097"/>
            </a:lvl1pPr>
          </a:lstStyle>
          <a:p>
            <a:fld id="{2AC47A25-6B26-427D-AA91-66E30F8771CD}" type="slidenum">
              <a:rPr lang="en-US" smtClean="0"/>
              <a:pPr/>
              <a:t>‹#›</a:t>
            </a:fld>
            <a:endParaRPr lang="en-US" sz="1097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7A438D55-7E6C-3E42-8C47-37B0C53CB90D}"/>
              </a:ext>
            </a:extLst>
          </p:cNvPr>
          <p:cNvSpPr txBox="1"/>
          <p:nvPr userDrawn="1"/>
        </p:nvSpPr>
        <p:spPr>
          <a:xfrm>
            <a:off x="391799" y="6601501"/>
            <a:ext cx="171734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98">
                <a:solidFill>
                  <a:schemeClr val="bg1"/>
                </a:solidFill>
              </a:rPr>
              <a:t>Arcadis Response</a:t>
            </a:r>
          </a:p>
        </p:txBody>
      </p:sp>
      <p:sp>
        <p:nvSpPr>
          <p:cNvPr id="49" name="Text Placeholder 57">
            <a:extLst>
              <a:ext uri="{FF2B5EF4-FFF2-40B4-BE49-F238E27FC236}">
                <a16:creationId xmlns:a16="http://schemas.microsoft.com/office/drawing/2014/main" id="{6AC49198-D2FB-FB4C-8FC5-D441E4DF43B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489447" y="6601501"/>
            <a:ext cx="3115145" cy="250897"/>
          </a:xfrm>
        </p:spPr>
        <p:txBody>
          <a:bodyPr>
            <a:noAutofit/>
          </a:bodyPr>
          <a:lstStyle>
            <a:lvl1pPr marL="0">
              <a:lnSpc>
                <a:spcPct val="100000"/>
              </a:lnSpc>
              <a:spcBef>
                <a:spcPts val="0"/>
              </a:spcBef>
              <a:buNone/>
              <a:defRPr sz="998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895815701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- Image-led v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09274F1A-9C10-417E-9AEE-4F143E201AEC}"/>
              </a:ext>
            </a:extLst>
          </p:cNvPr>
          <p:cNvSpPr/>
          <p:nvPr userDrawn="1"/>
        </p:nvSpPr>
        <p:spPr>
          <a:xfrm flipH="1">
            <a:off x="1" y="0"/>
            <a:ext cx="10020300" cy="6858000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chemeClr val="tx1">
                  <a:alpha val="0"/>
                </a:schemeClr>
              </a:gs>
            </a:gsLst>
            <a:lin ang="10800000" scaled="0"/>
          </a:gra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sz="2044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8EA2F65-C185-447C-ACCA-99B8A1EB92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971803"/>
            <a:ext cx="4572000" cy="137159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190">
                <a:solidFill>
                  <a:schemeClr val="bg1"/>
                </a:solidFill>
              </a:defRPr>
            </a:lvl1pPr>
          </a:lstStyle>
          <a:p>
            <a:r>
              <a:rPr lang="en-US"/>
              <a:t>Image-led cover title</a:t>
            </a:r>
            <a:endParaRPr lang="en-PH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48109ABF-016F-4E47-9261-744ED08100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4814455"/>
            <a:ext cx="45720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2095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Presentation Subtitle 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A670293C-AB2F-4468-BF52-B377EE380E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5257800"/>
            <a:ext cx="45720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159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 2020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7D5A90F7-5FDF-EA45-B744-518116FA814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b"/>
          <a:lstStyle>
            <a:lvl1pPr algn="r">
              <a:defRPr sz="1197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 to insert an image &gt; Right Click &gt; Send to Back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AD0A271-9092-8544-B5BB-E912819FB28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6200" y="457202"/>
            <a:ext cx="1498600" cy="228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985593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- Image-led SAMP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EA2F65-C185-447C-ACCA-99B8A1EB92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971803"/>
            <a:ext cx="4572000" cy="137159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190">
                <a:solidFill>
                  <a:schemeClr val="bg1"/>
                </a:solidFill>
              </a:defRPr>
            </a:lvl1pPr>
          </a:lstStyle>
          <a:p>
            <a:r>
              <a:rPr lang="en-US"/>
              <a:t>Image-led cover title</a:t>
            </a:r>
            <a:endParaRPr lang="en-PH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48109ABF-016F-4E47-9261-744ED08100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4814455"/>
            <a:ext cx="45720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2095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pic>
        <p:nvPicPr>
          <p:cNvPr id="18" name="Picture 17" descr="&#10;">
            <a:extLst>
              <a:ext uri="{FF2B5EF4-FFF2-40B4-BE49-F238E27FC236}">
                <a16:creationId xmlns:a16="http://schemas.microsoft.com/office/drawing/2014/main" id="{EED6591A-F311-4C34-A0A2-B699B96C02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6201" y="457201"/>
            <a:ext cx="1496045" cy="228600"/>
          </a:xfrm>
          <a:prstGeom prst="rect">
            <a:avLst/>
          </a:prstGeom>
        </p:spPr>
      </p:pic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A670293C-AB2F-4468-BF52-B377EE380E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5257800"/>
            <a:ext cx="45720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159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 2020</a:t>
            </a:r>
          </a:p>
        </p:txBody>
      </p:sp>
    </p:spTree>
    <p:extLst>
      <p:ext uri="{BB962C8B-B14F-4D97-AF65-F5344CB8AC3E}">
        <p14:creationId xmlns:p14="http://schemas.microsoft.com/office/powerpoint/2010/main" val="2693078169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lumn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91E2E6-68F9-4B47-93D3-947FED19C9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2"/>
            <a:ext cx="11277600" cy="6857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Two column content slide title</a:t>
            </a:r>
            <a:endParaRPr lang="en-PH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1FC30F-D90F-4081-84AD-5021EEF2D76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67800" y="6446839"/>
            <a:ext cx="1714500" cy="365125"/>
          </a:xfrm>
          <a:prstGeom prst="rect">
            <a:avLst/>
          </a:prstGeom>
        </p:spPr>
        <p:txBody>
          <a:bodyPr/>
          <a:lstStyle/>
          <a:p>
            <a:fld id="{F31E42D4-B472-4D33-8D3D-6F0C0E7887EA}" type="datetime3">
              <a:rPr lang="en-US" smtClean="0"/>
              <a:t>5 October 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F17F31C-C68E-4CC9-99B9-F4A1379589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1" y="6446839"/>
            <a:ext cx="16764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Arcadis 20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946211B-B861-4D47-82A5-98F0465B6F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0900" y="6446839"/>
            <a:ext cx="723900" cy="365125"/>
          </a:xfrm>
          <a:prstGeom prst="rect">
            <a:avLst/>
          </a:prstGeom>
        </p:spPr>
        <p:txBody>
          <a:bodyPr/>
          <a:lstStyle/>
          <a:p>
            <a:fld id="{2FE63AA4-120D-435A-A130-F49443AF7CB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98B0F4A-603D-4EE9-86E7-F8ECA1A3CF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2743200"/>
            <a:ext cx="5524500" cy="3657600"/>
          </a:xfrm>
          <a:prstGeom prst="rect">
            <a:avLst/>
          </a:prstGeom>
        </p:spPr>
        <p:txBody>
          <a:bodyPr lIns="0" tIns="0" rIns="0" bIns="0"/>
          <a:lstStyle>
            <a:lvl1pPr marL="269325" indent="-269325">
              <a:spcBef>
                <a:spcPts val="299"/>
              </a:spcBef>
              <a:spcAft>
                <a:spcPts val="599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397" b="0">
                <a:solidFill>
                  <a:schemeClr val="tx1"/>
                </a:solidFill>
              </a:defRPr>
            </a:lvl1pPr>
            <a:lvl2pPr marL="538650" indent="-269325">
              <a:spcBef>
                <a:spcPts val="299"/>
              </a:spcBef>
              <a:spcAft>
                <a:spcPts val="599"/>
              </a:spcAft>
              <a:buFont typeface="Arial" panose="020B0604020202020204" pitchFamily="34" charset="0"/>
              <a:buChar char="−"/>
              <a:defRPr/>
            </a:lvl2pPr>
          </a:lstStyle>
          <a:p>
            <a:pPr lvl="0"/>
            <a:r>
              <a:rPr lang="en-US"/>
              <a:t>Standard bullet 14</a:t>
            </a:r>
          </a:p>
          <a:p>
            <a:pPr lvl="1"/>
            <a:r>
              <a:rPr lang="en-US"/>
              <a:t>Second level standard bullet 14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AD203639-DCA9-4BBA-A1F3-753BF58A052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1" y="2276474"/>
            <a:ext cx="5524500" cy="2381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795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23" name="Text Placeholder 16">
            <a:extLst>
              <a:ext uri="{FF2B5EF4-FFF2-40B4-BE49-F238E27FC236}">
                <a16:creationId xmlns:a16="http://schemas.microsoft.com/office/drawing/2014/main" id="{998836C9-68B5-4657-982E-52E03AACC2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10300" y="2743200"/>
            <a:ext cx="5524500" cy="3657600"/>
          </a:xfrm>
          <a:prstGeom prst="rect">
            <a:avLst/>
          </a:prstGeom>
        </p:spPr>
        <p:txBody>
          <a:bodyPr lIns="0" tIns="0" rIns="0" bIns="0"/>
          <a:lstStyle>
            <a:lvl1pPr marL="269325" indent="-269325">
              <a:spcBef>
                <a:spcPts val="299"/>
              </a:spcBef>
              <a:spcAft>
                <a:spcPts val="599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397" b="0">
                <a:solidFill>
                  <a:schemeClr val="tx1"/>
                </a:solidFill>
              </a:defRPr>
            </a:lvl1pPr>
            <a:lvl2pPr marL="538650" indent="-269325">
              <a:spcBef>
                <a:spcPts val="299"/>
              </a:spcBef>
              <a:spcAft>
                <a:spcPts val="599"/>
              </a:spcAft>
              <a:buFont typeface="Arial" panose="020B0604020202020204" pitchFamily="34" charset="0"/>
              <a:buChar char="−"/>
              <a:defRPr/>
            </a:lvl2pPr>
          </a:lstStyle>
          <a:p>
            <a:pPr lvl="0"/>
            <a:r>
              <a:rPr lang="en-US"/>
              <a:t>Standard bullet 14</a:t>
            </a:r>
          </a:p>
          <a:p>
            <a:pPr lvl="1"/>
            <a:r>
              <a:rPr lang="en-US"/>
              <a:t>Second level standard bullet 14</a:t>
            </a:r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id="{A6A9F80A-32AD-4602-AD0E-143DE6B70B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10300" y="2276474"/>
            <a:ext cx="5524500" cy="2381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795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3D83EFEE-1A28-4845-BE8D-F727C55AD7B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6200" y="457202"/>
            <a:ext cx="1498600" cy="228631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718C9305-2532-564D-B4B1-6CEDA77AC7CA}"/>
              </a:ext>
            </a:extLst>
          </p:cNvPr>
          <p:cNvSpPr txBox="1">
            <a:spLocks/>
          </p:cNvSpPr>
          <p:nvPr userDrawn="1"/>
        </p:nvSpPr>
        <p:spPr>
          <a:xfrm>
            <a:off x="478824" y="1600202"/>
            <a:ext cx="11277600" cy="66179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8691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95">
                <a:solidFill>
                  <a:schemeClr val="tx1"/>
                </a:solidFill>
              </a:rPr>
              <a:t>Subtitle</a:t>
            </a:r>
            <a:endParaRPr lang="en-PH" sz="2095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730429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ayout - Multi-image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8DF063-B0BD-4053-ADC6-99766F39F9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2"/>
            <a:ext cx="4572000" cy="6857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Title</a:t>
            </a:r>
            <a:endParaRPr lang="en-PH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29F2E6C-2AC3-46CC-ADD7-FBC44617D1D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67800" y="6446839"/>
            <a:ext cx="1714500" cy="365125"/>
          </a:xfrm>
          <a:prstGeom prst="rect">
            <a:avLst/>
          </a:prstGeom>
        </p:spPr>
        <p:txBody>
          <a:bodyPr/>
          <a:lstStyle/>
          <a:p>
            <a:fld id="{F31E42D4-B472-4D33-8D3D-6F0C0E7887EA}" type="datetime3">
              <a:rPr lang="en-US" smtClean="0"/>
              <a:t>5 October 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7CFF94-9D68-4764-B509-2DFCB70374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1" y="6446839"/>
            <a:ext cx="16764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Arcadis 20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27E121F-6096-426B-8D0F-9FEB96CC14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0900" y="6446839"/>
            <a:ext cx="723900" cy="365125"/>
          </a:xfrm>
          <a:prstGeom prst="rect">
            <a:avLst/>
          </a:prstGeom>
        </p:spPr>
        <p:txBody>
          <a:bodyPr/>
          <a:lstStyle/>
          <a:p>
            <a:fld id="{2FE63AA4-120D-435A-A130-F49443AF7CB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8F504382-8ECA-4BCC-BB7E-448D5DB4B91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600202"/>
            <a:ext cx="4572000" cy="20504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795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 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63CBCC71-2452-4503-B1A4-108D5F857D1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257800" y="3886200"/>
            <a:ext cx="6477000" cy="25146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097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insert an image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E6D093F3-ED3C-4484-84B5-EAC2CCB96C4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257800" y="914400"/>
            <a:ext cx="6477000" cy="27432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097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insert an image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2898094A-56AA-4694-83D1-C0FA897C33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09700" y="3893126"/>
            <a:ext cx="3619500" cy="67887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3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 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EACB6B04-7D78-420C-A227-6088AB0653C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409700" y="4800600"/>
            <a:ext cx="3619500" cy="67887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3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 </a:t>
            </a:r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635274F4-DEFE-4EDD-B848-9F30F5BF1BC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409700" y="5715000"/>
            <a:ext cx="3619500" cy="67887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3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 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8EF84345-26F4-F84C-999E-35292B5BB42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7201" y="3886202"/>
            <a:ext cx="723900" cy="685801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097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insert an icon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196A5646-1541-2D4E-A431-0119CA2409B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7201" y="4800602"/>
            <a:ext cx="723900" cy="685801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097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insert an icon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8599404F-9789-6D40-8749-27B4FA39042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57201" y="5715002"/>
            <a:ext cx="723900" cy="685801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097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insert an icon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A40A85FF-25E8-1A40-83BB-9282DF1D5B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6200" y="457202"/>
            <a:ext cx="1498600" cy="228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418214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losing Slide with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132E485-D736-4DCB-95B5-1F51A5B069C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6200" y="457202"/>
            <a:ext cx="1498600" cy="228631"/>
          </a:xfrm>
          <a:prstGeom prst="rect">
            <a:avLst/>
          </a:prstGeom>
        </p:spPr>
      </p:pic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99BBA926-2F06-4BAA-803E-52ECFB7751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09700" y="2071254"/>
            <a:ext cx="2628900" cy="2135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Last</a:t>
            </a: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EDFC0252-57A3-46DD-9427-F2791D0270E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09700" y="2400993"/>
            <a:ext cx="2628900" cy="228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75B3955F-7CDE-468A-AFD1-FBD8C68E0E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1" y="2071254"/>
            <a:ext cx="723899" cy="887846"/>
          </a:xfrm>
          <a:prstGeom prst="rect">
            <a:avLst/>
          </a:prstGeom>
          <a:noFill/>
        </p:spPr>
        <p:txBody>
          <a:bodyPr anchor="b"/>
          <a:lstStyle>
            <a:lvl1pPr algn="ctr">
              <a:defRPr sz="9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an imag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88CAFCB-962C-446A-85AD-1C20E120FC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371601"/>
            <a:ext cx="3581400" cy="45719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95"/>
            </a:lvl1pPr>
          </a:lstStyle>
          <a:p>
            <a:r>
              <a:rPr lang="en-US"/>
              <a:t>Contact Us</a:t>
            </a:r>
            <a:endParaRPr lang="en-PH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9AF3F018-2B2A-4D9F-BF18-FADB2BE121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409700" y="2745740"/>
            <a:ext cx="2628900" cy="2133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name@arcadis.com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8D788D96-85C2-4AA3-9798-7A6DCCE7CAA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409700" y="3434483"/>
            <a:ext cx="2628900" cy="2135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Last</a:t>
            </a:r>
          </a:p>
        </p:txBody>
      </p:sp>
      <p:sp>
        <p:nvSpPr>
          <p:cNvPr id="15" name="Text Placeholder 16">
            <a:extLst>
              <a:ext uri="{FF2B5EF4-FFF2-40B4-BE49-F238E27FC236}">
                <a16:creationId xmlns:a16="http://schemas.microsoft.com/office/drawing/2014/main" id="{4EE1C37F-6B8B-402C-90C4-8EB95105D3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09700" y="3755110"/>
            <a:ext cx="2628900" cy="228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A0FAD612-061C-456B-8750-9FBD298633F7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7201" y="3444421"/>
            <a:ext cx="723899" cy="887846"/>
          </a:xfrm>
          <a:prstGeom prst="rect">
            <a:avLst/>
          </a:prstGeom>
          <a:noFill/>
        </p:spPr>
        <p:txBody>
          <a:bodyPr anchor="b"/>
          <a:lstStyle>
            <a:lvl1pPr algn="ctr">
              <a:defRPr sz="9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an image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72B3707-2853-497B-9202-A64DFDF842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409700" y="4114800"/>
            <a:ext cx="2628900" cy="2133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name@arcadis.com</a:t>
            </a:r>
          </a:p>
        </p:txBody>
      </p:sp>
    </p:spTree>
    <p:extLst>
      <p:ext uri="{BB962C8B-B14F-4D97-AF65-F5344CB8AC3E}">
        <p14:creationId xmlns:p14="http://schemas.microsoft.com/office/powerpoint/2010/main" val="182827105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8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800000"/>
            <a:ext cx="12192000" cy="50580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 </a:t>
            </a:r>
          </a:p>
          <a:p>
            <a:r>
              <a:rPr lang="en-US"/>
              <a:t> </a:t>
            </a:r>
          </a:p>
          <a:p>
            <a:endParaRPr lang="en-US"/>
          </a:p>
          <a:p>
            <a:r>
              <a:rPr lang="en-US"/>
              <a:t>Click icon to add picture</a:t>
            </a:r>
          </a:p>
          <a:p>
            <a:endParaRPr lang="en-U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3" hasCustomPrompt="1"/>
          </p:nvPr>
        </p:nvSpPr>
        <p:spPr bwMode="ltGray">
          <a:xfrm flipH="1">
            <a:off x="540000" y="2070000"/>
            <a:ext cx="11086850" cy="1620000"/>
          </a:xfrm>
          <a:prstGeom prst="snip1Rect">
            <a:avLst>
              <a:gd name="adj" fmla="val 17843"/>
            </a:avLst>
          </a:prstGeom>
          <a:solidFill>
            <a:schemeClr val="accent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4" hasCustomPrompt="1"/>
          </p:nvPr>
        </p:nvSpPr>
        <p:spPr>
          <a:xfrm flipH="1">
            <a:off x="540000" y="2070000"/>
            <a:ext cx="288000" cy="288000"/>
          </a:xfrm>
          <a:prstGeom prst="rtTriangle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63998" y="2330912"/>
            <a:ext cx="9946800" cy="49859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90000"/>
              </a:lnSpc>
              <a:spcAft>
                <a:spcPts val="0"/>
              </a:spcAft>
              <a:defRPr sz="3591" b="1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63998" y="2825010"/>
            <a:ext cx="9946800" cy="6647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394">
                <a:solidFill>
                  <a:schemeClr val="bg1"/>
                </a:solidFill>
              </a:defRPr>
            </a:lvl1pPr>
            <a:lvl2pPr marL="4560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1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42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02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6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23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8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Add subtitle</a:t>
            </a:r>
          </a:p>
        </p:txBody>
      </p:sp>
      <p:pic>
        <p:nvPicPr>
          <p:cNvPr id="5" name="sLogo">
            <a:extLst>
              <a:ext uri="{FF2B5EF4-FFF2-40B4-BE49-F238E27FC236}">
                <a16:creationId xmlns:a16="http://schemas.microsoft.com/office/drawing/2014/main" id="{5AA30E6D-B09F-462F-ACA8-C729B1DB2F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8000" y="396000"/>
            <a:ext cx="3420000" cy="363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367140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751" y="1656001"/>
            <a:ext cx="11087100" cy="386732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099427" y="6408003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n-US" smtClean="0"/>
              <a:t>10/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19588" y="6408003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85651" y="6408003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539750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95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9325" indent="0">
              <a:buNone/>
              <a:defRPr/>
            </a:lvl3pPr>
            <a:lvl4pPr marL="538650" indent="0">
              <a:buNone/>
              <a:defRPr/>
            </a:lvl4pPr>
            <a:lvl5pPr marL="807975" indent="0">
              <a:buNone/>
              <a:defRPr/>
            </a:lvl5pPr>
          </a:lstStyle>
          <a:p>
            <a:pPr lvl="0"/>
            <a:r>
              <a:rPr lang="en-US"/>
              <a:t>Click to add kicker or ‘so what’. Delete if not required.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>
          <a:xfrm>
            <a:off x="539751" y="950400"/>
            <a:ext cx="11087100" cy="49859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3733960086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1" y="950400"/>
            <a:ext cx="11087100" cy="49859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749" y="2358900"/>
            <a:ext cx="11087099" cy="31592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099427" y="6408003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n-US" smtClean="0"/>
              <a:t>10/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19588" y="6408003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85651" y="6408003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1" y="1477756"/>
            <a:ext cx="11087100" cy="6093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195"/>
            </a:lvl1pPr>
            <a:lvl5pPr>
              <a:defRPr/>
            </a:lvl5pPr>
          </a:lstStyle>
          <a:p>
            <a:pPr lvl="0"/>
            <a:r>
              <a:rPr lang="en-US"/>
              <a:t>Add subtit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 bwMode="ltGray">
          <a:xfrm>
            <a:off x="539750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95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9325" indent="0">
              <a:buNone/>
              <a:defRPr/>
            </a:lvl3pPr>
            <a:lvl4pPr marL="538650" indent="0">
              <a:buNone/>
              <a:defRPr/>
            </a:lvl4pPr>
            <a:lvl5pPr marL="807975" indent="0">
              <a:buNone/>
              <a:defRPr/>
            </a:lvl5pPr>
          </a:lstStyle>
          <a:p>
            <a:pPr lvl="0"/>
            <a:r>
              <a:rPr lang="en-US"/>
              <a:t>Click to add kicker or ‘so what’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14404237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CB3510-D3BC-421D-95FD-DA7DD527DF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597" y="1122363"/>
            <a:ext cx="9142808" cy="2387600"/>
          </a:xfrm>
          <a:prstGeom prst="rect">
            <a:avLst/>
          </a:prstGeom>
        </p:spPr>
        <p:txBody>
          <a:bodyPr anchor="b"/>
          <a:lstStyle>
            <a:lvl1pPr algn="ctr">
              <a:defRPr sz="5985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B42B0E6-AE88-4784-BCF2-7CB1EC55C28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597" y="3602038"/>
            <a:ext cx="9142808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394"/>
            </a:lvl1pPr>
            <a:lvl2pPr marL="456026" indent="0" algn="ctr">
              <a:buNone/>
              <a:defRPr sz="1995"/>
            </a:lvl2pPr>
            <a:lvl3pPr marL="912051" indent="0" algn="ctr">
              <a:buNone/>
              <a:defRPr sz="1795"/>
            </a:lvl3pPr>
            <a:lvl4pPr marL="1368077" indent="0" algn="ctr">
              <a:buNone/>
              <a:defRPr sz="1596"/>
            </a:lvl4pPr>
            <a:lvl5pPr marL="1824102" indent="0" algn="ctr">
              <a:buNone/>
              <a:defRPr sz="1596"/>
            </a:lvl5pPr>
            <a:lvl6pPr marL="2280128" indent="0" algn="ctr">
              <a:buNone/>
              <a:defRPr sz="1596"/>
            </a:lvl6pPr>
            <a:lvl7pPr marL="2736153" indent="0" algn="ctr">
              <a:buNone/>
              <a:defRPr sz="1596"/>
            </a:lvl7pPr>
            <a:lvl8pPr marL="3192179" indent="0" algn="ctr">
              <a:buNone/>
              <a:defRPr sz="1596"/>
            </a:lvl8pPr>
            <a:lvl9pPr marL="3648204" indent="0" algn="ctr">
              <a:buNone/>
              <a:defRPr sz="1596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58370461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1" y="950400"/>
            <a:ext cx="11087100" cy="498598"/>
          </a:xfrm>
          <a:prstGeom prst="rect">
            <a:avLst/>
          </a:prstGeom>
        </p:spPr>
        <p:txBody>
          <a:bodyPr/>
          <a:lstStyle/>
          <a:p>
            <a:r>
              <a:rPr lang="en-US"/>
              <a:t>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9751" y="1656001"/>
            <a:ext cx="5418137" cy="38621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95"/>
            </a:lvl1pPr>
            <a:lvl2pPr>
              <a:defRPr sz="1596"/>
            </a:lvl2pPr>
            <a:lvl3pPr>
              <a:defRPr sz="1397"/>
            </a:lvl3pPr>
            <a:lvl4pPr>
              <a:defRPr sz="1197"/>
            </a:lvl4pPr>
            <a:lvl5pPr>
              <a:defRPr sz="1197"/>
            </a:lvl5pPr>
            <a:lvl6pPr>
              <a:defRPr sz="1197"/>
            </a:lvl6pPr>
            <a:lvl7pPr>
              <a:defRPr sz="1197" baseline="0"/>
            </a:lvl7pPr>
            <a:lvl8pPr>
              <a:defRPr sz="1197" baseline="0"/>
            </a:lvl8pPr>
            <a:lvl9pPr>
              <a:defRPr sz="1197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8713" y="1656001"/>
            <a:ext cx="5418136" cy="38621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95"/>
            </a:lvl1pPr>
            <a:lvl2pPr>
              <a:defRPr sz="1596"/>
            </a:lvl2pPr>
            <a:lvl3pPr>
              <a:defRPr sz="1397"/>
            </a:lvl3pPr>
            <a:lvl4pPr>
              <a:defRPr sz="1197"/>
            </a:lvl4pPr>
            <a:lvl5pPr>
              <a:defRPr sz="1197"/>
            </a:lvl5pPr>
            <a:lvl6pPr>
              <a:defRPr sz="1197"/>
            </a:lvl6pPr>
            <a:lvl7pPr>
              <a:defRPr sz="1197"/>
            </a:lvl7pPr>
            <a:lvl8pPr>
              <a:defRPr sz="1197"/>
            </a:lvl8pPr>
            <a:lvl9pPr>
              <a:defRPr sz="119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099427" y="6408003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n-US" smtClean="0"/>
              <a:t>10/5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319588" y="6408003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385651" y="6408003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539750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95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9325" indent="0">
              <a:buNone/>
              <a:defRPr/>
            </a:lvl3pPr>
            <a:lvl4pPr marL="538650" indent="0">
              <a:buNone/>
              <a:defRPr/>
            </a:lvl4pPr>
            <a:lvl5pPr marL="807975" indent="0">
              <a:buNone/>
              <a:defRPr/>
            </a:lvl5pPr>
          </a:lstStyle>
          <a:p>
            <a:pPr lvl="0"/>
            <a:r>
              <a:rPr lang="en-US"/>
              <a:t>Click to add kicker or ‘so what’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1759994899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2 Content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1" y="950400"/>
            <a:ext cx="11087100" cy="49859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9750" y="1540261"/>
            <a:ext cx="5418138" cy="33239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795" b="1">
                <a:solidFill>
                  <a:schemeClr val="accent1"/>
                </a:solidFill>
              </a:defRPr>
            </a:lvl1pPr>
            <a:lvl2pPr marL="456057" indent="0">
              <a:buNone/>
              <a:defRPr sz="1995" b="1"/>
            </a:lvl2pPr>
            <a:lvl3pPr marL="912114" indent="0">
              <a:buNone/>
              <a:defRPr sz="1795" b="1"/>
            </a:lvl3pPr>
            <a:lvl4pPr marL="1368171" indent="0">
              <a:buNone/>
              <a:defRPr sz="1596" b="1"/>
            </a:lvl4pPr>
            <a:lvl5pPr marL="1824228" indent="0">
              <a:buNone/>
              <a:defRPr sz="1596" b="1"/>
            </a:lvl5pPr>
            <a:lvl6pPr marL="2280285" indent="0">
              <a:buNone/>
              <a:defRPr sz="1596" b="1"/>
            </a:lvl6pPr>
            <a:lvl7pPr marL="2736342" indent="0">
              <a:buNone/>
              <a:defRPr sz="1596" b="1"/>
            </a:lvl7pPr>
            <a:lvl8pPr marL="3192399" indent="0">
              <a:buNone/>
              <a:defRPr sz="1596" b="1"/>
            </a:lvl8pPr>
            <a:lvl9pPr marL="3648456" indent="0">
              <a:buNone/>
              <a:defRPr sz="1596" b="1"/>
            </a:lvl9pPr>
          </a:lstStyle>
          <a:p>
            <a:pPr lvl="0"/>
            <a:r>
              <a:rPr lang="en-US"/>
              <a:t>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9750" y="1872658"/>
            <a:ext cx="5418138" cy="364549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95"/>
            </a:lvl1pPr>
            <a:lvl2pPr>
              <a:defRPr sz="1596"/>
            </a:lvl2pPr>
            <a:lvl3pPr>
              <a:defRPr sz="1397"/>
            </a:lvl3pPr>
            <a:lvl4pPr>
              <a:defRPr sz="1197"/>
            </a:lvl4pPr>
            <a:lvl5pPr>
              <a:defRPr sz="1197"/>
            </a:lvl5pPr>
            <a:lvl6pPr>
              <a:defRPr sz="1197"/>
            </a:lvl6pPr>
            <a:lvl7pPr>
              <a:defRPr sz="1197"/>
            </a:lvl7pPr>
            <a:lvl8pPr>
              <a:defRPr sz="1197"/>
            </a:lvl8pPr>
            <a:lvl9pPr>
              <a:defRPr sz="1197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08715" y="1541365"/>
            <a:ext cx="5418135" cy="33239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795" b="1">
                <a:solidFill>
                  <a:schemeClr val="accent1"/>
                </a:solidFill>
              </a:defRPr>
            </a:lvl1pPr>
            <a:lvl2pPr marL="456057" indent="0">
              <a:buNone/>
              <a:defRPr sz="1995" b="1"/>
            </a:lvl2pPr>
            <a:lvl3pPr marL="912114" indent="0">
              <a:buNone/>
              <a:defRPr sz="1795" b="1"/>
            </a:lvl3pPr>
            <a:lvl4pPr marL="1368171" indent="0">
              <a:buNone/>
              <a:defRPr sz="1596" b="1"/>
            </a:lvl4pPr>
            <a:lvl5pPr marL="1824228" indent="0">
              <a:buNone/>
              <a:defRPr sz="1596" b="1"/>
            </a:lvl5pPr>
            <a:lvl6pPr marL="2280285" indent="0">
              <a:buNone/>
              <a:defRPr sz="1596" b="1"/>
            </a:lvl6pPr>
            <a:lvl7pPr marL="2736342" indent="0">
              <a:buNone/>
              <a:defRPr sz="1596" b="1"/>
            </a:lvl7pPr>
            <a:lvl8pPr marL="3192399" indent="0">
              <a:buNone/>
              <a:defRPr sz="1596" b="1"/>
            </a:lvl8pPr>
            <a:lvl9pPr marL="3648456" indent="0">
              <a:buNone/>
              <a:defRPr sz="1596" b="1"/>
            </a:lvl9pPr>
          </a:lstStyle>
          <a:p>
            <a:pPr lvl="0"/>
            <a:r>
              <a:rPr lang="en-US"/>
              <a:t>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08714" y="1872659"/>
            <a:ext cx="5418136" cy="364549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95"/>
            </a:lvl1pPr>
            <a:lvl2pPr>
              <a:defRPr sz="1596"/>
            </a:lvl2pPr>
            <a:lvl3pPr>
              <a:defRPr sz="1397"/>
            </a:lvl3pPr>
            <a:lvl4pPr>
              <a:defRPr sz="1197"/>
            </a:lvl4pPr>
            <a:lvl5pPr>
              <a:defRPr sz="1197"/>
            </a:lvl5pPr>
            <a:lvl6pPr>
              <a:defRPr sz="1197"/>
            </a:lvl6pPr>
            <a:lvl7pPr>
              <a:defRPr sz="1197"/>
            </a:lvl7pPr>
            <a:lvl8pPr>
              <a:defRPr sz="1197" baseline="0"/>
            </a:lvl8pPr>
            <a:lvl9pPr>
              <a:defRPr sz="1197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099427" y="6408003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n-US" smtClean="0"/>
              <a:t>10/5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319588" y="6408003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1385651" y="6408003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539750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95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9325" indent="0">
              <a:buNone/>
              <a:defRPr/>
            </a:lvl3pPr>
            <a:lvl4pPr marL="538650" indent="0">
              <a:buNone/>
              <a:defRPr/>
            </a:lvl4pPr>
            <a:lvl5pPr marL="807975" indent="0">
              <a:buNone/>
              <a:defRPr/>
            </a:lvl5pPr>
          </a:lstStyle>
          <a:p>
            <a:pPr lvl="0"/>
            <a:r>
              <a:rPr lang="en-US"/>
              <a:t>Click to add kicker or ‘so what’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1389231134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Subtitle, 2 Content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1" y="950400"/>
            <a:ext cx="11087100" cy="49859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9750" y="2273866"/>
            <a:ext cx="5418138" cy="33239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795" b="1">
                <a:solidFill>
                  <a:schemeClr val="accent1"/>
                </a:solidFill>
              </a:defRPr>
            </a:lvl1pPr>
            <a:lvl2pPr marL="456057" indent="0">
              <a:buNone/>
              <a:defRPr sz="1995" b="1"/>
            </a:lvl2pPr>
            <a:lvl3pPr marL="912114" indent="0">
              <a:buNone/>
              <a:defRPr sz="1795" b="1"/>
            </a:lvl3pPr>
            <a:lvl4pPr marL="1368171" indent="0">
              <a:buNone/>
              <a:defRPr sz="1596" b="1"/>
            </a:lvl4pPr>
            <a:lvl5pPr marL="1824228" indent="0">
              <a:buNone/>
              <a:defRPr sz="1596" b="1"/>
            </a:lvl5pPr>
            <a:lvl6pPr marL="2280285" indent="0">
              <a:buNone/>
              <a:defRPr sz="1596" b="1"/>
            </a:lvl6pPr>
            <a:lvl7pPr marL="2736342" indent="0">
              <a:buNone/>
              <a:defRPr sz="1596" b="1"/>
            </a:lvl7pPr>
            <a:lvl8pPr marL="3192399" indent="0">
              <a:buNone/>
              <a:defRPr sz="1596" b="1"/>
            </a:lvl8pPr>
            <a:lvl9pPr marL="3648456" indent="0">
              <a:buNone/>
              <a:defRPr sz="1596" b="1"/>
            </a:lvl9pPr>
          </a:lstStyle>
          <a:p>
            <a:pPr lvl="0"/>
            <a:r>
              <a:rPr lang="en-US"/>
              <a:t>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9750" y="2614744"/>
            <a:ext cx="5418138" cy="290341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95"/>
            </a:lvl1pPr>
            <a:lvl2pPr>
              <a:defRPr sz="1596"/>
            </a:lvl2pPr>
            <a:lvl3pPr>
              <a:defRPr sz="1397"/>
            </a:lvl3pPr>
            <a:lvl4pPr>
              <a:defRPr sz="1197"/>
            </a:lvl4pPr>
            <a:lvl5pPr>
              <a:defRPr sz="1197"/>
            </a:lvl5pPr>
            <a:lvl6pPr>
              <a:defRPr sz="1197"/>
            </a:lvl6pPr>
            <a:lvl7pPr>
              <a:defRPr sz="1197"/>
            </a:lvl7pPr>
            <a:lvl8pPr>
              <a:defRPr sz="1197"/>
            </a:lvl8pPr>
            <a:lvl9pPr>
              <a:defRPr sz="1197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08714" y="2282345"/>
            <a:ext cx="5418137" cy="33239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795" b="1">
                <a:solidFill>
                  <a:schemeClr val="accent1"/>
                </a:solidFill>
              </a:defRPr>
            </a:lvl1pPr>
            <a:lvl2pPr marL="456057" indent="0">
              <a:buNone/>
              <a:defRPr sz="1995" b="1"/>
            </a:lvl2pPr>
            <a:lvl3pPr marL="912114" indent="0">
              <a:buNone/>
              <a:defRPr sz="1795" b="1"/>
            </a:lvl3pPr>
            <a:lvl4pPr marL="1368171" indent="0">
              <a:buNone/>
              <a:defRPr sz="1596" b="1"/>
            </a:lvl4pPr>
            <a:lvl5pPr marL="1824228" indent="0">
              <a:buNone/>
              <a:defRPr sz="1596" b="1"/>
            </a:lvl5pPr>
            <a:lvl6pPr marL="2280285" indent="0">
              <a:buNone/>
              <a:defRPr sz="1596" b="1"/>
            </a:lvl6pPr>
            <a:lvl7pPr marL="2736342" indent="0">
              <a:buNone/>
              <a:defRPr sz="1596" b="1"/>
            </a:lvl7pPr>
            <a:lvl8pPr marL="3192399" indent="0">
              <a:buNone/>
              <a:defRPr sz="1596" b="1"/>
            </a:lvl8pPr>
            <a:lvl9pPr marL="3648456" indent="0">
              <a:buNone/>
              <a:defRPr sz="1596" b="1"/>
            </a:lvl9pPr>
          </a:lstStyle>
          <a:p>
            <a:pPr lvl="0"/>
            <a:r>
              <a:rPr lang="en-US"/>
              <a:t>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08714" y="2614744"/>
            <a:ext cx="5418135" cy="29034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95"/>
            </a:lvl1pPr>
            <a:lvl2pPr>
              <a:defRPr sz="1596"/>
            </a:lvl2pPr>
            <a:lvl3pPr>
              <a:defRPr sz="1397"/>
            </a:lvl3pPr>
            <a:lvl4pPr>
              <a:defRPr sz="1197"/>
            </a:lvl4pPr>
            <a:lvl5pPr>
              <a:defRPr sz="1197"/>
            </a:lvl5pPr>
            <a:lvl6pPr>
              <a:defRPr sz="1197"/>
            </a:lvl6pPr>
            <a:lvl7pPr>
              <a:defRPr sz="1197"/>
            </a:lvl7pPr>
            <a:lvl8pPr>
              <a:defRPr sz="1197" baseline="0"/>
            </a:lvl8pPr>
            <a:lvl9pPr>
              <a:defRPr sz="1197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099427" y="6408003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n-US" smtClean="0"/>
              <a:t>10/5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319588" y="6408003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1385651" y="6408003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1" y="1477756"/>
            <a:ext cx="11087098" cy="6093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195"/>
            </a:lvl1pPr>
            <a:lvl5pPr>
              <a:defRPr/>
            </a:lvl5pPr>
          </a:lstStyle>
          <a:p>
            <a:pPr lvl="0"/>
            <a:r>
              <a:rPr lang="en-US"/>
              <a:t>Add subtitle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4" hasCustomPrompt="1"/>
          </p:nvPr>
        </p:nvSpPr>
        <p:spPr bwMode="ltGray">
          <a:xfrm>
            <a:off x="539750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95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9325" indent="0">
              <a:buNone/>
              <a:defRPr/>
            </a:lvl3pPr>
            <a:lvl4pPr marL="538650" indent="0">
              <a:buNone/>
              <a:defRPr/>
            </a:lvl4pPr>
            <a:lvl5pPr marL="807975" indent="0">
              <a:buNone/>
              <a:defRPr/>
            </a:lvl5pPr>
          </a:lstStyle>
          <a:p>
            <a:pPr lvl="0"/>
            <a:r>
              <a:rPr lang="en-US"/>
              <a:t>Click to add kicker or ‘so what’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1453520320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Subtitle, Basic Text, 2 Content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1" y="950400"/>
            <a:ext cx="11087100" cy="49859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9750" y="3142803"/>
            <a:ext cx="5418138" cy="33239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795" b="1">
                <a:solidFill>
                  <a:schemeClr val="accent1"/>
                </a:solidFill>
              </a:defRPr>
            </a:lvl1pPr>
            <a:lvl2pPr marL="456057" indent="0">
              <a:buNone/>
              <a:defRPr sz="1995" b="1"/>
            </a:lvl2pPr>
            <a:lvl3pPr marL="912114" indent="0">
              <a:buNone/>
              <a:defRPr sz="1795" b="1"/>
            </a:lvl3pPr>
            <a:lvl4pPr marL="1368171" indent="0">
              <a:buNone/>
              <a:defRPr sz="1596" b="1"/>
            </a:lvl4pPr>
            <a:lvl5pPr marL="1824228" indent="0">
              <a:buNone/>
              <a:defRPr sz="1596" b="1"/>
            </a:lvl5pPr>
            <a:lvl6pPr marL="2280285" indent="0">
              <a:buNone/>
              <a:defRPr sz="1596" b="1"/>
            </a:lvl6pPr>
            <a:lvl7pPr marL="2736342" indent="0">
              <a:buNone/>
              <a:defRPr sz="1596" b="1"/>
            </a:lvl7pPr>
            <a:lvl8pPr marL="3192399" indent="0">
              <a:buNone/>
              <a:defRPr sz="1596" b="1"/>
            </a:lvl8pPr>
            <a:lvl9pPr marL="3648456" indent="0">
              <a:buNone/>
              <a:defRPr sz="1596" b="1"/>
            </a:lvl9pPr>
          </a:lstStyle>
          <a:p>
            <a:pPr lvl="0"/>
            <a:r>
              <a:rPr lang="en-US"/>
              <a:t>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9750" y="3475202"/>
            <a:ext cx="5418138" cy="204295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95"/>
            </a:lvl1pPr>
            <a:lvl2pPr>
              <a:defRPr sz="1596"/>
            </a:lvl2pPr>
            <a:lvl3pPr>
              <a:defRPr sz="1397"/>
            </a:lvl3pPr>
            <a:lvl4pPr>
              <a:defRPr sz="1197"/>
            </a:lvl4pPr>
            <a:lvl5pPr>
              <a:defRPr sz="1197"/>
            </a:lvl5pPr>
            <a:lvl6pPr>
              <a:defRPr sz="1197"/>
            </a:lvl6pPr>
            <a:lvl7pPr>
              <a:defRPr sz="1197"/>
            </a:lvl7pPr>
            <a:lvl8pPr>
              <a:defRPr sz="1197"/>
            </a:lvl8pPr>
            <a:lvl9pPr>
              <a:defRPr sz="1197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08715" y="3142803"/>
            <a:ext cx="5418134" cy="33239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795" b="1">
                <a:solidFill>
                  <a:schemeClr val="accent1"/>
                </a:solidFill>
              </a:defRPr>
            </a:lvl1pPr>
            <a:lvl2pPr marL="456057" indent="0">
              <a:buNone/>
              <a:defRPr sz="1995" b="1"/>
            </a:lvl2pPr>
            <a:lvl3pPr marL="912114" indent="0">
              <a:buNone/>
              <a:defRPr sz="1795" b="1"/>
            </a:lvl3pPr>
            <a:lvl4pPr marL="1368171" indent="0">
              <a:buNone/>
              <a:defRPr sz="1596" b="1"/>
            </a:lvl4pPr>
            <a:lvl5pPr marL="1824228" indent="0">
              <a:buNone/>
              <a:defRPr sz="1596" b="1"/>
            </a:lvl5pPr>
            <a:lvl6pPr marL="2280285" indent="0">
              <a:buNone/>
              <a:defRPr sz="1596" b="1"/>
            </a:lvl6pPr>
            <a:lvl7pPr marL="2736342" indent="0">
              <a:buNone/>
              <a:defRPr sz="1596" b="1"/>
            </a:lvl7pPr>
            <a:lvl8pPr marL="3192399" indent="0">
              <a:buNone/>
              <a:defRPr sz="1596" b="1"/>
            </a:lvl8pPr>
            <a:lvl9pPr marL="3648456" indent="0">
              <a:buNone/>
              <a:defRPr sz="1596" b="1"/>
            </a:lvl9pPr>
          </a:lstStyle>
          <a:p>
            <a:pPr lvl="0"/>
            <a:r>
              <a:rPr lang="en-US"/>
              <a:t>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08714" y="3475202"/>
            <a:ext cx="5418136" cy="20429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95"/>
            </a:lvl1pPr>
            <a:lvl2pPr>
              <a:defRPr sz="1596"/>
            </a:lvl2pPr>
            <a:lvl3pPr>
              <a:defRPr sz="1397"/>
            </a:lvl3pPr>
            <a:lvl4pPr>
              <a:defRPr sz="1197"/>
            </a:lvl4pPr>
            <a:lvl5pPr>
              <a:defRPr sz="1197"/>
            </a:lvl5pPr>
            <a:lvl6pPr>
              <a:defRPr sz="1197"/>
            </a:lvl6pPr>
            <a:lvl7pPr>
              <a:defRPr sz="1197"/>
            </a:lvl7pPr>
            <a:lvl8pPr>
              <a:defRPr sz="1197" baseline="0"/>
            </a:lvl8pPr>
            <a:lvl9pPr>
              <a:defRPr sz="1197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099427" y="6408003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n-US" smtClean="0"/>
              <a:t>10/5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319588" y="6408003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1385651" y="6408003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1477756"/>
            <a:ext cx="11087099" cy="6093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195"/>
            </a:lvl1pPr>
            <a:lvl5pPr>
              <a:defRPr/>
            </a:lvl5pPr>
          </a:lstStyle>
          <a:p>
            <a:pPr lvl="0"/>
            <a:r>
              <a:rPr lang="en-US"/>
              <a:t>Add subtitle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4" hasCustomPrompt="1"/>
          </p:nvPr>
        </p:nvSpPr>
        <p:spPr bwMode="ltGray">
          <a:xfrm>
            <a:off x="539750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95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9325" indent="0">
              <a:buNone/>
              <a:defRPr/>
            </a:lvl3pPr>
            <a:lvl4pPr marL="538650" indent="0">
              <a:buNone/>
              <a:defRPr/>
            </a:lvl4pPr>
            <a:lvl5pPr marL="807975" indent="0">
              <a:buNone/>
              <a:defRPr/>
            </a:lvl5pPr>
          </a:lstStyle>
          <a:p>
            <a:pPr lvl="0"/>
            <a:r>
              <a:rPr lang="en-US"/>
              <a:t>Click to add kicker or ‘so what’. Delete if not required.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539752" y="2358000"/>
            <a:ext cx="11087098" cy="72943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/>
            </a:lvl1pPr>
            <a:lvl2pPr marL="0" indent="0">
              <a:buNone/>
              <a:defRPr/>
            </a:lvl2pPr>
            <a:lvl3pPr marL="269325" indent="0">
              <a:buNone/>
              <a:defRPr/>
            </a:lvl3pPr>
            <a:lvl4pPr marL="538650" indent="0">
              <a:buNone/>
              <a:defRPr/>
            </a:lvl4pPr>
            <a:lvl5pPr marL="807975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4890254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1" y="950400"/>
            <a:ext cx="11087100" cy="498598"/>
          </a:xfrm>
          <a:prstGeom prst="rect">
            <a:avLst/>
          </a:prstGeom>
        </p:spPr>
        <p:txBody>
          <a:bodyPr/>
          <a:lstStyle/>
          <a:p>
            <a:r>
              <a:rPr lang="en-US"/>
              <a:t>Add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099427" y="6408003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n-US" smtClean="0"/>
              <a:t>10/5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319588" y="6408003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385651" y="6408003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539750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95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9325" indent="0">
              <a:buNone/>
              <a:defRPr/>
            </a:lvl3pPr>
            <a:lvl4pPr marL="538650" indent="0">
              <a:buNone/>
              <a:defRPr/>
            </a:lvl4pPr>
            <a:lvl5pPr marL="807975" indent="0">
              <a:buNone/>
              <a:defRPr/>
            </a:lvl5pPr>
          </a:lstStyle>
          <a:p>
            <a:pPr lvl="0"/>
            <a:r>
              <a:rPr lang="en-US"/>
              <a:t>Click to add kicker or ‘so what’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2825470191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099427" y="6408003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n-US" smtClean="0"/>
              <a:t>10/5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319588" y="6408003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385651" y="6408003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539750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95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9325" indent="0">
              <a:buNone/>
              <a:defRPr/>
            </a:lvl3pPr>
            <a:lvl4pPr marL="538650" indent="0">
              <a:buNone/>
              <a:defRPr/>
            </a:lvl4pPr>
            <a:lvl5pPr marL="807975" indent="0">
              <a:buNone/>
              <a:defRPr/>
            </a:lvl5pPr>
          </a:lstStyle>
          <a:p>
            <a:pPr lvl="0"/>
            <a:r>
              <a:rPr lang="en-US"/>
              <a:t>Click to add kicker or ‘so what’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390328224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Subtitle, Content and Narrow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11067" y="1006478"/>
            <a:ext cx="3515782" cy="45116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95"/>
            </a:lvl1pPr>
            <a:lvl2pPr>
              <a:defRPr sz="1596" baseline="0"/>
            </a:lvl2pPr>
            <a:lvl3pPr>
              <a:defRPr sz="1397"/>
            </a:lvl3pPr>
            <a:lvl4pPr>
              <a:defRPr sz="1197"/>
            </a:lvl4pPr>
            <a:lvl5pPr>
              <a:defRPr sz="1197"/>
            </a:lvl5pPr>
            <a:lvl6pPr>
              <a:defRPr sz="1197"/>
            </a:lvl6pPr>
            <a:lvl7pPr>
              <a:defRPr sz="1197"/>
            </a:lvl7pPr>
            <a:lvl8pPr>
              <a:defRPr sz="1197"/>
            </a:lvl8pPr>
            <a:lvl9pPr>
              <a:defRPr sz="1197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099427" y="6408003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n-US" smtClean="0"/>
              <a:t>10/5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319588" y="6408003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385651" y="6408003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39751" y="950208"/>
            <a:ext cx="7307261" cy="49859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539750" y="2358001"/>
            <a:ext cx="7307263" cy="316014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1477756"/>
            <a:ext cx="7307263" cy="6093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195"/>
            </a:lvl1pPr>
            <a:lvl5pPr>
              <a:defRPr/>
            </a:lvl5pPr>
          </a:lstStyle>
          <a:p>
            <a:pPr lvl="0"/>
            <a:r>
              <a:rPr lang="en-US"/>
              <a:t>Add subtitle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5" hasCustomPrompt="1"/>
          </p:nvPr>
        </p:nvSpPr>
        <p:spPr bwMode="ltGray">
          <a:xfrm>
            <a:off x="539750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95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9325" indent="0">
              <a:buNone/>
              <a:defRPr/>
            </a:lvl3pPr>
            <a:lvl4pPr marL="538650" indent="0">
              <a:buNone/>
              <a:defRPr/>
            </a:lvl4pPr>
            <a:lvl5pPr marL="807975" indent="0">
              <a:buNone/>
              <a:defRPr/>
            </a:lvl5pPr>
          </a:lstStyle>
          <a:p>
            <a:pPr lvl="0"/>
            <a:r>
              <a:rPr lang="en-US"/>
              <a:t>Click to add kicker or ‘so what’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762104733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Subtitle, Content and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099427" y="6408003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n-US" smtClean="0"/>
              <a:t>10/5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319588" y="6408003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385651" y="6408003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39751" y="950208"/>
            <a:ext cx="7307261" cy="49859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539750" y="2358001"/>
            <a:ext cx="7307263" cy="31601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2" name="Group 1"/>
          <p:cNvGrpSpPr/>
          <p:nvPr userDrawn="1"/>
        </p:nvGrpSpPr>
        <p:grpSpPr bwMode="ltGray">
          <a:xfrm>
            <a:off x="8111067" y="2102136"/>
            <a:ext cx="3515782" cy="360000"/>
            <a:chOff x="6083300" y="2351692"/>
            <a:chExt cx="2520000" cy="360000"/>
          </a:xfrm>
        </p:grpSpPr>
        <p:sp>
          <p:nvSpPr>
            <p:cNvPr id="11" name="Snip Single Corner Rectangle 10"/>
            <p:cNvSpPr/>
            <p:nvPr userDrawn="1"/>
          </p:nvSpPr>
          <p:spPr bwMode="ltGray">
            <a:xfrm flipH="1">
              <a:off x="6083300" y="2351692"/>
              <a:ext cx="2520000" cy="360000"/>
            </a:xfrm>
            <a:prstGeom prst="snip1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5"/>
            </a:p>
          </p:txBody>
        </p:sp>
        <p:sp>
          <p:nvSpPr>
            <p:cNvPr id="12" name="Right Triangle 11"/>
            <p:cNvSpPr/>
            <p:nvPr userDrawn="1"/>
          </p:nvSpPr>
          <p:spPr bwMode="ltGray">
            <a:xfrm flipH="1">
              <a:off x="6083300" y="2351692"/>
              <a:ext cx="129018" cy="180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795"/>
            </a:p>
          </p:txBody>
        </p:sp>
      </p:grp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 bwMode="ltGray">
          <a:xfrm>
            <a:off x="8111067" y="2360297"/>
            <a:ext cx="3515782" cy="1039873"/>
          </a:xfrm>
          <a:prstGeom prst="rect">
            <a:avLst/>
          </a:prstGeom>
          <a:solidFill>
            <a:schemeClr val="accent1"/>
          </a:solidFill>
        </p:spPr>
        <p:txBody>
          <a:bodyPr wrap="square" lIns="216000" rIns="216000" bIns="216000">
            <a:spAutoFit/>
          </a:bodyPr>
          <a:lstStyle>
            <a:lvl1pPr>
              <a:buNone/>
              <a:defRPr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9325" indent="0">
              <a:buNone/>
              <a:defRPr/>
            </a:lvl3pPr>
            <a:lvl4pPr marL="538650" indent="0">
              <a:buNone/>
              <a:defRPr/>
            </a:lvl4pPr>
            <a:lvl5pPr marL="807975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1477756"/>
            <a:ext cx="7307262" cy="6093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195"/>
            </a:lvl1pPr>
            <a:lvl5pPr>
              <a:defRPr/>
            </a:lvl5pPr>
          </a:lstStyle>
          <a:p>
            <a:pPr lvl="0"/>
            <a:r>
              <a:rPr lang="en-US"/>
              <a:t>Add subtit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6" hasCustomPrompt="1"/>
          </p:nvPr>
        </p:nvSpPr>
        <p:spPr bwMode="ltGray">
          <a:xfrm>
            <a:off x="539750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95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9325" indent="0">
              <a:buNone/>
              <a:defRPr/>
            </a:lvl3pPr>
            <a:lvl4pPr marL="538650" indent="0">
              <a:buNone/>
              <a:defRPr/>
            </a:lvl4pPr>
            <a:lvl5pPr marL="807975" indent="0">
              <a:buNone/>
              <a:defRPr/>
            </a:lvl5pPr>
          </a:lstStyle>
          <a:p>
            <a:pPr lvl="0"/>
            <a:r>
              <a:rPr lang="en-US"/>
              <a:t>Click to add kicker or ‘so what’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3265249718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Subtitle, Content and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9589" y="1006478"/>
            <a:ext cx="7307261" cy="45116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95"/>
            </a:lvl1pPr>
            <a:lvl2pPr>
              <a:defRPr sz="1795" baseline="0"/>
            </a:lvl2pPr>
            <a:lvl3pPr>
              <a:defRPr sz="1397"/>
            </a:lvl3pPr>
            <a:lvl4pPr>
              <a:defRPr sz="1197"/>
            </a:lvl4pPr>
            <a:lvl5pPr>
              <a:defRPr sz="1197"/>
            </a:lvl5pPr>
            <a:lvl6pPr>
              <a:defRPr sz="1197"/>
            </a:lvl6pPr>
            <a:lvl7pPr>
              <a:defRPr sz="1197"/>
            </a:lvl7pPr>
            <a:lvl8pPr>
              <a:defRPr sz="1197"/>
            </a:lvl8pPr>
            <a:lvl9pPr>
              <a:defRPr sz="1197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099427" y="6408003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n-US" smtClean="0"/>
              <a:t>10/5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319588" y="6408003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385651" y="6408003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39752" y="950208"/>
            <a:ext cx="3527424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539750" y="2868998"/>
            <a:ext cx="3527425" cy="264915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1988296"/>
            <a:ext cx="3527425" cy="6093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195"/>
            </a:lvl1pPr>
            <a:lvl5pPr>
              <a:defRPr/>
            </a:lvl5pPr>
          </a:lstStyle>
          <a:p>
            <a:pPr lvl="0"/>
            <a:r>
              <a:rPr lang="en-US"/>
              <a:t>Add subtitle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5" hasCustomPrompt="1"/>
          </p:nvPr>
        </p:nvSpPr>
        <p:spPr bwMode="ltGray">
          <a:xfrm>
            <a:off x="539750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95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9325" indent="0">
              <a:buNone/>
              <a:defRPr/>
            </a:lvl3pPr>
            <a:lvl4pPr marL="538650" indent="0">
              <a:buNone/>
              <a:defRPr/>
            </a:lvl4pPr>
            <a:lvl5pPr marL="807975" indent="0">
              <a:buNone/>
              <a:defRPr/>
            </a:lvl5pPr>
          </a:lstStyle>
          <a:p>
            <a:pPr lvl="0"/>
            <a:r>
              <a:rPr lang="en-US"/>
              <a:t>Click to add kicker or ‘so what’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3730640338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Subtitle and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752" y="3142801"/>
            <a:ext cx="3527424" cy="23753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95"/>
            </a:lvl1pPr>
            <a:lvl2pPr>
              <a:defRPr sz="1596" baseline="0"/>
            </a:lvl2pPr>
            <a:lvl3pPr>
              <a:defRPr sz="1397"/>
            </a:lvl3pPr>
            <a:lvl4pPr>
              <a:defRPr sz="1197"/>
            </a:lvl4pPr>
            <a:lvl5pPr>
              <a:defRPr sz="1197"/>
            </a:lvl5pPr>
            <a:lvl6pPr>
              <a:defRPr sz="1197"/>
            </a:lvl6pPr>
            <a:lvl7pPr>
              <a:defRPr sz="1197"/>
            </a:lvl7pPr>
            <a:lvl8pPr>
              <a:defRPr sz="1197"/>
            </a:lvl8pPr>
            <a:lvl9pPr>
              <a:defRPr sz="1197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099427" y="6408003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n-US" smtClean="0"/>
              <a:t>10/5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319588" y="6408003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385651" y="6408003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539752" y="2358000"/>
            <a:ext cx="11087098" cy="72943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/>
            </a:lvl1pPr>
            <a:lvl2pPr marL="0" indent="0">
              <a:buNone/>
              <a:defRPr/>
            </a:lvl2pPr>
            <a:lvl3pPr marL="269325" indent="0">
              <a:buNone/>
              <a:defRPr/>
            </a:lvl3pPr>
            <a:lvl4pPr marL="538650" indent="0">
              <a:buNone/>
              <a:defRPr/>
            </a:lvl4pPr>
            <a:lvl5pPr marL="807975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319590" y="3142801"/>
            <a:ext cx="3527424" cy="23753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95"/>
            </a:lvl1pPr>
            <a:lvl2pPr>
              <a:defRPr sz="1596" baseline="0"/>
            </a:lvl2pPr>
            <a:lvl3pPr>
              <a:defRPr sz="1397"/>
            </a:lvl3pPr>
            <a:lvl4pPr>
              <a:defRPr sz="1197"/>
            </a:lvl4pPr>
            <a:lvl5pPr>
              <a:defRPr sz="1197"/>
            </a:lvl5pPr>
            <a:lvl6pPr>
              <a:defRPr sz="1197"/>
            </a:lvl6pPr>
            <a:lvl7pPr>
              <a:defRPr sz="1197"/>
            </a:lvl7pPr>
            <a:lvl8pPr>
              <a:defRPr sz="1197"/>
            </a:lvl8pPr>
            <a:lvl9pPr>
              <a:defRPr sz="1197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6"/>
          </p:nvPr>
        </p:nvSpPr>
        <p:spPr>
          <a:xfrm>
            <a:off x="8099426" y="3142801"/>
            <a:ext cx="3527424" cy="23753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95"/>
            </a:lvl1pPr>
            <a:lvl2pPr>
              <a:defRPr sz="1596" baseline="0"/>
            </a:lvl2pPr>
            <a:lvl3pPr>
              <a:defRPr sz="1397"/>
            </a:lvl3pPr>
            <a:lvl4pPr>
              <a:defRPr sz="1197"/>
            </a:lvl4pPr>
            <a:lvl5pPr>
              <a:defRPr sz="1197"/>
            </a:lvl5pPr>
            <a:lvl6pPr>
              <a:defRPr sz="1197"/>
            </a:lvl6pPr>
            <a:lvl7pPr>
              <a:defRPr sz="1197"/>
            </a:lvl7pPr>
            <a:lvl8pPr>
              <a:defRPr sz="1197"/>
            </a:lvl8pPr>
            <a:lvl9pPr>
              <a:defRPr sz="1197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1477756"/>
            <a:ext cx="11087099" cy="6093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195"/>
            </a:lvl1pPr>
            <a:lvl5pPr>
              <a:defRPr/>
            </a:lvl5pPr>
          </a:lstStyle>
          <a:p>
            <a:pPr lvl="0"/>
            <a:r>
              <a:rPr lang="en-US"/>
              <a:t>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1" y="950400"/>
            <a:ext cx="11087100" cy="498598"/>
          </a:xfrm>
          <a:prstGeom prst="rect">
            <a:avLst/>
          </a:prstGeom>
        </p:spPr>
        <p:txBody>
          <a:bodyPr/>
          <a:lstStyle/>
          <a:p>
            <a:r>
              <a:rPr lang="en-US"/>
              <a:t>Add title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7" hasCustomPrompt="1"/>
          </p:nvPr>
        </p:nvSpPr>
        <p:spPr bwMode="ltGray">
          <a:xfrm>
            <a:off x="539750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95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9325" indent="0">
              <a:buNone/>
              <a:defRPr/>
            </a:lvl3pPr>
            <a:lvl4pPr marL="538650" indent="0">
              <a:buNone/>
              <a:defRPr/>
            </a:lvl4pPr>
            <a:lvl5pPr marL="807975" indent="0">
              <a:buNone/>
              <a:defRPr/>
            </a:lvl5pPr>
          </a:lstStyle>
          <a:p>
            <a:pPr lvl="0"/>
            <a:r>
              <a:rPr lang="en-US"/>
              <a:t>Click to add kicker or ‘so what’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297823551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picture containing drawing&#10;&#10;Description automatically generated">
            <a:extLst>
              <a:ext uri="{FF2B5EF4-FFF2-40B4-BE49-F238E27FC236}">
                <a16:creationId xmlns:a16="http://schemas.microsoft.com/office/drawing/2014/main" id="{F6E86092-6A3A-46B3-9411-ECC9B170C2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48775" y="166485"/>
            <a:ext cx="2495669" cy="447267"/>
          </a:xfrm>
          <a:prstGeom prst="rect">
            <a:avLst/>
          </a:prstGeom>
        </p:spPr>
      </p:pic>
      <p:sp>
        <p:nvSpPr>
          <p:cNvPr id="5" name="Rectangle 3">
            <a:extLst>
              <a:ext uri="{FF2B5EF4-FFF2-40B4-BE49-F238E27FC236}">
                <a16:creationId xmlns:a16="http://schemas.microsoft.com/office/drawing/2014/main" id="{CB2B4A4C-DEB3-43B7-92E9-FEDA20E1BB1E}"/>
              </a:ext>
            </a:extLst>
          </p:cNvPr>
          <p:cNvSpPr/>
          <p:nvPr userDrawn="1"/>
        </p:nvSpPr>
        <p:spPr>
          <a:xfrm>
            <a:off x="10962852" y="6572233"/>
            <a:ext cx="1104077" cy="225767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en-AU" sz="867" b="1" i="0">
                <a:solidFill>
                  <a:schemeClr val="tx2"/>
                </a:solidFill>
                <a:latin typeface="FS Elliot Pro Thin" panose="02000503030000020004" pitchFamily="50" charset="0"/>
              </a:rPr>
              <a:t>© Arcadis 2023 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2003ACA7-53C5-446A-B4A0-0EFBD42A1C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35000"/>
          </a:blip>
          <a:srcRect l="2138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70504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099427" y="6408003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n-US" smtClean="0"/>
              <a:pPr/>
              <a:t>10/5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319588" y="6408003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385651" y="6408003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dc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673226" y="1477756"/>
            <a:ext cx="9953625" cy="609398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195" cap="all" baseline="0">
                <a:solidFill>
                  <a:schemeClr val="accent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%DT:TITLE%</a:t>
            </a:r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1673226" y="2358000"/>
            <a:ext cx="900000" cy="936000"/>
          </a:xfrm>
          <a:prstGeom prst="rect">
            <a:avLst/>
          </a:prstGeom>
        </p:spPr>
        <p:txBody>
          <a:bodyPr anchor="ctr" anchorCtr="0"/>
          <a:lstStyle>
            <a:lvl1pPr algn="ctr">
              <a:buNone/>
              <a:defRPr sz="998"/>
            </a:lvl1pPr>
          </a:lstStyle>
          <a:p>
            <a:r>
              <a:rPr lang="en-US"/>
              <a:t> 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1673226" y="3670200"/>
            <a:ext cx="900000" cy="9360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ctr">
              <a:buNone/>
              <a:defRPr sz="998"/>
            </a:lvl1pPr>
          </a:lstStyle>
          <a:p>
            <a:r>
              <a:rPr lang="en-US"/>
              <a:t> </a:t>
            </a:r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9" hasCustomPrompt="1"/>
          </p:nvPr>
        </p:nvSpPr>
        <p:spPr>
          <a:xfrm>
            <a:off x="1673226" y="4982400"/>
            <a:ext cx="900000" cy="9360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ctr">
              <a:buNone/>
              <a:defRPr sz="998" baseline="0"/>
            </a:lvl1pPr>
          </a:lstStyle>
          <a:p>
            <a:r>
              <a:rPr lang="en-US"/>
              <a:t> 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20" hasCustomPrompt="1"/>
          </p:nvPr>
        </p:nvSpPr>
        <p:spPr>
          <a:xfrm>
            <a:off x="2772000" y="2358002"/>
            <a:ext cx="8854851" cy="166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197" b="1" i="0" cap="all" baseline="0"/>
            </a:lvl1pPr>
            <a:lvl2pPr marL="0" indent="0">
              <a:buNone/>
              <a:defRPr/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surname</a:t>
            </a:r>
          </a:p>
        </p:txBody>
      </p:sp>
      <p:sp>
        <p:nvSpPr>
          <p:cNvPr id="11" name="Text Placeholder 18"/>
          <p:cNvSpPr>
            <a:spLocks noGrp="1"/>
          </p:cNvSpPr>
          <p:nvPr>
            <p:ph type="body" sz="quarter" idx="21" hasCustomPrompt="1"/>
          </p:nvPr>
        </p:nvSpPr>
        <p:spPr>
          <a:xfrm>
            <a:off x="2772001" y="2559601"/>
            <a:ext cx="1295174" cy="73337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buNone/>
              <a:defRPr sz="998" b="0" i="0" cap="none" baseline="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Role</a:t>
            </a:r>
          </a:p>
        </p:txBody>
      </p:sp>
      <p:sp>
        <p:nvSpPr>
          <p:cNvPr id="14" name="dcContact1"/>
          <p:cNvSpPr>
            <a:spLocks noGrp="1"/>
          </p:cNvSpPr>
          <p:nvPr>
            <p:ph type="body" sz="quarter" idx="22" hasCustomPrompt="1"/>
          </p:nvPr>
        </p:nvSpPr>
        <p:spPr>
          <a:xfrm>
            <a:off x="4319588" y="2610000"/>
            <a:ext cx="3527425" cy="7128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marR="0" indent="0" algn="l" defTabSz="9121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79550" algn="l"/>
              </a:tabLst>
              <a:defRPr sz="898" b="0" i="0" cap="none" baseline="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%DT[5]:T%	+xx (0)xx </a:t>
            </a:r>
            <a:r>
              <a:rPr lang="en-US" err="1"/>
              <a:t>xxxx</a:t>
            </a:r>
            <a:r>
              <a:rPr lang="en-US"/>
              <a:t> </a:t>
            </a:r>
            <a:r>
              <a:rPr lang="en-US" err="1"/>
              <a:t>xxxx</a:t>
            </a:r>
            <a:endParaRPr lang="en-US"/>
          </a:p>
          <a:p>
            <a:pPr lvl="0"/>
            <a:r>
              <a:rPr lang="en-US"/>
              <a:t>%DT[5]:M%	+xx (0)xx </a:t>
            </a:r>
            <a:r>
              <a:rPr lang="en-US" err="1"/>
              <a:t>xxxx</a:t>
            </a:r>
            <a:r>
              <a:rPr lang="en-US"/>
              <a:t> </a:t>
            </a:r>
            <a:r>
              <a:rPr lang="en-US" err="1"/>
              <a:t>xxxx</a:t>
            </a:r>
            <a:endParaRPr lang="en-US"/>
          </a:p>
          <a:p>
            <a:pPr lvl="0"/>
            <a:r>
              <a:rPr lang="en-US"/>
              <a:t>%DT[5]:E%	firstname.lastname@arcadis.com</a:t>
            </a:r>
          </a:p>
        </p:txBody>
      </p:sp>
      <p:sp>
        <p:nvSpPr>
          <p:cNvPr id="15" name="dcLocation1"/>
          <p:cNvSpPr>
            <a:spLocks noGrp="1"/>
          </p:cNvSpPr>
          <p:nvPr>
            <p:ph type="body" sz="quarter" idx="23" hasCustomPrompt="1"/>
          </p:nvPr>
        </p:nvSpPr>
        <p:spPr>
          <a:xfrm>
            <a:off x="8099427" y="2610000"/>
            <a:ext cx="3513473" cy="7128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marR="0" indent="0" algn="l" defTabSz="9121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79550" algn="l"/>
              </a:tabLst>
              <a:defRPr sz="898" b="0" i="0" cap="none" baseline="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%DT[5]:</a:t>
            </a:r>
            <a:r>
              <a:rPr lang="en-US" err="1"/>
              <a:t>Arcadis</a:t>
            </a:r>
            <a:r>
              <a:rPr lang="en-US"/>
              <a:t>%</a:t>
            </a:r>
          </a:p>
          <a:p>
            <a:pPr lvl="0"/>
            <a:r>
              <a:rPr lang="en-US"/>
              <a:t>Address Line 1</a:t>
            </a:r>
          </a:p>
          <a:p>
            <a:pPr lvl="0"/>
            <a:r>
              <a:rPr lang="en-US"/>
              <a:t>Address Line 2</a:t>
            </a:r>
          </a:p>
          <a:p>
            <a:pPr lvl="0"/>
            <a:r>
              <a:rPr lang="en-US"/>
              <a:t>Address Line 3</a:t>
            </a:r>
          </a:p>
        </p:txBody>
      </p:sp>
      <p:sp>
        <p:nvSpPr>
          <p:cNvPr id="16" name="Text Placeholder 18"/>
          <p:cNvSpPr>
            <a:spLocks noGrp="1"/>
          </p:cNvSpPr>
          <p:nvPr>
            <p:ph type="body" sz="quarter" idx="24" hasCustomPrompt="1"/>
          </p:nvPr>
        </p:nvSpPr>
        <p:spPr>
          <a:xfrm>
            <a:off x="2772000" y="3650402"/>
            <a:ext cx="8854851" cy="166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197" b="1" i="0" cap="all" baseline="0"/>
            </a:lvl1pPr>
            <a:lvl2pPr marL="0" indent="0">
              <a:buNone/>
              <a:defRPr/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surname</a:t>
            </a:r>
          </a:p>
        </p:txBody>
      </p:sp>
      <p:sp>
        <p:nvSpPr>
          <p:cNvPr id="17" name="Text Placeholder 18"/>
          <p:cNvSpPr>
            <a:spLocks noGrp="1"/>
          </p:cNvSpPr>
          <p:nvPr>
            <p:ph type="body" sz="quarter" idx="25" hasCustomPrompt="1"/>
          </p:nvPr>
        </p:nvSpPr>
        <p:spPr>
          <a:xfrm>
            <a:off x="2772001" y="3852001"/>
            <a:ext cx="1295174" cy="75225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buNone/>
              <a:defRPr sz="998" b="0" i="0" cap="none" baseline="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Role</a:t>
            </a:r>
          </a:p>
        </p:txBody>
      </p:sp>
      <p:sp>
        <p:nvSpPr>
          <p:cNvPr id="18" name="dcContact1"/>
          <p:cNvSpPr>
            <a:spLocks noGrp="1"/>
          </p:cNvSpPr>
          <p:nvPr>
            <p:ph type="body" sz="quarter" idx="26" hasCustomPrompt="1"/>
          </p:nvPr>
        </p:nvSpPr>
        <p:spPr>
          <a:xfrm>
            <a:off x="4319588" y="3919067"/>
            <a:ext cx="3527425" cy="7128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marR="0" indent="0" algn="l" defTabSz="9121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79550" algn="l"/>
              </a:tabLst>
              <a:defRPr sz="898" b="0" i="0" cap="none" baseline="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%DT[5]:T%	+xx (0)xx </a:t>
            </a:r>
            <a:r>
              <a:rPr lang="en-US" err="1"/>
              <a:t>xxxx</a:t>
            </a:r>
            <a:r>
              <a:rPr lang="en-US"/>
              <a:t> </a:t>
            </a:r>
            <a:r>
              <a:rPr lang="en-US" err="1"/>
              <a:t>xxxx</a:t>
            </a:r>
            <a:endParaRPr lang="en-US"/>
          </a:p>
          <a:p>
            <a:pPr lvl="0"/>
            <a:r>
              <a:rPr lang="en-US"/>
              <a:t>%DT[5]:M%	+xx (0)xx </a:t>
            </a:r>
            <a:r>
              <a:rPr lang="en-US" err="1"/>
              <a:t>xxxx</a:t>
            </a:r>
            <a:r>
              <a:rPr lang="en-US"/>
              <a:t> </a:t>
            </a:r>
            <a:r>
              <a:rPr lang="en-US" err="1"/>
              <a:t>xxxx</a:t>
            </a:r>
            <a:endParaRPr lang="en-US"/>
          </a:p>
          <a:p>
            <a:pPr lvl="0"/>
            <a:r>
              <a:rPr lang="en-US"/>
              <a:t>%DT[5]:E%	firstname.lastname@arcadis.com</a:t>
            </a:r>
          </a:p>
        </p:txBody>
      </p:sp>
      <p:sp>
        <p:nvSpPr>
          <p:cNvPr id="19" name="dcLocation1"/>
          <p:cNvSpPr>
            <a:spLocks noGrp="1"/>
          </p:cNvSpPr>
          <p:nvPr>
            <p:ph type="body" sz="quarter" idx="27" hasCustomPrompt="1"/>
          </p:nvPr>
        </p:nvSpPr>
        <p:spPr>
          <a:xfrm>
            <a:off x="8099427" y="3920400"/>
            <a:ext cx="3513473" cy="7128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marR="0" indent="0" algn="l" defTabSz="9121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79550" algn="l"/>
              </a:tabLst>
              <a:defRPr sz="898" b="0" i="0" cap="none" baseline="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%DT[5]:</a:t>
            </a:r>
            <a:r>
              <a:rPr lang="en-US" err="1"/>
              <a:t>Arcadis</a:t>
            </a:r>
            <a:r>
              <a:rPr lang="en-US"/>
              <a:t>%</a:t>
            </a:r>
          </a:p>
          <a:p>
            <a:pPr lvl="0"/>
            <a:r>
              <a:rPr lang="en-US"/>
              <a:t>Address Line 1</a:t>
            </a:r>
          </a:p>
          <a:p>
            <a:pPr lvl="0"/>
            <a:r>
              <a:rPr lang="en-US"/>
              <a:t>Address Line 2</a:t>
            </a:r>
          </a:p>
          <a:p>
            <a:pPr lvl="0"/>
            <a:r>
              <a:rPr lang="en-US"/>
              <a:t>Address Line 3</a:t>
            </a:r>
          </a:p>
        </p:txBody>
      </p:sp>
      <p:sp>
        <p:nvSpPr>
          <p:cNvPr id="20" name="Text Placeholder 18"/>
          <p:cNvSpPr>
            <a:spLocks noGrp="1"/>
          </p:cNvSpPr>
          <p:nvPr>
            <p:ph type="body" sz="quarter" idx="28" hasCustomPrompt="1"/>
          </p:nvPr>
        </p:nvSpPr>
        <p:spPr>
          <a:xfrm>
            <a:off x="2772000" y="4964402"/>
            <a:ext cx="8854851" cy="166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197" b="1" i="0" cap="all" baseline="0"/>
            </a:lvl1pPr>
            <a:lvl2pPr marL="0" indent="0">
              <a:buNone/>
              <a:defRPr/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surname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29" hasCustomPrompt="1"/>
          </p:nvPr>
        </p:nvSpPr>
        <p:spPr>
          <a:xfrm>
            <a:off x="2772001" y="5166001"/>
            <a:ext cx="1295174" cy="75111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buNone/>
              <a:defRPr sz="998" b="0" i="0" cap="none" baseline="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Role</a:t>
            </a:r>
          </a:p>
        </p:txBody>
      </p:sp>
      <p:sp>
        <p:nvSpPr>
          <p:cNvPr id="22" name="dcContact1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8" y="5230686"/>
            <a:ext cx="3527425" cy="7128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marR="0" indent="0" algn="l" defTabSz="9121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79550" algn="l"/>
              </a:tabLst>
              <a:defRPr sz="898" b="0" i="0" cap="none" baseline="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%DT[5]:T%	+xx (0)xx </a:t>
            </a:r>
            <a:r>
              <a:rPr lang="en-US" err="1"/>
              <a:t>xxxx</a:t>
            </a:r>
            <a:r>
              <a:rPr lang="en-US"/>
              <a:t> </a:t>
            </a:r>
            <a:r>
              <a:rPr lang="en-US" err="1"/>
              <a:t>xxxx</a:t>
            </a:r>
            <a:endParaRPr lang="en-US"/>
          </a:p>
          <a:p>
            <a:pPr lvl="0"/>
            <a:r>
              <a:rPr lang="en-US"/>
              <a:t>%DT[5]:M%	+xx (0)xx </a:t>
            </a:r>
            <a:r>
              <a:rPr lang="en-US" err="1"/>
              <a:t>xxxx</a:t>
            </a:r>
            <a:r>
              <a:rPr lang="en-US"/>
              <a:t> </a:t>
            </a:r>
            <a:r>
              <a:rPr lang="en-US" err="1"/>
              <a:t>xxxx</a:t>
            </a:r>
            <a:endParaRPr lang="en-US"/>
          </a:p>
          <a:p>
            <a:pPr lvl="0"/>
            <a:r>
              <a:rPr lang="en-US"/>
              <a:t>%DT[5]:E%	firstname.lastname@arcadis.com</a:t>
            </a:r>
          </a:p>
        </p:txBody>
      </p:sp>
      <p:sp>
        <p:nvSpPr>
          <p:cNvPr id="23" name="dcLocation1"/>
          <p:cNvSpPr>
            <a:spLocks noGrp="1"/>
          </p:cNvSpPr>
          <p:nvPr>
            <p:ph type="body" sz="quarter" idx="31" hasCustomPrompt="1"/>
          </p:nvPr>
        </p:nvSpPr>
        <p:spPr>
          <a:xfrm>
            <a:off x="8099427" y="5230800"/>
            <a:ext cx="3513473" cy="7128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marR="0" indent="0" algn="l" defTabSz="9121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79550" algn="l"/>
              </a:tabLst>
              <a:defRPr sz="898" b="0" i="0" cap="none" baseline="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%DT[5]:</a:t>
            </a:r>
            <a:r>
              <a:rPr lang="en-US" err="1"/>
              <a:t>Arcadis</a:t>
            </a:r>
            <a:r>
              <a:rPr lang="en-US"/>
              <a:t>%</a:t>
            </a:r>
          </a:p>
          <a:p>
            <a:pPr lvl="0"/>
            <a:r>
              <a:rPr lang="en-US"/>
              <a:t>Address Line 1</a:t>
            </a:r>
          </a:p>
          <a:p>
            <a:pPr lvl="0"/>
            <a:r>
              <a:rPr lang="en-US"/>
              <a:t>Address Line 2</a:t>
            </a:r>
          </a:p>
          <a:p>
            <a:pPr lvl="0"/>
            <a:r>
              <a:rPr lang="en-US"/>
              <a:t>Address Line 3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32" hasCustomPrompt="1"/>
          </p:nvPr>
        </p:nvSpPr>
        <p:spPr>
          <a:xfrm>
            <a:off x="1674000" y="3481200"/>
            <a:ext cx="9954000" cy="0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/>
          <a:lstStyle>
            <a:lvl1pPr>
              <a:buNone/>
              <a:defRPr/>
            </a:lvl1pPr>
            <a:lvl2pPr marL="0" indent="0">
              <a:buNone/>
              <a:defRPr/>
            </a:lvl2pPr>
            <a:lvl3pPr marL="269325" indent="0">
              <a:buNone/>
              <a:defRPr/>
            </a:lvl3pPr>
            <a:lvl4pPr marL="538650" indent="0">
              <a:buNone/>
              <a:defRPr/>
            </a:lvl4pPr>
            <a:lvl5pPr marL="807975" indent="0">
              <a:buNone/>
              <a:defRPr/>
            </a:lvl5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33" hasCustomPrompt="1"/>
          </p:nvPr>
        </p:nvSpPr>
        <p:spPr>
          <a:xfrm>
            <a:off x="1674000" y="4795200"/>
            <a:ext cx="9954000" cy="0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/>
          <a:lstStyle>
            <a:lvl1pPr>
              <a:buNone/>
              <a:defRPr/>
            </a:lvl1pPr>
            <a:lvl2pPr marL="0" indent="0">
              <a:buNone/>
              <a:defRPr/>
            </a:lvl2pPr>
            <a:lvl3pPr marL="269325" indent="0">
              <a:buNone/>
              <a:defRPr/>
            </a:lvl3pPr>
            <a:lvl4pPr marL="538650" indent="0">
              <a:buNone/>
              <a:defRPr/>
            </a:lvl4pPr>
            <a:lvl5pPr marL="807975" indent="0">
              <a:buNone/>
              <a:defRPr/>
            </a:lvl5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12047620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oject Exa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099427" y="6408003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n-US" smtClean="0"/>
              <a:pPr/>
              <a:t>10/5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319588" y="6408003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385651" y="6408003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dcLeft"/>
          <p:cNvSpPr>
            <a:spLocks noGrp="1"/>
          </p:cNvSpPr>
          <p:nvPr>
            <p:ph type="body" sz="quarter" idx="25" hasCustomPrompt="1"/>
          </p:nvPr>
        </p:nvSpPr>
        <p:spPr>
          <a:xfrm>
            <a:off x="539752" y="2609853"/>
            <a:ext cx="1385888" cy="3307899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0"/>
              </a:spcAft>
              <a:defRPr sz="998" cap="all" baseline="0"/>
            </a:lvl1pPr>
            <a:lvl2pPr marL="0" indent="0">
              <a:spcBef>
                <a:spcPts val="200"/>
              </a:spcBef>
              <a:buNone/>
              <a:defRPr sz="898">
                <a:solidFill>
                  <a:schemeClr val="accent1"/>
                </a:solidFill>
              </a:defRPr>
            </a:lvl2pPr>
            <a:lvl3pPr marL="0" marR="0" indent="-143640" algn="l" defTabSz="912114" rtl="0" eaLnBrk="1" fontAlgn="auto" latinLnBrk="0" hangingPunct="1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898">
                <a:solidFill>
                  <a:schemeClr val="accent1"/>
                </a:solidFill>
              </a:defRPr>
            </a:lvl3pPr>
            <a:lvl4pPr marL="807975" indent="-269325">
              <a:buFont typeface="Arial" panose="020B0604020202020204" pitchFamily="34" charset="0"/>
              <a:buChar char="-"/>
              <a:defRPr sz="898"/>
            </a:lvl4pPr>
            <a:lvl5pPr marL="143640" indent="-143640">
              <a:spcBef>
                <a:spcPts val="200"/>
              </a:spcBef>
              <a:buFont typeface="Arial" panose="020B0604020202020204" pitchFamily="34" charset="0"/>
              <a:buChar char="•"/>
              <a:defRPr sz="898"/>
            </a:lvl5pPr>
            <a:lvl6pPr marL="143640" indent="-143640">
              <a:spcBef>
                <a:spcPts val="200"/>
              </a:spcBef>
              <a:buFont typeface="Arial" panose="020B0604020202020204" pitchFamily="34" charset="0"/>
              <a:buChar char="•"/>
              <a:defRPr sz="898"/>
            </a:lvl6pPr>
            <a:lvl7pPr marL="143640" indent="-143640">
              <a:spcBef>
                <a:spcPts val="200"/>
              </a:spcBef>
              <a:buFont typeface="Arial" panose="020B0604020202020204" pitchFamily="34" charset="0"/>
              <a:buChar char="•"/>
              <a:defRPr sz="898" baseline="0"/>
            </a:lvl7pPr>
            <a:lvl8pPr marL="143640" indent="-143640">
              <a:spcBef>
                <a:spcPts val="200"/>
              </a:spcBef>
              <a:buFont typeface="Arial" panose="020B0604020202020204" pitchFamily="34" charset="0"/>
              <a:buChar char="•"/>
              <a:defRPr sz="898" baseline="0"/>
            </a:lvl8pPr>
            <a:lvl9pPr marL="143640" indent="-143640">
              <a:spcBef>
                <a:spcPts val="200"/>
              </a:spcBef>
              <a:buFont typeface="Arial" panose="020B0604020202020204" pitchFamily="34" charset="0"/>
              <a:buChar char="•"/>
              <a:defRPr sz="898" baseline="0"/>
            </a:lvl9pPr>
          </a:lstStyle>
          <a:p>
            <a:pPr lvl="0"/>
            <a:r>
              <a:rPr lang="en-US"/>
              <a:t>%</a:t>
            </a:r>
            <a:r>
              <a:rPr lang="en-US" err="1"/>
              <a:t>DT:client</a:t>
            </a:r>
            <a:r>
              <a:rPr lang="en-US"/>
              <a:t>%</a:t>
            </a:r>
          </a:p>
          <a:p>
            <a:pPr lvl="1"/>
            <a:r>
              <a:rPr lang="en-US"/>
              <a:t>%</a:t>
            </a:r>
            <a:r>
              <a:rPr lang="en-US" err="1"/>
              <a:t>DT:ClientName</a:t>
            </a:r>
            <a:r>
              <a:rPr lang="en-US"/>
              <a:t>%</a:t>
            </a:r>
          </a:p>
          <a:p>
            <a:pPr lvl="0"/>
            <a:r>
              <a:rPr lang="en-US"/>
              <a:t>%</a:t>
            </a:r>
            <a:r>
              <a:rPr lang="en-US" err="1"/>
              <a:t>DT:Overallvalue</a:t>
            </a:r>
            <a:r>
              <a:rPr lang="en-US"/>
              <a:t>%</a:t>
            </a:r>
          </a:p>
          <a:p>
            <a:pPr lvl="1"/>
            <a:r>
              <a:rPr lang="en-US"/>
              <a:t>%</a:t>
            </a:r>
            <a:r>
              <a:rPr lang="en-US" err="1"/>
              <a:t>DT:Amount</a:t>
            </a:r>
            <a:r>
              <a:rPr lang="en-US"/>
              <a:t>%</a:t>
            </a:r>
          </a:p>
          <a:p>
            <a:pPr lvl="0"/>
            <a:r>
              <a:rPr lang="en-US"/>
              <a:t>%</a:t>
            </a:r>
            <a:r>
              <a:rPr lang="en-US" err="1"/>
              <a:t>DT:Productsservices</a:t>
            </a:r>
            <a:r>
              <a:rPr lang="en-US"/>
              <a:t>%</a:t>
            </a:r>
          </a:p>
          <a:p>
            <a:pPr lvl="2"/>
            <a:r>
              <a:rPr lang="en-US"/>
              <a:t>%DT:ProductService1%</a:t>
            </a:r>
          </a:p>
          <a:p>
            <a:pPr marL="0" marR="0" lvl="2" indent="-143640" algn="l" defTabSz="912114" rtl="0" eaLnBrk="1" fontAlgn="auto" latinLnBrk="0" hangingPunct="1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%DT:ProductService2%</a:t>
            </a:r>
          </a:p>
          <a:p>
            <a:pPr marL="0" marR="0" lvl="2" indent="-143640" algn="l" defTabSz="912114" rtl="0" eaLnBrk="1" fontAlgn="auto" latinLnBrk="0" hangingPunct="1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%DT:ProductService3%</a:t>
            </a:r>
          </a:p>
          <a:p>
            <a:pPr marL="0" marR="0" lvl="2" indent="-143640" algn="l" defTabSz="912114" rtl="0" eaLnBrk="1" fontAlgn="auto" latinLnBrk="0" hangingPunct="1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%DT:ProductService4%</a:t>
            </a:r>
          </a:p>
          <a:p>
            <a:pPr lvl="0"/>
            <a:r>
              <a:rPr lang="en-US"/>
              <a:t>%</a:t>
            </a:r>
            <a:r>
              <a:rPr lang="en-US" err="1"/>
              <a:t>DT:ProjectDates</a:t>
            </a:r>
            <a:r>
              <a:rPr lang="en-US"/>
              <a:t>%</a:t>
            </a:r>
          </a:p>
          <a:p>
            <a:pPr lvl="1"/>
            <a:r>
              <a:rPr lang="en-US"/>
              <a:t>%</a:t>
            </a:r>
            <a:r>
              <a:rPr lang="en-US" err="1"/>
              <a:t>DT:StartEndDates</a:t>
            </a:r>
            <a:r>
              <a:rPr lang="en-US"/>
              <a:t>%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2" hasCustomPrompt="1"/>
          </p:nvPr>
        </p:nvSpPr>
        <p:spPr bwMode="ltGray">
          <a:xfrm flipH="1">
            <a:off x="538662" y="1006475"/>
            <a:ext cx="8316413" cy="1332000"/>
          </a:xfrm>
          <a:prstGeom prst="snip1Rect">
            <a:avLst>
              <a:gd name="adj" fmla="val 21836"/>
            </a:avLst>
          </a:prstGeom>
          <a:solidFill>
            <a:schemeClr val="accent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33"/>
          </p:nvPr>
        </p:nvSpPr>
        <p:spPr>
          <a:xfrm>
            <a:off x="8855076" y="1006475"/>
            <a:ext cx="2771775" cy="1332000"/>
          </a:xfrm>
          <a:prstGeom prst="rect">
            <a:avLst/>
          </a:prstGeo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dcBody"/>
          <p:cNvSpPr>
            <a:spLocks noGrp="1"/>
          </p:cNvSpPr>
          <p:nvPr>
            <p:ph type="body" sz="half" idx="2" hasCustomPrompt="1"/>
          </p:nvPr>
        </p:nvSpPr>
        <p:spPr>
          <a:xfrm>
            <a:off x="2176463" y="3103783"/>
            <a:ext cx="9450386" cy="2813969"/>
          </a:xfrm>
          <a:prstGeom prst="rect">
            <a:avLst/>
          </a:prstGeom>
        </p:spPr>
        <p:txBody>
          <a:bodyPr numCol="2" spcCol="252000">
            <a:normAutofit/>
          </a:bodyPr>
          <a:lstStyle>
            <a:lvl1pPr>
              <a:spcBef>
                <a:spcPts val="200"/>
              </a:spcBef>
              <a:spcAft>
                <a:spcPts val="399"/>
              </a:spcAft>
              <a:defRPr sz="1197" b="1">
                <a:solidFill>
                  <a:schemeClr val="accent1"/>
                </a:solidFill>
              </a:defRPr>
            </a:lvl1pPr>
            <a:lvl2pPr marL="0" indent="0">
              <a:spcBef>
                <a:spcPts val="200"/>
              </a:spcBef>
              <a:spcAft>
                <a:spcPts val="399"/>
              </a:spcAft>
              <a:buFont typeface="Arial" panose="020B0604020202020204" pitchFamily="34" charset="0"/>
              <a:buChar char="​"/>
              <a:defRPr sz="998"/>
            </a:lvl2pPr>
            <a:lvl3pPr marL="269325" indent="-269325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998"/>
            </a:lvl3pPr>
            <a:lvl4pPr marL="538650" indent="-269325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998"/>
            </a:lvl4pPr>
            <a:lvl5pPr marL="807975" indent="-269325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998"/>
            </a:lvl5pPr>
            <a:lvl6pPr marL="1077300" indent="-269325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998"/>
            </a:lvl6pPr>
            <a:lvl7pPr marL="1346625" indent="-269325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998"/>
            </a:lvl7pPr>
            <a:lvl8pPr marL="1615950" indent="-269325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998"/>
            </a:lvl8pPr>
            <a:lvl9pPr marL="1885275" indent="-269325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998" baseline="0"/>
            </a:lvl9pPr>
          </a:lstStyle>
          <a:p>
            <a:pPr lvl="0"/>
            <a:r>
              <a:rPr lang="en-US"/>
              <a:t>%</a:t>
            </a:r>
            <a:r>
              <a:rPr lang="en-US" err="1"/>
              <a:t>DT:OurRole</a:t>
            </a:r>
            <a:r>
              <a:rPr lang="en-US"/>
              <a:t>%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pulvinar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pulvinar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.Third</a:t>
            </a:r>
            <a:r>
              <a:rPr lang="en-US"/>
              <a:t> level</a:t>
            </a:r>
          </a:p>
          <a:p>
            <a:pPr lvl="0"/>
            <a:r>
              <a:rPr lang="en-US"/>
              <a:t>%</a:t>
            </a:r>
            <a:r>
              <a:rPr lang="en-US" err="1"/>
              <a:t>DT:KeyChallenges</a:t>
            </a:r>
            <a:r>
              <a:rPr lang="en-US"/>
              <a:t>%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pulvinar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r>
              <a:rPr lang="en-US"/>
              <a:t>%</a:t>
            </a:r>
            <a:r>
              <a:rPr lang="en-US" err="1"/>
              <a:t>DT:InnovationBestPractice</a:t>
            </a:r>
            <a:r>
              <a:rPr lang="en-US"/>
              <a:t>%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pulvinar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endParaRPr lang="en-US"/>
          </a:p>
          <a:p>
            <a:pPr lvl="0"/>
            <a:r>
              <a:rPr lang="en-US"/>
              <a:t>%</a:t>
            </a:r>
            <a:r>
              <a:rPr lang="en-US" err="1"/>
              <a:t>DT:WhatWeAreProudOf</a:t>
            </a:r>
            <a:r>
              <a:rPr lang="en-US"/>
              <a:t>%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pulvinar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14" hasCustomPrompt="1"/>
          </p:nvPr>
        </p:nvSpPr>
        <p:spPr>
          <a:xfrm flipH="1">
            <a:off x="539750" y="1006475"/>
            <a:ext cx="288000" cy="288000"/>
          </a:xfrm>
          <a:prstGeom prst="rtTriangle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0" name="Title 11"/>
          <p:cNvSpPr>
            <a:spLocks noGrp="1"/>
          </p:cNvSpPr>
          <p:nvPr>
            <p:ph type="title" hasCustomPrompt="1"/>
          </p:nvPr>
        </p:nvSpPr>
        <p:spPr>
          <a:xfrm>
            <a:off x="864001" y="1294475"/>
            <a:ext cx="7738662" cy="498598"/>
          </a:xfrm>
          <a:prstGeom prst="rect">
            <a:avLst/>
          </a:prstGeom>
        </p:spPr>
        <p:txBody>
          <a:bodyPr/>
          <a:lstStyle>
            <a:lvl1pPr>
              <a:defRPr sz="1795" b="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864000" y="1894319"/>
            <a:ext cx="7738664" cy="221599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96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Add subtitle</a:t>
            </a:r>
          </a:p>
        </p:txBody>
      </p:sp>
      <p:sp>
        <p:nvSpPr>
          <p:cNvPr id="26" name="dcProductDescription"/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2177226" y="2610000"/>
            <a:ext cx="9451232" cy="388800"/>
          </a:xfrm>
          <a:prstGeom prst="rect">
            <a:avLst/>
          </a:prstGeom>
        </p:spPr>
        <p:txBody>
          <a:bodyPr/>
          <a:lstStyle>
            <a:lvl1pPr>
              <a:buNone/>
              <a:defRPr sz="1397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%</a:t>
            </a:r>
            <a:r>
              <a:rPr lang="en-US" err="1"/>
              <a:t>DT:Introduction</a:t>
            </a:r>
            <a:r>
              <a:rPr lang="en-US"/>
              <a:t>%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36" hasCustomPrompt="1"/>
          </p:nvPr>
        </p:nvSpPr>
        <p:spPr>
          <a:xfrm>
            <a:off x="7030800" y="5162400"/>
            <a:ext cx="4597200" cy="360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buNone/>
              <a:defRPr>
                <a:solidFill>
                  <a:schemeClr val="accent3"/>
                </a:solidFill>
              </a:defRPr>
            </a:lvl1pPr>
            <a:lvl2pPr marL="0" indent="0">
              <a:buNone/>
              <a:defRPr/>
            </a:lvl2pPr>
            <a:lvl3pPr marL="269325" indent="0">
              <a:buNone/>
              <a:defRPr/>
            </a:lvl3pPr>
            <a:lvl4pPr marL="538650" indent="0">
              <a:buNone/>
              <a:defRPr/>
            </a:lvl4pPr>
            <a:lvl5pPr marL="807975" indent="0">
              <a:buNone/>
              <a:defRPr/>
            </a:lvl5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5" name="dcRelevance"/>
          <p:cNvSpPr>
            <a:spLocks noGrp="1"/>
          </p:cNvSpPr>
          <p:nvPr userDrawn="1">
            <p:ph type="body" sz="quarter" idx="15" hasCustomPrompt="1"/>
          </p:nvPr>
        </p:nvSpPr>
        <p:spPr bwMode="ltGray">
          <a:xfrm>
            <a:off x="7028954" y="5419331"/>
            <a:ext cx="4597896" cy="568333"/>
          </a:xfrm>
          <a:prstGeom prst="rect">
            <a:avLst/>
          </a:prstGeom>
          <a:solidFill>
            <a:schemeClr val="accent3"/>
          </a:solidFill>
        </p:spPr>
        <p:txBody>
          <a:bodyPr wrap="square" lIns="216000" rIns="216000" bIns="21600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buNone/>
              <a:defRPr sz="1197" b="1" cap="all" baseline="0"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998"/>
            </a:lvl2pPr>
            <a:lvl3pPr marL="269325" indent="0">
              <a:buNone/>
              <a:defRPr/>
            </a:lvl3pPr>
            <a:lvl4pPr marL="538650" indent="0">
              <a:buNone/>
              <a:defRPr/>
            </a:lvl4pPr>
            <a:lvl5pPr marL="807975" indent="0">
              <a:buNone/>
              <a:defRPr/>
            </a:lvl5pPr>
          </a:lstStyle>
          <a:p>
            <a:pPr lvl="0"/>
            <a:r>
              <a:rPr lang="en-US"/>
              <a:t>%DT: </a:t>
            </a:r>
            <a:r>
              <a:rPr lang="en-US" err="1"/>
              <a:t>RelevanceToThisOpportunity</a:t>
            </a:r>
            <a:r>
              <a:rPr lang="en-US"/>
              <a:t>%</a:t>
            </a:r>
          </a:p>
          <a:p>
            <a:pPr lvl="1"/>
            <a:r>
              <a:rPr lang="en-US"/>
              <a:t>%</a:t>
            </a:r>
            <a:r>
              <a:rPr lang="en-US" err="1"/>
              <a:t>DT:RelevanceToThisOpportunityContent</a:t>
            </a:r>
            <a:r>
              <a:rPr lang="en-US"/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101557406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099427" y="6408003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n-US" smtClean="0"/>
              <a:pPr/>
              <a:t>10/5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319588" y="6408003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385651" y="6408003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dcLeft"/>
          <p:cNvSpPr>
            <a:spLocks noGrp="1"/>
          </p:cNvSpPr>
          <p:nvPr>
            <p:ph type="body" sz="quarter" idx="25" hasCustomPrompt="1"/>
          </p:nvPr>
        </p:nvSpPr>
        <p:spPr>
          <a:xfrm>
            <a:off x="539752" y="2302477"/>
            <a:ext cx="1385888" cy="3615275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0"/>
              </a:spcAft>
              <a:defRPr sz="998" cap="all" baseline="0"/>
            </a:lvl1pPr>
            <a:lvl2pPr marL="0" indent="0">
              <a:spcBef>
                <a:spcPts val="200"/>
              </a:spcBef>
              <a:buNone/>
              <a:defRPr sz="898">
                <a:solidFill>
                  <a:schemeClr val="accent1"/>
                </a:solidFill>
              </a:defRPr>
            </a:lvl2pPr>
            <a:lvl3pPr marL="0" marR="0" indent="-143640" algn="l" defTabSz="912114" rtl="0" eaLnBrk="1" fontAlgn="auto" latinLnBrk="0" hangingPunct="1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898">
                <a:solidFill>
                  <a:schemeClr val="accent1"/>
                </a:solidFill>
              </a:defRPr>
            </a:lvl3pPr>
            <a:lvl4pPr marL="807975" indent="-269325">
              <a:buFont typeface="Arial" panose="020B0604020202020204" pitchFamily="34" charset="0"/>
              <a:buChar char="-"/>
              <a:defRPr sz="898"/>
            </a:lvl4pPr>
            <a:lvl5pPr marL="143640" indent="-143640">
              <a:spcBef>
                <a:spcPts val="200"/>
              </a:spcBef>
              <a:buFont typeface="Arial" panose="020B0604020202020204" pitchFamily="34" charset="0"/>
              <a:buChar char="•"/>
              <a:defRPr sz="898"/>
            </a:lvl5pPr>
            <a:lvl6pPr marL="143640" indent="-143640">
              <a:spcBef>
                <a:spcPts val="200"/>
              </a:spcBef>
              <a:buFont typeface="Arial" panose="020B0604020202020204" pitchFamily="34" charset="0"/>
              <a:buChar char="•"/>
              <a:defRPr sz="898"/>
            </a:lvl6pPr>
            <a:lvl7pPr marL="143640" indent="-143640">
              <a:spcBef>
                <a:spcPts val="200"/>
              </a:spcBef>
              <a:buFont typeface="Arial" panose="020B0604020202020204" pitchFamily="34" charset="0"/>
              <a:buChar char="•"/>
              <a:defRPr sz="898" baseline="0"/>
            </a:lvl7pPr>
            <a:lvl8pPr marL="143640" indent="-143640">
              <a:spcBef>
                <a:spcPts val="200"/>
              </a:spcBef>
              <a:buFont typeface="Arial" panose="020B0604020202020204" pitchFamily="34" charset="0"/>
              <a:buChar char="•"/>
              <a:defRPr sz="898" baseline="0"/>
            </a:lvl8pPr>
            <a:lvl9pPr marL="143640" indent="-143640">
              <a:spcBef>
                <a:spcPts val="200"/>
              </a:spcBef>
              <a:buFont typeface="Arial" panose="020B0604020202020204" pitchFamily="34" charset="0"/>
              <a:buChar char="•"/>
              <a:defRPr sz="898" baseline="0"/>
            </a:lvl9pPr>
          </a:lstStyle>
          <a:p>
            <a:pPr lvl="0"/>
            <a:r>
              <a:rPr lang="en-US"/>
              <a:t>%</a:t>
            </a:r>
            <a:r>
              <a:rPr lang="en-US" err="1"/>
              <a:t>DT:AreasOfExpertise</a:t>
            </a:r>
            <a:r>
              <a:rPr lang="en-US"/>
              <a:t>%</a:t>
            </a:r>
          </a:p>
          <a:p>
            <a:pPr lvl="1"/>
            <a:r>
              <a:rPr lang="en-US"/>
              <a:t>%DT:Skill1%</a:t>
            </a:r>
          </a:p>
          <a:p>
            <a:pPr lvl="1"/>
            <a:r>
              <a:rPr lang="en-US"/>
              <a:t>%DT:Skill2%</a:t>
            </a:r>
          </a:p>
          <a:p>
            <a:pPr lvl="1"/>
            <a:r>
              <a:rPr lang="en-US"/>
              <a:t>%DT:Skill3%</a:t>
            </a:r>
          </a:p>
          <a:p>
            <a:pPr lvl="1"/>
            <a:r>
              <a:rPr lang="en-US"/>
              <a:t>%DT:Skill4%</a:t>
            </a:r>
          </a:p>
          <a:p>
            <a:pPr lvl="0"/>
            <a:r>
              <a:rPr lang="en-US"/>
              <a:t>%DT: Qualifications%</a:t>
            </a:r>
          </a:p>
          <a:p>
            <a:pPr lvl="1"/>
            <a:r>
              <a:rPr lang="en-US"/>
              <a:t>%DT:Qualification1%</a:t>
            </a:r>
          </a:p>
          <a:p>
            <a:pPr lvl="1"/>
            <a:r>
              <a:rPr lang="en-US"/>
              <a:t>%DT:Qualification2%</a:t>
            </a:r>
          </a:p>
          <a:p>
            <a:pPr lvl="1"/>
            <a:r>
              <a:rPr lang="en-US"/>
              <a:t>%DT:Qualification3%</a:t>
            </a:r>
          </a:p>
          <a:p>
            <a:pPr lvl="0"/>
            <a:r>
              <a:rPr lang="en-US"/>
              <a:t>%</a:t>
            </a:r>
            <a:r>
              <a:rPr lang="en-US" err="1"/>
              <a:t>DT:Position</a:t>
            </a:r>
            <a:r>
              <a:rPr lang="en-US"/>
              <a:t>%</a:t>
            </a:r>
          </a:p>
          <a:p>
            <a:pPr lvl="2"/>
            <a:r>
              <a:rPr lang="en-US"/>
              <a:t>%</a:t>
            </a:r>
            <a:r>
              <a:rPr lang="en-US" err="1"/>
              <a:t>DT:PositionHere</a:t>
            </a:r>
            <a:r>
              <a:rPr lang="en-US"/>
              <a:t>%</a:t>
            </a:r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32" hasCustomPrompt="1"/>
          </p:nvPr>
        </p:nvSpPr>
        <p:spPr bwMode="ltGray">
          <a:xfrm flipH="1">
            <a:off x="538661" y="1006475"/>
            <a:ext cx="9199064" cy="1008000"/>
          </a:xfrm>
          <a:prstGeom prst="snip1Rect">
            <a:avLst>
              <a:gd name="adj" fmla="val 29152"/>
            </a:avLst>
          </a:prstGeom>
          <a:solidFill>
            <a:schemeClr val="accent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33"/>
          </p:nvPr>
        </p:nvSpPr>
        <p:spPr>
          <a:xfrm>
            <a:off x="9988550" y="1006475"/>
            <a:ext cx="1638299" cy="1008000"/>
          </a:xfrm>
          <a:prstGeom prst="rect">
            <a:avLst/>
          </a:prstGeo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 Placeholder 14"/>
          <p:cNvSpPr>
            <a:spLocks noGrp="1"/>
          </p:cNvSpPr>
          <p:nvPr>
            <p:ph type="body" sz="quarter" idx="14" hasCustomPrompt="1"/>
          </p:nvPr>
        </p:nvSpPr>
        <p:spPr>
          <a:xfrm flipH="1">
            <a:off x="534985" y="1006475"/>
            <a:ext cx="288000" cy="288000"/>
          </a:xfrm>
          <a:prstGeom prst="rtTriangle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Title 11"/>
          <p:cNvSpPr>
            <a:spLocks noGrp="1"/>
          </p:cNvSpPr>
          <p:nvPr>
            <p:ph type="title" hasCustomPrompt="1"/>
          </p:nvPr>
        </p:nvSpPr>
        <p:spPr>
          <a:xfrm>
            <a:off x="864000" y="1294477"/>
            <a:ext cx="8661663" cy="24929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795" b="1" cap="all" baseline="0">
                <a:solidFill>
                  <a:schemeClr val="bg1"/>
                </a:solidFill>
              </a:defRPr>
            </a:lvl1pPr>
          </a:lstStyle>
          <a:p>
            <a:r>
              <a:rPr lang="en-US" err="1"/>
              <a:t>Firstname</a:t>
            </a:r>
            <a:r>
              <a:rPr lang="en-US"/>
              <a:t> Surnam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864000" y="1641602"/>
            <a:ext cx="8661665" cy="221599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397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Description or Subtitle</a:t>
            </a:r>
          </a:p>
        </p:txBody>
      </p:sp>
      <p:sp>
        <p:nvSpPr>
          <p:cNvPr id="12" name="dcProductDescription"/>
          <p:cNvSpPr>
            <a:spLocks noGrp="1"/>
          </p:cNvSpPr>
          <p:nvPr>
            <p:ph type="body" sz="quarter" idx="35" hasCustomPrompt="1"/>
          </p:nvPr>
        </p:nvSpPr>
        <p:spPr>
          <a:xfrm>
            <a:off x="2176463" y="2304000"/>
            <a:ext cx="9450386" cy="388800"/>
          </a:xfrm>
          <a:prstGeom prst="rect">
            <a:avLst/>
          </a:prstGeom>
        </p:spPr>
        <p:txBody>
          <a:bodyPr/>
          <a:lstStyle>
            <a:lvl1pPr>
              <a:buNone/>
              <a:defRPr sz="1397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%</a:t>
            </a:r>
            <a:r>
              <a:rPr lang="en-US" err="1"/>
              <a:t>DT:Introduction</a:t>
            </a:r>
            <a:r>
              <a:rPr lang="en-US"/>
              <a:t>%</a:t>
            </a:r>
          </a:p>
        </p:txBody>
      </p:sp>
      <p:sp>
        <p:nvSpPr>
          <p:cNvPr id="13" name="dcBody"/>
          <p:cNvSpPr>
            <a:spLocks noGrp="1"/>
          </p:cNvSpPr>
          <p:nvPr>
            <p:ph type="body" sz="half" idx="2" hasCustomPrompt="1"/>
          </p:nvPr>
        </p:nvSpPr>
        <p:spPr>
          <a:xfrm>
            <a:off x="2176463" y="2811601"/>
            <a:ext cx="9450386" cy="3106150"/>
          </a:xfrm>
          <a:prstGeom prst="rect">
            <a:avLst/>
          </a:prstGeom>
        </p:spPr>
        <p:txBody>
          <a:bodyPr numCol="2" spcCol="252000">
            <a:normAutofit/>
          </a:bodyPr>
          <a:lstStyle>
            <a:lvl1pPr>
              <a:spcBef>
                <a:spcPts val="200"/>
              </a:spcBef>
              <a:spcAft>
                <a:spcPts val="399"/>
              </a:spcAft>
              <a:buNone/>
              <a:defRPr sz="998" b="1">
                <a:solidFill>
                  <a:schemeClr val="tx1"/>
                </a:solidFill>
              </a:defRPr>
            </a:lvl1pPr>
            <a:lvl2pPr marL="0" indent="0">
              <a:spcBef>
                <a:spcPts val="1197"/>
              </a:spcBef>
              <a:spcAft>
                <a:spcPts val="399"/>
              </a:spcAft>
              <a:buFont typeface="Arial" panose="020B0604020202020204" pitchFamily="34" charset="0"/>
              <a:buChar char="​"/>
              <a:defRPr sz="1397" b="0">
                <a:solidFill>
                  <a:schemeClr val="tx1"/>
                </a:solidFill>
              </a:defRPr>
            </a:lvl2pPr>
            <a:lvl3pPr marL="0" indent="0">
              <a:spcBef>
                <a:spcPts val="1197"/>
              </a:spcBef>
              <a:spcAft>
                <a:spcPts val="399"/>
              </a:spcAft>
              <a:buFont typeface="Arial" panose="020B0604020202020204" pitchFamily="34" charset="0"/>
              <a:buChar char="​"/>
              <a:defRPr sz="1197" b="1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399"/>
              </a:spcAft>
              <a:buFont typeface="Arial" panose="020B0604020202020204" pitchFamily="34" charset="0"/>
              <a:buChar char="​"/>
              <a:defRPr sz="1047"/>
            </a:lvl4pPr>
            <a:lvl5pPr marL="0" indent="0">
              <a:spcBef>
                <a:spcPts val="200"/>
              </a:spcBef>
              <a:spcAft>
                <a:spcPts val="399"/>
              </a:spcAft>
              <a:buFont typeface="Arial" panose="020B0604020202020204" pitchFamily="34" charset="0"/>
              <a:buChar char="​"/>
              <a:defRPr sz="998"/>
            </a:lvl5pPr>
            <a:lvl6pPr marL="269325" indent="-269325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998"/>
            </a:lvl6pPr>
            <a:lvl7pPr marL="538650" indent="-269325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998"/>
            </a:lvl7pPr>
            <a:lvl8pPr marL="807975" indent="-269325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998"/>
            </a:lvl8pPr>
            <a:lvl9pPr marL="1077300" indent="-269325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998" baseline="0"/>
            </a:lvl9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pulvinar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  <a:p>
            <a:pPr lvl="2"/>
            <a:r>
              <a:rPr lang="en-US"/>
              <a:t>%DT: </a:t>
            </a:r>
            <a:r>
              <a:rPr lang="en-US" err="1"/>
              <a:t>SuitabilityToTheRole</a:t>
            </a:r>
            <a:r>
              <a:rPr lang="en-US"/>
              <a:t>%</a:t>
            </a:r>
          </a:p>
          <a:p>
            <a:pPr lvl="4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pulvinar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.Third</a:t>
            </a:r>
            <a:r>
              <a:rPr lang="en-US"/>
              <a:t> level</a:t>
            </a:r>
          </a:p>
          <a:p>
            <a:pPr lvl="2"/>
            <a:r>
              <a:rPr lang="en-US"/>
              <a:t>%DT: </a:t>
            </a:r>
            <a:r>
              <a:rPr lang="en-US" err="1"/>
              <a:t>RelevanceOfExperience</a:t>
            </a:r>
            <a:r>
              <a:rPr lang="en-US"/>
              <a:t>%</a:t>
            </a:r>
          </a:p>
          <a:p>
            <a:pPr lvl="4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pulvinar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  <a:p>
            <a:pPr lvl="1"/>
            <a:endParaRPr lang="en-US"/>
          </a:p>
          <a:p>
            <a:pPr lvl="1"/>
            <a:endParaRPr lang="en-US"/>
          </a:p>
          <a:p>
            <a:pPr lvl="1"/>
            <a:r>
              <a:rPr lang="en-US"/>
              <a:t>%</a:t>
            </a:r>
            <a:r>
              <a:rPr lang="en-US" err="1"/>
              <a:t>DT:ProjectExperience</a:t>
            </a:r>
            <a:r>
              <a:rPr lang="en-US"/>
              <a:t>%</a:t>
            </a:r>
          </a:p>
          <a:p>
            <a:pPr lvl="2"/>
            <a:r>
              <a:rPr lang="en-US"/>
              <a:t>%</a:t>
            </a:r>
            <a:r>
              <a:rPr lang="en-US" err="1"/>
              <a:t>DT:ProjectTitle</a:t>
            </a:r>
            <a:r>
              <a:rPr lang="en-US"/>
              <a:t>%</a:t>
            </a:r>
          </a:p>
          <a:p>
            <a:pPr lvl="3"/>
            <a:r>
              <a:rPr lang="en-US"/>
              <a:t>%</a:t>
            </a:r>
            <a:r>
              <a:rPr lang="en-US" err="1"/>
              <a:t>DT:ClientNameDateFee</a:t>
            </a:r>
            <a:r>
              <a:rPr lang="en-US"/>
              <a:t>%</a:t>
            </a:r>
          </a:p>
          <a:p>
            <a:pPr lvl="4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</a:t>
            </a:r>
          </a:p>
          <a:p>
            <a:pPr lvl="2"/>
            <a:r>
              <a:rPr lang="en-US"/>
              <a:t>%</a:t>
            </a:r>
            <a:r>
              <a:rPr lang="en-US" err="1"/>
              <a:t>DT:ProjectTitle</a:t>
            </a:r>
            <a:r>
              <a:rPr lang="en-US"/>
              <a:t>%</a:t>
            </a:r>
          </a:p>
          <a:p>
            <a:pPr lvl="3"/>
            <a:r>
              <a:rPr lang="en-US"/>
              <a:t>%</a:t>
            </a:r>
            <a:r>
              <a:rPr lang="en-US" err="1"/>
              <a:t>DT:ClientNameDateFee</a:t>
            </a:r>
            <a:r>
              <a:rPr lang="en-US"/>
              <a:t>%</a:t>
            </a:r>
          </a:p>
          <a:p>
            <a:pPr lvl="4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42389296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Divi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nip Single Corner Rectangle 8"/>
          <p:cNvSpPr/>
          <p:nvPr userDrawn="1"/>
        </p:nvSpPr>
        <p:spPr bwMode="ltGray">
          <a:xfrm flipH="1">
            <a:off x="539751" y="1620000"/>
            <a:ext cx="11087100" cy="4696663"/>
          </a:xfrm>
          <a:prstGeom prst="snip1Rect">
            <a:avLst>
              <a:gd name="adj" fmla="val 618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5"/>
          </a:p>
        </p:txBody>
      </p:sp>
      <p:sp>
        <p:nvSpPr>
          <p:cNvPr id="10" name="Right Triangle 9"/>
          <p:cNvSpPr/>
          <p:nvPr userDrawn="1"/>
        </p:nvSpPr>
        <p:spPr>
          <a:xfrm flipH="1">
            <a:off x="539750" y="1620000"/>
            <a:ext cx="288000" cy="28800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5"/>
          </a:p>
        </p:txBody>
      </p:sp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>
          <a:xfrm>
            <a:off x="1200001" y="1928372"/>
            <a:ext cx="8758917" cy="49859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dd section title</a:t>
            </a:r>
          </a:p>
        </p:txBody>
      </p:sp>
      <p:pic>
        <p:nvPicPr>
          <p:cNvPr id="3" name="sLogo">
            <a:extLst>
              <a:ext uri="{FF2B5EF4-FFF2-40B4-BE49-F238E27FC236}">
                <a16:creationId xmlns:a16="http://schemas.microsoft.com/office/drawing/2014/main" id="{505F6C35-44A5-4468-9B15-17AB73A124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02000" y="396003"/>
            <a:ext cx="2826000" cy="300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152317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Divider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nip Single Corner Rectangle 8"/>
          <p:cNvSpPr/>
          <p:nvPr userDrawn="1"/>
        </p:nvSpPr>
        <p:spPr bwMode="ltGray">
          <a:xfrm flipH="1">
            <a:off x="539751" y="1620000"/>
            <a:ext cx="11087100" cy="4696663"/>
          </a:xfrm>
          <a:prstGeom prst="snip1Rect">
            <a:avLst>
              <a:gd name="adj" fmla="val 6181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5"/>
          </a:p>
        </p:txBody>
      </p:sp>
      <p:sp>
        <p:nvSpPr>
          <p:cNvPr id="10" name="Right Triangle 9"/>
          <p:cNvSpPr/>
          <p:nvPr userDrawn="1"/>
        </p:nvSpPr>
        <p:spPr>
          <a:xfrm flipH="1">
            <a:off x="539750" y="1620000"/>
            <a:ext cx="288000" cy="28800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5"/>
          </a:p>
        </p:txBody>
      </p:sp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>
          <a:xfrm>
            <a:off x="1200001" y="1928372"/>
            <a:ext cx="8758917" cy="49859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dd section title</a:t>
            </a:r>
          </a:p>
        </p:txBody>
      </p:sp>
      <p:pic>
        <p:nvPicPr>
          <p:cNvPr id="3" name="sLogo">
            <a:extLst>
              <a:ext uri="{FF2B5EF4-FFF2-40B4-BE49-F238E27FC236}">
                <a16:creationId xmlns:a16="http://schemas.microsoft.com/office/drawing/2014/main" id="{9C47BE71-C9F2-4C61-BC4D-03BCCCD972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02000" y="396003"/>
            <a:ext cx="2826000" cy="300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8682570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1" y="950400"/>
            <a:ext cx="11087100" cy="49859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grpSp>
        <p:nvGrpSpPr>
          <p:cNvPr id="8" name="Group 7"/>
          <p:cNvGrpSpPr>
            <a:grpSpLocks/>
          </p:cNvGrpSpPr>
          <p:nvPr userDrawn="1"/>
        </p:nvGrpSpPr>
        <p:grpSpPr bwMode="auto">
          <a:xfrm>
            <a:off x="6334850" y="2029750"/>
            <a:ext cx="5292000" cy="3488400"/>
            <a:chOff x="2337" y="1166"/>
            <a:chExt cx="3011" cy="1984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2337" y="1166"/>
              <a:ext cx="1621" cy="1557"/>
            </a:xfrm>
            <a:custGeom>
              <a:avLst/>
              <a:gdLst>
                <a:gd name="T0" fmla="*/ 415 w 685"/>
                <a:gd name="T1" fmla="*/ 240 h 657"/>
                <a:gd name="T2" fmla="*/ 376 w 685"/>
                <a:gd name="T3" fmla="*/ 280 h 657"/>
                <a:gd name="T4" fmla="*/ 356 w 685"/>
                <a:gd name="T5" fmla="*/ 300 h 657"/>
                <a:gd name="T6" fmla="*/ 353 w 685"/>
                <a:gd name="T7" fmla="*/ 328 h 657"/>
                <a:gd name="T8" fmla="*/ 309 w 685"/>
                <a:gd name="T9" fmla="*/ 328 h 657"/>
                <a:gd name="T10" fmla="*/ 309 w 685"/>
                <a:gd name="T11" fmla="*/ 317 h 657"/>
                <a:gd name="T12" fmla="*/ 316 w 685"/>
                <a:gd name="T13" fmla="*/ 281 h 657"/>
                <a:gd name="T14" fmla="*/ 344 w 685"/>
                <a:gd name="T15" fmla="*/ 250 h 657"/>
                <a:gd name="T16" fmla="*/ 370 w 685"/>
                <a:gd name="T17" fmla="*/ 227 h 657"/>
                <a:gd name="T18" fmla="*/ 376 w 685"/>
                <a:gd name="T19" fmla="*/ 208 h 657"/>
                <a:gd name="T20" fmla="*/ 365 w 685"/>
                <a:gd name="T21" fmla="*/ 184 h 657"/>
                <a:gd name="T22" fmla="*/ 334 w 685"/>
                <a:gd name="T23" fmla="*/ 174 h 657"/>
                <a:gd name="T24" fmla="*/ 303 w 685"/>
                <a:gd name="T25" fmla="*/ 184 h 657"/>
                <a:gd name="T26" fmla="*/ 286 w 685"/>
                <a:gd name="T27" fmla="*/ 217 h 657"/>
                <a:gd name="T28" fmla="*/ 241 w 685"/>
                <a:gd name="T29" fmla="*/ 211 h 657"/>
                <a:gd name="T30" fmla="*/ 267 w 685"/>
                <a:gd name="T31" fmla="*/ 158 h 657"/>
                <a:gd name="T32" fmla="*/ 332 w 685"/>
                <a:gd name="T33" fmla="*/ 137 h 657"/>
                <a:gd name="T34" fmla="*/ 399 w 685"/>
                <a:gd name="T35" fmla="*/ 159 h 657"/>
                <a:gd name="T36" fmla="*/ 424 w 685"/>
                <a:gd name="T37" fmla="*/ 210 h 657"/>
                <a:gd name="T38" fmla="*/ 415 w 685"/>
                <a:gd name="T39" fmla="*/ 240 h 657"/>
                <a:gd name="T40" fmla="*/ 358 w 685"/>
                <a:gd name="T41" fmla="*/ 394 h 657"/>
                <a:gd name="T42" fmla="*/ 309 w 685"/>
                <a:gd name="T43" fmla="*/ 394 h 657"/>
                <a:gd name="T44" fmla="*/ 309 w 685"/>
                <a:gd name="T45" fmla="*/ 345 h 657"/>
                <a:gd name="T46" fmla="*/ 358 w 685"/>
                <a:gd name="T47" fmla="*/ 345 h 657"/>
                <a:gd name="T48" fmla="*/ 358 w 685"/>
                <a:gd name="T49" fmla="*/ 394 h 657"/>
                <a:gd name="T50" fmla="*/ 584 w 685"/>
                <a:gd name="T51" fmla="*/ 82 h 657"/>
                <a:gd name="T52" fmla="*/ 343 w 685"/>
                <a:gd name="T53" fmla="*/ 0 h 657"/>
                <a:gd name="T54" fmla="*/ 101 w 685"/>
                <a:gd name="T55" fmla="*/ 82 h 657"/>
                <a:gd name="T56" fmla="*/ 0 w 685"/>
                <a:gd name="T57" fmla="*/ 283 h 657"/>
                <a:gd name="T58" fmla="*/ 101 w 685"/>
                <a:gd name="T59" fmla="*/ 484 h 657"/>
                <a:gd name="T60" fmla="*/ 343 w 685"/>
                <a:gd name="T61" fmla="*/ 565 h 657"/>
                <a:gd name="T62" fmla="*/ 411 w 685"/>
                <a:gd name="T63" fmla="*/ 560 h 657"/>
                <a:gd name="T64" fmla="*/ 497 w 685"/>
                <a:gd name="T65" fmla="*/ 653 h 657"/>
                <a:gd name="T66" fmla="*/ 507 w 685"/>
                <a:gd name="T67" fmla="*/ 657 h 657"/>
                <a:gd name="T68" fmla="*/ 512 w 685"/>
                <a:gd name="T69" fmla="*/ 657 h 657"/>
                <a:gd name="T70" fmla="*/ 521 w 685"/>
                <a:gd name="T71" fmla="*/ 644 h 657"/>
                <a:gd name="T72" fmla="*/ 521 w 685"/>
                <a:gd name="T73" fmla="*/ 524 h 657"/>
                <a:gd name="T74" fmla="*/ 584 w 685"/>
                <a:gd name="T75" fmla="*/ 484 h 657"/>
                <a:gd name="T76" fmla="*/ 685 w 685"/>
                <a:gd name="T77" fmla="*/ 283 h 657"/>
                <a:gd name="T78" fmla="*/ 584 w 685"/>
                <a:gd name="T79" fmla="*/ 82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85" h="657">
                  <a:moveTo>
                    <a:pt x="415" y="240"/>
                  </a:moveTo>
                  <a:cubicBezTo>
                    <a:pt x="409" y="250"/>
                    <a:pt x="396" y="263"/>
                    <a:pt x="376" y="280"/>
                  </a:cubicBezTo>
                  <a:cubicBezTo>
                    <a:pt x="365" y="288"/>
                    <a:pt x="359" y="295"/>
                    <a:pt x="356" y="300"/>
                  </a:cubicBezTo>
                  <a:cubicBezTo>
                    <a:pt x="354" y="306"/>
                    <a:pt x="353" y="315"/>
                    <a:pt x="353" y="328"/>
                  </a:cubicBezTo>
                  <a:cubicBezTo>
                    <a:pt x="309" y="328"/>
                    <a:pt x="309" y="328"/>
                    <a:pt x="309" y="328"/>
                  </a:cubicBezTo>
                  <a:cubicBezTo>
                    <a:pt x="309" y="322"/>
                    <a:pt x="309" y="318"/>
                    <a:pt x="309" y="317"/>
                  </a:cubicBezTo>
                  <a:cubicBezTo>
                    <a:pt x="309" y="302"/>
                    <a:pt x="311" y="291"/>
                    <a:pt x="316" y="281"/>
                  </a:cubicBezTo>
                  <a:cubicBezTo>
                    <a:pt x="320" y="272"/>
                    <a:pt x="330" y="262"/>
                    <a:pt x="344" y="250"/>
                  </a:cubicBezTo>
                  <a:cubicBezTo>
                    <a:pt x="358" y="238"/>
                    <a:pt x="367" y="231"/>
                    <a:pt x="370" y="227"/>
                  </a:cubicBezTo>
                  <a:cubicBezTo>
                    <a:pt x="374" y="222"/>
                    <a:pt x="376" y="215"/>
                    <a:pt x="376" y="208"/>
                  </a:cubicBezTo>
                  <a:cubicBezTo>
                    <a:pt x="376" y="199"/>
                    <a:pt x="372" y="191"/>
                    <a:pt x="365" y="184"/>
                  </a:cubicBezTo>
                  <a:cubicBezTo>
                    <a:pt x="357" y="177"/>
                    <a:pt x="347" y="174"/>
                    <a:pt x="334" y="174"/>
                  </a:cubicBezTo>
                  <a:cubicBezTo>
                    <a:pt x="322" y="174"/>
                    <a:pt x="311" y="177"/>
                    <a:pt x="303" y="184"/>
                  </a:cubicBezTo>
                  <a:cubicBezTo>
                    <a:pt x="295" y="192"/>
                    <a:pt x="289" y="202"/>
                    <a:pt x="286" y="217"/>
                  </a:cubicBezTo>
                  <a:cubicBezTo>
                    <a:pt x="241" y="211"/>
                    <a:pt x="241" y="211"/>
                    <a:pt x="241" y="211"/>
                  </a:cubicBezTo>
                  <a:cubicBezTo>
                    <a:pt x="242" y="190"/>
                    <a:pt x="251" y="173"/>
                    <a:pt x="267" y="158"/>
                  </a:cubicBezTo>
                  <a:cubicBezTo>
                    <a:pt x="284" y="144"/>
                    <a:pt x="305" y="137"/>
                    <a:pt x="332" y="137"/>
                  </a:cubicBezTo>
                  <a:cubicBezTo>
                    <a:pt x="360" y="137"/>
                    <a:pt x="382" y="144"/>
                    <a:pt x="399" y="159"/>
                  </a:cubicBezTo>
                  <a:cubicBezTo>
                    <a:pt x="416" y="173"/>
                    <a:pt x="424" y="190"/>
                    <a:pt x="424" y="210"/>
                  </a:cubicBezTo>
                  <a:cubicBezTo>
                    <a:pt x="424" y="221"/>
                    <a:pt x="421" y="231"/>
                    <a:pt x="415" y="240"/>
                  </a:cubicBezTo>
                  <a:moveTo>
                    <a:pt x="358" y="394"/>
                  </a:moveTo>
                  <a:cubicBezTo>
                    <a:pt x="309" y="394"/>
                    <a:pt x="309" y="394"/>
                    <a:pt x="309" y="394"/>
                  </a:cubicBezTo>
                  <a:cubicBezTo>
                    <a:pt x="309" y="345"/>
                    <a:pt x="309" y="345"/>
                    <a:pt x="309" y="345"/>
                  </a:cubicBezTo>
                  <a:cubicBezTo>
                    <a:pt x="358" y="345"/>
                    <a:pt x="358" y="345"/>
                    <a:pt x="358" y="345"/>
                  </a:cubicBezTo>
                  <a:lnTo>
                    <a:pt x="358" y="394"/>
                  </a:lnTo>
                  <a:close/>
                  <a:moveTo>
                    <a:pt x="584" y="82"/>
                  </a:moveTo>
                  <a:cubicBezTo>
                    <a:pt x="520" y="29"/>
                    <a:pt x="434" y="0"/>
                    <a:pt x="343" y="0"/>
                  </a:cubicBezTo>
                  <a:cubicBezTo>
                    <a:pt x="252" y="0"/>
                    <a:pt x="166" y="29"/>
                    <a:pt x="101" y="82"/>
                  </a:cubicBezTo>
                  <a:cubicBezTo>
                    <a:pt x="36" y="136"/>
                    <a:pt x="0" y="207"/>
                    <a:pt x="0" y="283"/>
                  </a:cubicBezTo>
                  <a:cubicBezTo>
                    <a:pt x="0" y="359"/>
                    <a:pt x="36" y="430"/>
                    <a:pt x="101" y="484"/>
                  </a:cubicBezTo>
                  <a:cubicBezTo>
                    <a:pt x="166" y="536"/>
                    <a:pt x="252" y="565"/>
                    <a:pt x="343" y="565"/>
                  </a:cubicBezTo>
                  <a:cubicBezTo>
                    <a:pt x="366" y="565"/>
                    <a:pt x="389" y="564"/>
                    <a:pt x="411" y="560"/>
                  </a:cubicBezTo>
                  <a:cubicBezTo>
                    <a:pt x="497" y="653"/>
                    <a:pt x="497" y="653"/>
                    <a:pt x="497" y="653"/>
                  </a:cubicBezTo>
                  <a:cubicBezTo>
                    <a:pt x="500" y="656"/>
                    <a:pt x="504" y="657"/>
                    <a:pt x="507" y="657"/>
                  </a:cubicBezTo>
                  <a:cubicBezTo>
                    <a:pt x="509" y="657"/>
                    <a:pt x="511" y="657"/>
                    <a:pt x="512" y="657"/>
                  </a:cubicBezTo>
                  <a:cubicBezTo>
                    <a:pt x="518" y="654"/>
                    <a:pt x="521" y="649"/>
                    <a:pt x="521" y="644"/>
                  </a:cubicBezTo>
                  <a:cubicBezTo>
                    <a:pt x="521" y="524"/>
                    <a:pt x="521" y="524"/>
                    <a:pt x="521" y="524"/>
                  </a:cubicBezTo>
                  <a:cubicBezTo>
                    <a:pt x="544" y="513"/>
                    <a:pt x="565" y="499"/>
                    <a:pt x="584" y="484"/>
                  </a:cubicBezTo>
                  <a:cubicBezTo>
                    <a:pt x="649" y="430"/>
                    <a:pt x="685" y="359"/>
                    <a:pt x="685" y="283"/>
                  </a:cubicBezTo>
                  <a:cubicBezTo>
                    <a:pt x="685" y="207"/>
                    <a:pt x="649" y="136"/>
                    <a:pt x="584" y="82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sz="1795"/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745" y="1590"/>
              <a:ext cx="1603" cy="1560"/>
            </a:xfrm>
            <a:custGeom>
              <a:avLst/>
              <a:gdLst>
                <a:gd name="T0" fmla="*/ 499 w 677"/>
                <a:gd name="T1" fmla="*/ 316 h 658"/>
                <a:gd name="T2" fmla="*/ 457 w 677"/>
                <a:gd name="T3" fmla="*/ 275 h 658"/>
                <a:gd name="T4" fmla="*/ 499 w 677"/>
                <a:gd name="T5" fmla="*/ 234 h 658"/>
                <a:gd name="T6" fmla="*/ 540 w 677"/>
                <a:gd name="T7" fmla="*/ 275 h 658"/>
                <a:gd name="T8" fmla="*/ 499 w 677"/>
                <a:gd name="T9" fmla="*/ 316 h 658"/>
                <a:gd name="T10" fmla="*/ 335 w 677"/>
                <a:gd name="T11" fmla="*/ 316 h 658"/>
                <a:gd name="T12" fmla="*/ 293 w 677"/>
                <a:gd name="T13" fmla="*/ 275 h 658"/>
                <a:gd name="T14" fmla="*/ 335 w 677"/>
                <a:gd name="T15" fmla="*/ 234 h 658"/>
                <a:gd name="T16" fmla="*/ 376 w 677"/>
                <a:gd name="T17" fmla="*/ 275 h 658"/>
                <a:gd name="T18" fmla="*/ 335 w 677"/>
                <a:gd name="T19" fmla="*/ 316 h 658"/>
                <a:gd name="T20" fmla="*/ 170 w 677"/>
                <a:gd name="T21" fmla="*/ 316 h 658"/>
                <a:gd name="T22" fmla="*/ 129 w 677"/>
                <a:gd name="T23" fmla="*/ 275 h 658"/>
                <a:gd name="T24" fmla="*/ 170 w 677"/>
                <a:gd name="T25" fmla="*/ 234 h 658"/>
                <a:gd name="T26" fmla="*/ 211 w 677"/>
                <a:gd name="T27" fmla="*/ 275 h 658"/>
                <a:gd name="T28" fmla="*/ 170 w 677"/>
                <a:gd name="T29" fmla="*/ 316 h 658"/>
                <a:gd name="T30" fmla="*/ 575 w 677"/>
                <a:gd name="T31" fmla="*/ 82 h 658"/>
                <a:gd name="T32" fmla="*/ 334 w 677"/>
                <a:gd name="T33" fmla="*/ 0 h 658"/>
                <a:gd name="T34" fmla="*/ 126 w 677"/>
                <a:gd name="T35" fmla="*/ 59 h 658"/>
                <a:gd name="T36" fmla="*/ 129 w 677"/>
                <a:gd name="T37" fmla="*/ 104 h 658"/>
                <a:gd name="T38" fmla="*/ 14 w 677"/>
                <a:gd name="T39" fmla="*/ 335 h 658"/>
                <a:gd name="T40" fmla="*/ 0 w 677"/>
                <a:gd name="T41" fmla="*/ 345 h 658"/>
                <a:gd name="T42" fmla="*/ 93 w 677"/>
                <a:gd name="T43" fmla="*/ 484 h 658"/>
                <a:gd name="T44" fmla="*/ 156 w 677"/>
                <a:gd name="T45" fmla="*/ 524 h 658"/>
                <a:gd name="T46" fmla="*/ 156 w 677"/>
                <a:gd name="T47" fmla="*/ 644 h 658"/>
                <a:gd name="T48" fmla="*/ 164 w 677"/>
                <a:gd name="T49" fmla="*/ 657 h 658"/>
                <a:gd name="T50" fmla="*/ 169 w 677"/>
                <a:gd name="T51" fmla="*/ 658 h 658"/>
                <a:gd name="T52" fmla="*/ 180 w 677"/>
                <a:gd name="T53" fmla="*/ 653 h 658"/>
                <a:gd name="T54" fmla="*/ 266 w 677"/>
                <a:gd name="T55" fmla="*/ 560 h 658"/>
                <a:gd name="T56" fmla="*/ 334 w 677"/>
                <a:gd name="T57" fmla="*/ 565 h 658"/>
                <a:gd name="T58" fmla="*/ 575 w 677"/>
                <a:gd name="T59" fmla="*/ 484 h 658"/>
                <a:gd name="T60" fmla="*/ 677 w 677"/>
                <a:gd name="T61" fmla="*/ 283 h 658"/>
                <a:gd name="T62" fmla="*/ 575 w 677"/>
                <a:gd name="T63" fmla="*/ 82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77" h="658">
                  <a:moveTo>
                    <a:pt x="499" y="316"/>
                  </a:moveTo>
                  <a:cubicBezTo>
                    <a:pt x="476" y="316"/>
                    <a:pt x="457" y="298"/>
                    <a:pt x="457" y="275"/>
                  </a:cubicBezTo>
                  <a:cubicBezTo>
                    <a:pt x="457" y="252"/>
                    <a:pt x="476" y="234"/>
                    <a:pt x="499" y="234"/>
                  </a:cubicBezTo>
                  <a:cubicBezTo>
                    <a:pt x="521" y="234"/>
                    <a:pt x="540" y="252"/>
                    <a:pt x="540" y="275"/>
                  </a:cubicBezTo>
                  <a:cubicBezTo>
                    <a:pt x="540" y="298"/>
                    <a:pt x="521" y="316"/>
                    <a:pt x="499" y="316"/>
                  </a:cubicBezTo>
                  <a:moveTo>
                    <a:pt x="335" y="316"/>
                  </a:moveTo>
                  <a:cubicBezTo>
                    <a:pt x="312" y="316"/>
                    <a:pt x="293" y="298"/>
                    <a:pt x="293" y="275"/>
                  </a:cubicBezTo>
                  <a:cubicBezTo>
                    <a:pt x="293" y="252"/>
                    <a:pt x="312" y="234"/>
                    <a:pt x="335" y="234"/>
                  </a:cubicBezTo>
                  <a:cubicBezTo>
                    <a:pt x="357" y="234"/>
                    <a:pt x="376" y="252"/>
                    <a:pt x="376" y="275"/>
                  </a:cubicBezTo>
                  <a:cubicBezTo>
                    <a:pt x="376" y="298"/>
                    <a:pt x="357" y="316"/>
                    <a:pt x="335" y="316"/>
                  </a:cubicBezTo>
                  <a:moveTo>
                    <a:pt x="170" y="316"/>
                  </a:moveTo>
                  <a:cubicBezTo>
                    <a:pt x="147" y="316"/>
                    <a:pt x="129" y="298"/>
                    <a:pt x="129" y="275"/>
                  </a:cubicBezTo>
                  <a:cubicBezTo>
                    <a:pt x="129" y="252"/>
                    <a:pt x="147" y="234"/>
                    <a:pt x="170" y="234"/>
                  </a:cubicBezTo>
                  <a:cubicBezTo>
                    <a:pt x="192" y="234"/>
                    <a:pt x="211" y="252"/>
                    <a:pt x="211" y="275"/>
                  </a:cubicBezTo>
                  <a:cubicBezTo>
                    <a:pt x="211" y="298"/>
                    <a:pt x="192" y="316"/>
                    <a:pt x="170" y="316"/>
                  </a:cubicBezTo>
                  <a:moveTo>
                    <a:pt x="575" y="82"/>
                  </a:moveTo>
                  <a:cubicBezTo>
                    <a:pt x="511" y="29"/>
                    <a:pt x="425" y="0"/>
                    <a:pt x="334" y="0"/>
                  </a:cubicBezTo>
                  <a:cubicBezTo>
                    <a:pt x="258" y="0"/>
                    <a:pt x="185" y="21"/>
                    <a:pt x="126" y="59"/>
                  </a:cubicBezTo>
                  <a:cubicBezTo>
                    <a:pt x="128" y="73"/>
                    <a:pt x="129" y="89"/>
                    <a:pt x="129" y="104"/>
                  </a:cubicBezTo>
                  <a:cubicBezTo>
                    <a:pt x="129" y="192"/>
                    <a:pt x="88" y="274"/>
                    <a:pt x="14" y="335"/>
                  </a:cubicBezTo>
                  <a:cubicBezTo>
                    <a:pt x="9" y="338"/>
                    <a:pt x="5" y="342"/>
                    <a:pt x="0" y="345"/>
                  </a:cubicBezTo>
                  <a:cubicBezTo>
                    <a:pt x="14" y="397"/>
                    <a:pt x="46" y="445"/>
                    <a:pt x="93" y="484"/>
                  </a:cubicBezTo>
                  <a:cubicBezTo>
                    <a:pt x="112" y="499"/>
                    <a:pt x="133" y="513"/>
                    <a:pt x="156" y="524"/>
                  </a:cubicBezTo>
                  <a:cubicBezTo>
                    <a:pt x="156" y="644"/>
                    <a:pt x="156" y="644"/>
                    <a:pt x="156" y="644"/>
                  </a:cubicBezTo>
                  <a:cubicBezTo>
                    <a:pt x="156" y="649"/>
                    <a:pt x="159" y="655"/>
                    <a:pt x="164" y="657"/>
                  </a:cubicBezTo>
                  <a:cubicBezTo>
                    <a:pt x="166" y="657"/>
                    <a:pt x="168" y="658"/>
                    <a:pt x="169" y="658"/>
                  </a:cubicBezTo>
                  <a:cubicBezTo>
                    <a:pt x="173" y="658"/>
                    <a:pt x="177" y="656"/>
                    <a:pt x="180" y="653"/>
                  </a:cubicBezTo>
                  <a:cubicBezTo>
                    <a:pt x="266" y="560"/>
                    <a:pt x="266" y="560"/>
                    <a:pt x="266" y="560"/>
                  </a:cubicBezTo>
                  <a:cubicBezTo>
                    <a:pt x="288" y="564"/>
                    <a:pt x="311" y="565"/>
                    <a:pt x="334" y="565"/>
                  </a:cubicBezTo>
                  <a:cubicBezTo>
                    <a:pt x="425" y="565"/>
                    <a:pt x="511" y="536"/>
                    <a:pt x="575" y="484"/>
                  </a:cubicBezTo>
                  <a:cubicBezTo>
                    <a:pt x="641" y="430"/>
                    <a:pt x="677" y="359"/>
                    <a:pt x="677" y="283"/>
                  </a:cubicBezTo>
                  <a:cubicBezTo>
                    <a:pt x="677" y="207"/>
                    <a:pt x="641" y="136"/>
                    <a:pt x="575" y="82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sz="1795"/>
            </a:p>
          </p:txBody>
        </p:sp>
      </p:grpSp>
      <p:sp>
        <p:nvSpPr>
          <p:cNvPr id="6" name="Rectangle 5"/>
          <p:cNvSpPr/>
          <p:nvPr userDrawn="1"/>
        </p:nvSpPr>
        <p:spPr bwMode="white">
          <a:xfrm>
            <a:off x="0" y="6316666"/>
            <a:ext cx="12192000" cy="54133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5"/>
          </a:p>
        </p:txBody>
      </p:sp>
    </p:spTree>
    <p:extLst>
      <p:ext uri="{BB962C8B-B14F-4D97-AF65-F5344CB8AC3E}">
        <p14:creationId xmlns:p14="http://schemas.microsoft.com/office/powerpoint/2010/main" val="1350811188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ltGray">
          <a:xfrm flipH="1">
            <a:off x="0" y="1800000"/>
            <a:ext cx="12192000" cy="50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5"/>
          </a:p>
        </p:txBody>
      </p:sp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>
          <a:xfrm>
            <a:off x="720000" y="2237466"/>
            <a:ext cx="10752000" cy="83099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5985">
                <a:solidFill>
                  <a:schemeClr val="bg1"/>
                </a:solidFill>
              </a:defRPr>
            </a:lvl1pPr>
          </a:lstStyle>
          <a:p>
            <a:r>
              <a:rPr lang="en-US"/>
              <a:t>Add title</a:t>
            </a:r>
          </a:p>
        </p:txBody>
      </p:sp>
      <p:pic>
        <p:nvPicPr>
          <p:cNvPr id="3" name="sLogo">
            <a:extLst>
              <a:ext uri="{FF2B5EF4-FFF2-40B4-BE49-F238E27FC236}">
                <a16:creationId xmlns:a16="http://schemas.microsoft.com/office/drawing/2014/main" id="{3A18C7AE-1C06-4771-A800-14B9A79574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8000" y="396000"/>
            <a:ext cx="3420000" cy="363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580217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mproving Qua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099427" y="6408003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n-US" smtClean="0"/>
              <a:pPr/>
              <a:t>10/5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319588" y="6408003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385651" y="6408003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Box 5"/>
          <p:cNvSpPr txBox="1"/>
          <p:nvPr userDrawn="1"/>
        </p:nvSpPr>
        <p:spPr>
          <a:xfrm>
            <a:off x="540000" y="2792237"/>
            <a:ext cx="6084011" cy="122084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4438"/>
              </a:lnSpc>
            </a:pPr>
            <a:r>
              <a:rPr lang="en-US" sz="4389">
                <a:solidFill>
                  <a:srgbClr val="000000"/>
                </a:solidFill>
                <a:latin typeface="Arial"/>
                <a:cs typeface="Arial"/>
              </a:rPr>
              <a:t>Arcadis.</a:t>
            </a:r>
          </a:p>
          <a:p>
            <a:pPr>
              <a:lnSpc>
                <a:spcPts val="4438"/>
              </a:lnSpc>
            </a:pPr>
            <a:r>
              <a:rPr lang="en-US" sz="4389">
                <a:solidFill>
                  <a:srgbClr val="E4610F"/>
                </a:solidFill>
                <a:latin typeface="Arial"/>
                <a:cs typeface="Arial"/>
              </a:rPr>
              <a:t>Improving quality of life.</a:t>
            </a:r>
          </a:p>
        </p:txBody>
      </p:sp>
    </p:spTree>
    <p:extLst>
      <p:ext uri="{BB962C8B-B14F-4D97-AF65-F5344CB8AC3E}">
        <p14:creationId xmlns:p14="http://schemas.microsoft.com/office/powerpoint/2010/main" val="2648061813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720000" y="1008000"/>
            <a:ext cx="10752000" cy="630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baseline="0"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6" name="Kicker"/>
          <p:cNvSpPr>
            <a:spLocks noGrp="1"/>
          </p:cNvSpPr>
          <p:nvPr>
            <p:ph type="body" sz="quarter" idx="12" hasCustomPrompt="1"/>
          </p:nvPr>
        </p:nvSpPr>
        <p:spPr>
          <a:xfrm>
            <a:off x="720000" y="5854300"/>
            <a:ext cx="10752000" cy="446633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txBody>
          <a:bodyPr tIns="108000" bIns="108000" anchor="b" anchorCtr="1">
            <a:spAutoFit/>
          </a:bodyPr>
          <a:lstStyle>
            <a:lvl1pPr marL="0" marR="0" indent="0" algn="ctr" defTabSz="684086" rtl="0" eaLnBrk="1" fontAlgn="auto" latinLnBrk="0" hangingPunct="1">
              <a:lnSpc>
                <a:spcPct val="90000"/>
              </a:lnSpc>
              <a:spcBef>
                <a:spcPts val="449"/>
              </a:spcBef>
              <a:spcAft>
                <a:spcPts val="898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46" b="1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684086" rtl="0" eaLnBrk="1" fontAlgn="auto" latinLnBrk="0" hangingPunct="1">
              <a:lnSpc>
                <a:spcPct val="90000"/>
              </a:lnSpc>
              <a:spcBef>
                <a:spcPts val="449"/>
              </a:spcBef>
              <a:spcAft>
                <a:spcPts val="898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kicker or ‘so what’. Delete if not required.</a:t>
            </a:r>
          </a:p>
        </p:txBody>
      </p:sp>
      <p:sp>
        <p:nvSpPr>
          <p:cNvPr id="7" name="Content"/>
          <p:cNvSpPr>
            <a:spLocks noGrp="1"/>
          </p:cNvSpPr>
          <p:nvPr>
            <p:ph sz="quarter" idx="11" hasCustomPrompt="1"/>
          </p:nvPr>
        </p:nvSpPr>
        <p:spPr>
          <a:xfrm>
            <a:off x="720000" y="1656001"/>
            <a:ext cx="10752000" cy="400502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47" baseline="0"/>
            </a:lvl1pPr>
            <a:lvl2pPr marL="201900" marR="0" indent="-201900" algn="l" defTabSz="684086" rtl="0" eaLnBrk="1" fontAlgn="auto" latinLnBrk="0" hangingPunct="1">
              <a:lnSpc>
                <a:spcPct val="90000"/>
              </a:lnSpc>
              <a:spcBef>
                <a:spcPts val="224"/>
              </a:spcBef>
              <a:spcAft>
                <a:spcPts val="449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197">
                <a:solidFill>
                  <a:schemeClr val="tx1"/>
                </a:solidFill>
              </a:defRPr>
            </a:lvl2pPr>
            <a:lvl3pPr>
              <a:defRPr sz="1047">
                <a:solidFill>
                  <a:schemeClr val="tx1"/>
                </a:solidFill>
              </a:defRPr>
            </a:lvl3pPr>
            <a:lvl4pPr>
              <a:defRPr sz="898">
                <a:solidFill>
                  <a:schemeClr val="tx1"/>
                </a:solidFill>
              </a:defRPr>
            </a:lvl4pPr>
            <a:lvl5pPr>
              <a:defRPr sz="898">
                <a:solidFill>
                  <a:schemeClr val="tx1"/>
                </a:solidFill>
              </a:defRPr>
            </a:lvl5pPr>
          </a:lstStyle>
          <a:p>
            <a:pPr marL="201900" marR="0" lvl="1" indent="-201900" algn="l" defTabSz="684086" rtl="0" eaLnBrk="1" fontAlgn="auto" latinLnBrk="0" hangingPunct="1">
              <a:lnSpc>
                <a:spcPct val="90000"/>
              </a:lnSpc>
              <a:spcBef>
                <a:spcPts val="224"/>
              </a:spcBef>
              <a:spcAft>
                <a:spcPts val="449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Click to add text, tables, charts, smart art, pictures or media</a:t>
            </a:r>
          </a:p>
          <a:p>
            <a:pPr lvl="1"/>
            <a:r>
              <a:rPr lang="en-US"/>
              <a:t>First bullet</a:t>
            </a:r>
          </a:p>
          <a:p>
            <a:pPr lvl="2"/>
            <a:r>
              <a:rPr lang="en-US"/>
              <a:t>Second bullet</a:t>
            </a:r>
          </a:p>
          <a:p>
            <a:pPr lvl="3"/>
            <a:r>
              <a:rPr lang="en-US"/>
              <a:t>Third bullet</a:t>
            </a:r>
          </a:p>
          <a:p>
            <a:pPr lvl="4"/>
            <a:r>
              <a:rPr lang="en-US"/>
              <a:t>Fourth bullet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3"/>
          </p:nvPr>
        </p:nvSpPr>
        <p:spPr>
          <a:xfrm>
            <a:off x="8099427" y="6408003"/>
            <a:ext cx="3178800" cy="138499"/>
          </a:xfrm>
          <a:prstGeom prst="rect">
            <a:avLst/>
          </a:prstGeom>
        </p:spPr>
        <p:txBody>
          <a:bodyPr/>
          <a:lstStyle/>
          <a:p>
            <a:fld id="{7174028F-FC55-4814-9D01-B1C00550C2C3}" type="datetime4">
              <a:rPr lang="en-US">
                <a:solidFill>
                  <a:srgbClr val="B3B3B3"/>
                </a:solidFill>
              </a:rPr>
              <a:pPr/>
              <a:t>October 5, 2025</a:t>
            </a:fld>
            <a:endParaRPr>
              <a:solidFill>
                <a:srgbClr val="B3B3B3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>
          <a:xfrm>
            <a:off x="4319588" y="6408003"/>
            <a:ext cx="3527425" cy="138499"/>
          </a:xfrm>
          <a:prstGeom prst="rect">
            <a:avLst/>
          </a:prstGeom>
        </p:spPr>
        <p:txBody>
          <a:bodyPr/>
          <a:lstStyle/>
          <a:p>
            <a:endParaRPr>
              <a:solidFill>
                <a:srgbClr val="B3B3B3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>
          <a:xfrm>
            <a:off x="11385651" y="6408003"/>
            <a:ext cx="241200" cy="138499"/>
          </a:xfrm>
          <a:prstGeom prst="rect">
            <a:avLst/>
          </a:prstGeom>
        </p:spPr>
        <p:txBody>
          <a:bodyPr/>
          <a:lstStyle/>
          <a:p>
            <a:fld id="{203C551C-83BB-4568-94F6-AC8A8312A04A}" type="slidenum">
              <a:rPr lang="en-GB">
                <a:solidFill>
                  <a:srgbClr val="E4610F"/>
                </a:solidFill>
              </a:rPr>
              <a:pPr/>
              <a:t>‹#›</a:t>
            </a:fld>
            <a:endParaRPr lang="en-GB">
              <a:solidFill>
                <a:srgbClr val="E4610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3392446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Grid" hidden="1"/>
          <p:cNvGraphicFramePr>
            <a:graphicFrameLocks noGrp="1"/>
          </p:cNvGraphicFramePr>
          <p:nvPr userDrawn="1"/>
        </p:nvGraphicFramePr>
        <p:xfrm>
          <a:off x="-2462" y="0"/>
          <a:ext cx="12196923" cy="6858000"/>
        </p:xfrm>
        <a:graphic>
          <a:graphicData uri="http://schemas.openxmlformats.org/drawingml/2006/table">
            <a:tbl>
              <a:tblPr firstRow="1" bandRow="1"/>
              <a:tblGrid>
                <a:gridCol w="444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260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015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2609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1015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62609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1015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62609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31015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162609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31015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1626092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444800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  <a:p>
                      <a:endParaRPr lang="en-GB" sz="100"/>
                    </a:p>
                    <a:p>
                      <a:r>
                        <a:rPr lang="en-GB" sz="100"/>
                        <a:t> </a:t>
                      </a:r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18000"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18000"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00"/>
                        <a:t>.7</a:t>
                      </a:r>
                    </a:p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18000"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00"/>
                    </a:p>
                  </a:txBody>
                  <a:tcPr marL="112542" marR="11254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3" name="Kicker"/>
          <p:cNvSpPr>
            <a:spLocks noGrp="1"/>
          </p:cNvSpPr>
          <p:nvPr>
            <p:ph type="body" sz="quarter" idx="10" hasCustomPrompt="1"/>
          </p:nvPr>
        </p:nvSpPr>
        <p:spPr>
          <a:xfrm>
            <a:off x="443524" y="5881802"/>
            <a:ext cx="11307323" cy="605908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txBody>
          <a:bodyPr vert="horz" lIns="0" tIns="108000" rIns="0" bIns="108000" rtlCol="0" anchor="b" anchorCtr="1">
            <a:spAutoFit/>
          </a:bodyPr>
          <a:lstStyle>
            <a:lvl1pPr>
              <a:defRPr lang="en-GB" b="1" baseline="0" dirty="0" smtClean="0">
                <a:solidFill>
                  <a:schemeClr val="bg1"/>
                </a:solidFill>
              </a:defRPr>
            </a:lvl1pPr>
          </a:lstStyle>
          <a:p>
            <a:pPr marR="0" lvl="0" algn="ctr" fontAlgn="auto">
              <a:spcBef>
                <a:spcPts val="648"/>
              </a:spcBef>
              <a:spcAft>
                <a:spcPts val="1297"/>
              </a:spcAft>
              <a:buSzTx/>
              <a:tabLst/>
            </a:pPr>
            <a:r>
              <a:rPr lang="en-GB"/>
              <a:t>Click to add kicker or ‘so what’. Delete if not required.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>
          <a:xfrm>
            <a:off x="8099427" y="6408003"/>
            <a:ext cx="3178800" cy="138499"/>
          </a:xfrm>
          <a:prstGeom prst="rect">
            <a:avLst/>
          </a:prstGeom>
        </p:spPr>
        <p:txBody>
          <a:bodyPr/>
          <a:lstStyle/>
          <a:p>
            <a:fld id="{6A0EDD51-45FB-47FB-8DF0-007D4F4F69A6}" type="datetime4">
              <a:rPr lang="en-US">
                <a:solidFill>
                  <a:srgbClr val="B3B3B3"/>
                </a:solidFill>
              </a:rPr>
              <a:pPr/>
              <a:t>October 5, 2025</a:t>
            </a:fld>
            <a:endParaRPr>
              <a:solidFill>
                <a:srgbClr val="B3B3B3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4319588" y="6408003"/>
            <a:ext cx="3527425" cy="138499"/>
          </a:xfrm>
          <a:prstGeom prst="rect">
            <a:avLst/>
          </a:prstGeom>
        </p:spPr>
        <p:txBody>
          <a:bodyPr/>
          <a:lstStyle/>
          <a:p>
            <a:r>
              <a:rPr>
                <a:solidFill>
                  <a:srgbClr val="B3B3B3"/>
                </a:solidFill>
              </a:rPr>
              <a:t>Go to Header</a:t>
            </a:r>
            <a:r>
              <a:rPr lang="en-GB">
                <a:solidFill>
                  <a:srgbClr val="B3B3B3"/>
                </a:solidFill>
              </a:rPr>
              <a:t> &amp; </a:t>
            </a:r>
            <a:r>
              <a:rPr>
                <a:solidFill>
                  <a:srgbClr val="B3B3B3"/>
                </a:solidFill>
              </a:rPr>
              <a:t>Footer</a:t>
            </a:r>
            <a:r>
              <a:rPr lang="en-GB">
                <a:solidFill>
                  <a:srgbClr val="B3B3B3"/>
                </a:solidFill>
              </a:rPr>
              <a:t> &amp; </a:t>
            </a:r>
            <a:r>
              <a:rPr>
                <a:solidFill>
                  <a:srgbClr val="B3B3B3"/>
                </a:solidFill>
              </a:rPr>
              <a:t>amend or delet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11385651" y="6408003"/>
            <a:ext cx="241200" cy="138499"/>
          </a:xfrm>
          <a:prstGeom prst="rect">
            <a:avLst/>
          </a:prstGeom>
        </p:spPr>
        <p:txBody>
          <a:bodyPr/>
          <a:lstStyle/>
          <a:p>
            <a:fld id="{203C551C-83BB-4568-94F6-AC8A8312A04A}" type="slidenum">
              <a:rPr lang="en-GB">
                <a:solidFill>
                  <a:srgbClr val="E4610F"/>
                </a:solidFill>
              </a:rPr>
              <a:pPr/>
              <a:t>‹#›</a:t>
            </a:fld>
            <a:endParaRPr lang="en-GB">
              <a:solidFill>
                <a:srgbClr val="E4610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434286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9601" y="683837"/>
            <a:ext cx="4965127" cy="553998"/>
          </a:xfrm>
          <a:prstGeom prst="rect">
            <a:avLst/>
          </a:prstGeom>
        </p:spPr>
        <p:txBody>
          <a:bodyPr lIns="0" tIns="0" rIns="0" bIns="0"/>
          <a:lstStyle>
            <a:lvl1pPr>
              <a:defRPr sz="3590"/>
            </a:lvl1pPr>
          </a:lstStyle>
          <a:p>
            <a:endParaRPr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CCD3313-C047-41AF-98EB-C882E5526AA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1"/>
            <a:ext cx="6096001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308732" y="6417065"/>
            <a:ext cx="273668" cy="140401"/>
          </a:xfrm>
        </p:spPr>
        <p:txBody>
          <a:bodyPr lIns="0" tIns="0" rIns="0" bIns="0" anchor="t"/>
          <a:lstStyle>
            <a:lvl1pPr algn="r">
              <a:defRPr b="0"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12087F5-54C0-4DC8-B393-3B57BF2282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304197" y="6417064"/>
            <a:ext cx="3909548" cy="12561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r">
              <a:defRPr lang="en-US" sz="907" b="0" kern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2042" kern="1200" dirty="0" smtClean="0">
                <a:solidFill>
                  <a:schemeClr val="tx1"/>
                </a:solidFill>
              </a:defRPr>
            </a:lvl2pPr>
            <a:lvl3pPr>
              <a:defRPr lang="en-US" sz="2042" kern="1200" dirty="0" smtClean="0">
                <a:solidFill>
                  <a:schemeClr val="tx1"/>
                </a:solidFill>
              </a:defRPr>
            </a:lvl3pPr>
            <a:lvl4pPr>
              <a:defRPr lang="en-US" sz="2042" kern="1200" dirty="0" smtClean="0">
                <a:solidFill>
                  <a:schemeClr val="tx1"/>
                </a:solidFill>
              </a:defRPr>
            </a:lvl4pPr>
            <a:lvl5pPr>
              <a:defRPr lang="en-US" sz="2042" kern="1200" dirty="0">
                <a:solidFill>
                  <a:schemeClr val="tx1"/>
                </a:solidFill>
              </a:defRPr>
            </a:lvl5pPr>
          </a:lstStyle>
          <a:p>
            <a:pPr lvl="0" algn="r" defTabSz="1037276" rtl="0" latinLnBrk="0"/>
            <a:r>
              <a:rPr lang="en-US"/>
              <a:t>Insert Footer</a:t>
            </a:r>
          </a:p>
        </p:txBody>
      </p:sp>
    </p:spTree>
    <p:extLst>
      <p:ext uri="{BB962C8B-B14F-4D97-AF65-F5344CB8AC3E}">
        <p14:creationId xmlns:p14="http://schemas.microsoft.com/office/powerpoint/2010/main" val="4125254729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A45764-76AB-4016-89B7-13237217A1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3401" y="687606"/>
            <a:ext cx="11125200" cy="30299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995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533401" y="990602"/>
            <a:ext cx="8620125" cy="2762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397">
                <a:solidFill>
                  <a:schemeClr val="accent4"/>
                </a:solidFill>
              </a:defRPr>
            </a:lvl1pPr>
            <a:lvl2pPr marL="456057" indent="0">
              <a:buFontTx/>
              <a:buNone/>
              <a:defRPr sz="1197"/>
            </a:lvl2pPr>
            <a:lvl3pPr marL="912114" indent="0">
              <a:buFontTx/>
              <a:buNone/>
              <a:defRPr sz="1197"/>
            </a:lvl3pPr>
            <a:lvl4pPr marL="1368171" indent="0">
              <a:buFontTx/>
              <a:buNone/>
              <a:defRPr sz="1197"/>
            </a:lvl4pPr>
            <a:lvl5pPr marL="1824228" indent="0">
              <a:buFontTx/>
              <a:buNone/>
              <a:defRPr sz="119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1"/>
          </p:nvPr>
        </p:nvSpPr>
        <p:spPr>
          <a:xfrm>
            <a:off x="5429251" y="1514476"/>
            <a:ext cx="3724274" cy="108585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533400" y="1504950"/>
            <a:ext cx="4438650" cy="111442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tIns="108000" bIns="144000" numCol="2">
            <a:noAutofit/>
          </a:bodyPr>
          <a:lstStyle>
            <a:lvl1pPr marL="0" indent="0">
              <a:lnSpc>
                <a:spcPct val="100000"/>
              </a:lnSpc>
              <a:buNone/>
              <a:defRPr sz="998"/>
            </a:lvl1pPr>
          </a:lstStyle>
          <a:p>
            <a:r>
              <a:rPr lang="en-GB" b="1">
                <a:solidFill>
                  <a:schemeClr val="accent1"/>
                </a:solidFill>
              </a:rPr>
              <a:t>Client</a:t>
            </a:r>
            <a:br>
              <a:rPr lang="en-GB"/>
            </a:br>
            <a:endParaRPr lang="en-GB"/>
          </a:p>
          <a:p>
            <a:r>
              <a:rPr lang="en-GB" b="1">
                <a:solidFill>
                  <a:schemeClr val="accent1"/>
                </a:solidFill>
              </a:rPr>
              <a:t>Our role</a:t>
            </a:r>
            <a:br>
              <a:rPr lang="en-GB"/>
            </a:br>
            <a:endParaRPr lang="en-GB"/>
          </a:p>
          <a:p>
            <a:r>
              <a:rPr lang="en-GB" b="1">
                <a:solidFill>
                  <a:schemeClr val="accent1"/>
                </a:solidFill>
              </a:rPr>
              <a:t>Value</a:t>
            </a:r>
            <a:br>
              <a:rPr lang="en-GB"/>
            </a:br>
            <a:endParaRPr lang="en-GB"/>
          </a:p>
          <a:p>
            <a:r>
              <a:rPr lang="en-GB" b="1">
                <a:solidFill>
                  <a:schemeClr val="accent1"/>
                </a:solidFill>
              </a:rPr>
              <a:t>Programme Dates</a:t>
            </a:r>
            <a:br>
              <a:rPr lang="en-GB"/>
            </a:br>
            <a:endParaRPr lang="en-GB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533400" y="2771777"/>
            <a:ext cx="4438650" cy="3667125"/>
          </a:xfrm>
          <a:prstGeom prst="rect">
            <a:avLst/>
          </a:prstGeom>
          <a:noFill/>
        </p:spPr>
        <p:txBody>
          <a:bodyPr lIns="0"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buNone/>
              <a:defRPr sz="898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9372601" y="1514476"/>
            <a:ext cx="2286000" cy="4838700"/>
          </a:xfrm>
          <a:prstGeom prst="rect">
            <a:avLst/>
          </a:prstGeom>
          <a:solidFill>
            <a:schemeClr val="accent1"/>
          </a:solidFill>
        </p:spPr>
        <p:txBody>
          <a:bodyPr lIns="180000" tIns="180000" rIns="144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197"/>
              </a:spcAft>
              <a:buNone/>
              <a:defRPr sz="119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5419726" y="2781301"/>
            <a:ext cx="3743325" cy="3752850"/>
          </a:xfrm>
          <a:prstGeom prst="rect">
            <a:avLst/>
          </a:prstGeom>
          <a:noFill/>
        </p:spPr>
        <p:txBody>
          <a:bodyPr lIns="0"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buNone/>
              <a:defRPr sz="898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71071763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ver - Image-led SA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EA2F65-C185-447C-ACCA-99B8A1EB92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971803"/>
            <a:ext cx="4572000" cy="137159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190">
                <a:solidFill>
                  <a:schemeClr val="bg1"/>
                </a:solidFill>
              </a:defRPr>
            </a:lvl1pPr>
          </a:lstStyle>
          <a:p>
            <a:r>
              <a:rPr lang="nl-NL"/>
              <a:t>Image-led cover </a:t>
            </a:r>
            <a:r>
              <a:rPr lang="nl-NL" err="1"/>
              <a:t>title</a:t>
            </a:r>
            <a:endParaRPr lang="nl-NL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48109ABF-016F-4E47-9261-744ED08100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4814455"/>
            <a:ext cx="45720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2095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/>
              <a:t>Presentation Subtitle 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A670293C-AB2F-4468-BF52-B377EE380E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5257800"/>
            <a:ext cx="45720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1596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Date 2020</a:t>
            </a:r>
          </a:p>
        </p:txBody>
      </p:sp>
    </p:spTree>
    <p:extLst>
      <p:ext uri="{BB962C8B-B14F-4D97-AF65-F5344CB8AC3E}">
        <p14:creationId xmlns:p14="http://schemas.microsoft.com/office/powerpoint/2010/main" val="3267137519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, Content,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1008000"/>
            <a:ext cx="3360000" cy="952182"/>
          </a:xfrm>
          <a:prstGeom prst="rect">
            <a:avLst/>
          </a:prstGeom>
        </p:spPr>
        <p:txBody>
          <a:bodyPr lIns="0" tIns="0" anchor="t" anchorCtr="0"/>
          <a:lstStyle>
            <a:lvl1pPr>
              <a:defRPr baseline="0"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6" name="Kicker"/>
          <p:cNvSpPr>
            <a:spLocks noGrp="1"/>
          </p:cNvSpPr>
          <p:nvPr>
            <p:ph type="body" sz="quarter" idx="19" hasCustomPrompt="1"/>
          </p:nvPr>
        </p:nvSpPr>
        <p:spPr>
          <a:xfrm>
            <a:off x="720000" y="5778122"/>
            <a:ext cx="10752000" cy="522000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txBody>
          <a:bodyPr vert="horz" lIns="0" tIns="108000" rIns="0" bIns="108000" rtlCol="0" anchor="b" anchorCtr="1">
            <a:spAutoFit/>
          </a:bodyPr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lang="en-GB" sz="2195" b="1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kicker or ‘so what’. Delete if not required.</a:t>
            </a:r>
          </a:p>
        </p:txBody>
      </p:sp>
      <p:sp>
        <p:nvSpPr>
          <p:cNvPr id="3" name="Content Left"/>
          <p:cNvSpPr>
            <a:spLocks noGrp="1"/>
          </p:cNvSpPr>
          <p:nvPr>
            <p:ph idx="1" hasCustomPrompt="1"/>
          </p:nvPr>
        </p:nvSpPr>
        <p:spPr>
          <a:xfrm>
            <a:off x="721361" y="2862000"/>
            <a:ext cx="3360000" cy="2784420"/>
          </a:xfrm>
          <a:prstGeom prst="rect">
            <a:avLst/>
          </a:prstGeom>
        </p:spPr>
        <p:txBody>
          <a:bodyPr lIns="0" tIns="0" bIns="0" anchor="t" anchorCtr="0">
            <a:normAutofit/>
          </a:bodyPr>
          <a:lstStyle>
            <a:lvl1pPr marL="0" indent="0">
              <a:buNone/>
              <a:defRPr sz="1795">
                <a:solidFill>
                  <a:schemeClr val="tx1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add text, tables, charts, smart art, pictures or media</a:t>
            </a:r>
          </a:p>
        </p:txBody>
      </p:sp>
      <p:sp>
        <p:nvSpPr>
          <p:cNvPr id="9" name="Content Right"/>
          <p:cNvSpPr>
            <a:spLocks noGrp="1"/>
          </p:cNvSpPr>
          <p:nvPr>
            <p:ph sz="quarter" idx="18" hasCustomPrompt="1"/>
          </p:nvPr>
        </p:nvSpPr>
        <p:spPr>
          <a:xfrm>
            <a:off x="4416000" y="1008000"/>
            <a:ext cx="7056000" cy="4638420"/>
          </a:xfrm>
          <a:prstGeom prst="rect">
            <a:avLst/>
          </a:prstGeom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Click to add text, tables, charts, smart art, picture or media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721361" y="1991151"/>
            <a:ext cx="3360000" cy="864000"/>
          </a:xfrm>
          <a:prstGeom prst="rect">
            <a:avLst/>
          </a:prstGeom>
        </p:spPr>
        <p:txBody>
          <a:bodyPr lIns="0" tIns="0" bIns="0" anchor="t" anchorCtr="0">
            <a:normAutofit/>
          </a:bodyPr>
          <a:lstStyle>
            <a:lvl1pPr marL="0" indent="0">
              <a:buNone/>
              <a:defRPr sz="2195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Add 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0"/>
          </p:nvPr>
        </p:nvSpPr>
        <p:spPr>
          <a:xfrm>
            <a:off x="8099427" y="6408003"/>
            <a:ext cx="3178800" cy="138499"/>
          </a:xfrm>
          <a:prstGeom prst="rect">
            <a:avLst/>
          </a:prstGeom>
        </p:spPr>
        <p:txBody>
          <a:bodyPr/>
          <a:lstStyle/>
          <a:p>
            <a:fld id="{7174028F-FC55-4814-9D01-B1C00550C2C3}" type="datetime4">
              <a:rPr lang="en-GB" smtClean="0"/>
              <a:pPr/>
              <a:t>05 October 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1"/>
          </p:nvPr>
        </p:nvSpPr>
        <p:spPr>
          <a:xfrm>
            <a:off x="4319588" y="6408003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2"/>
          </p:nvPr>
        </p:nvSpPr>
        <p:spPr>
          <a:xfrm>
            <a:off x="11385651" y="6408003"/>
            <a:ext cx="241200" cy="138499"/>
          </a:xfrm>
          <a:prstGeom prst="rect">
            <a:avLst/>
          </a:prstGeom>
        </p:spPr>
        <p:txBody>
          <a:bodyPr/>
          <a:lstStyle/>
          <a:p>
            <a:fld id="{203C551C-83BB-4568-94F6-AC8A8312A04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18300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6">
          <p15:clr>
            <a:srgbClr val="C35EA4"/>
          </p15:clr>
        </p15:guide>
      </p15:sldGuideLst>
    </p:ext>
  </p:extLs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8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800000"/>
            <a:ext cx="12192000" cy="50580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s-ES"/>
              <a:t> </a:t>
            </a:r>
          </a:p>
          <a:p>
            <a:r>
              <a:rPr lang="es-ES"/>
              <a:t> </a:t>
            </a:r>
          </a:p>
          <a:p>
            <a:endParaRPr lang="es-ES"/>
          </a:p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icon</a:t>
            </a:r>
            <a:r>
              <a:rPr lang="es-ES"/>
              <a:t> to </a:t>
            </a:r>
            <a:r>
              <a:rPr lang="es-ES" err="1"/>
              <a:t>add</a:t>
            </a:r>
            <a:r>
              <a:rPr lang="es-ES"/>
              <a:t> </a:t>
            </a:r>
            <a:r>
              <a:rPr lang="es-ES" err="1"/>
              <a:t>picture</a:t>
            </a:r>
            <a:endParaRPr lang="es-ES"/>
          </a:p>
          <a:p>
            <a:endParaRPr lang="es-E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3" hasCustomPrompt="1"/>
          </p:nvPr>
        </p:nvSpPr>
        <p:spPr bwMode="ltGray">
          <a:xfrm flipH="1">
            <a:off x="540000" y="2070000"/>
            <a:ext cx="11086850" cy="1620000"/>
          </a:xfrm>
          <a:prstGeom prst="snip1Rect">
            <a:avLst>
              <a:gd name="adj" fmla="val 17843"/>
            </a:avLst>
          </a:prstGeom>
          <a:solidFill>
            <a:schemeClr val="accent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s-ES"/>
              <a:t> 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4" hasCustomPrompt="1"/>
          </p:nvPr>
        </p:nvSpPr>
        <p:spPr>
          <a:xfrm flipH="1">
            <a:off x="540000" y="2070000"/>
            <a:ext cx="288000" cy="288000"/>
          </a:xfrm>
          <a:prstGeom prst="rtTriangle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s-ES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63998" y="2330912"/>
            <a:ext cx="9946800" cy="49859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90000"/>
              </a:lnSpc>
              <a:spcAft>
                <a:spcPts val="0"/>
              </a:spcAft>
              <a:defRPr sz="3582" b="1" cap="all" baseline="0">
                <a:solidFill>
                  <a:schemeClr val="bg1"/>
                </a:solidFill>
              </a:defRPr>
            </a:lvl1pPr>
          </a:lstStyle>
          <a:p>
            <a:r>
              <a:rPr lang="es-ES" err="1"/>
              <a:t>Add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63998" y="2825012"/>
            <a:ext cx="9946800" cy="6647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388">
                <a:solidFill>
                  <a:schemeClr val="bg1"/>
                </a:solidFill>
              </a:defRPr>
            </a:lvl1pPr>
            <a:lvl2pPr marL="454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098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47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19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4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295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4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39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Add subtitle</a:t>
            </a:r>
          </a:p>
        </p:txBody>
      </p:sp>
      <p:pic>
        <p:nvPicPr>
          <p:cNvPr id="5" name="sLogo">
            <a:extLst>
              <a:ext uri="{FF2B5EF4-FFF2-40B4-BE49-F238E27FC236}">
                <a16:creationId xmlns:a16="http://schemas.microsoft.com/office/drawing/2014/main" id="{68486EC4-168A-402F-9CA3-705ED75AFD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8000" y="396000"/>
            <a:ext cx="3420000" cy="361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5886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752" y="1656001"/>
            <a:ext cx="11087100" cy="386732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099427" y="6408005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t>05/10/2025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19588" y="6408005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85652" y="6408005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t>‹#›</a:t>
            </a:fld>
            <a:endParaRPr lang="es-E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539750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9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8652" indent="0">
              <a:buNone/>
              <a:defRPr/>
            </a:lvl3pPr>
            <a:lvl4pPr marL="537303" indent="0">
              <a:buNone/>
              <a:defRPr/>
            </a:lvl4pPr>
            <a:lvl5pPr marL="805955" indent="0">
              <a:buNone/>
              <a:defRPr/>
            </a:lvl5pPr>
          </a:lstStyle>
          <a:p>
            <a:pPr lvl="0"/>
            <a:r>
              <a:rPr lang="es-ES"/>
              <a:t>Click to add kicker or ‘so what’. Delete if not required.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>
          <a:xfrm>
            <a:off x="539752" y="950400"/>
            <a:ext cx="11087100" cy="49859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s-ES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4109706461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2" y="950400"/>
            <a:ext cx="11087100" cy="498598"/>
          </a:xfrm>
          <a:prstGeom prst="rect">
            <a:avLst/>
          </a:prstGeom>
        </p:spPr>
        <p:txBody>
          <a:bodyPr/>
          <a:lstStyle>
            <a:lvl1pPr>
              <a:defRPr b="0">
                <a:latin typeface="Arial Nova Light" panose="020B0304020202020204" pitchFamily="34" charset="0"/>
              </a:defRPr>
            </a:lvl1pPr>
          </a:lstStyle>
          <a:p>
            <a:r>
              <a:rPr lang="es-ES"/>
              <a:t>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749" y="2358900"/>
            <a:ext cx="11087099" cy="3159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 Nova Light" panose="020B0304020202020204" pitchFamily="34" charset="0"/>
              </a:defRPr>
            </a:lvl1pPr>
            <a:lvl2pPr>
              <a:defRPr>
                <a:latin typeface="Arial Nova Light" panose="020B0304020202020204" pitchFamily="34" charset="0"/>
              </a:defRPr>
            </a:lvl2pPr>
            <a:lvl3pPr>
              <a:defRPr>
                <a:latin typeface="Arial Nova Light" panose="020B0304020202020204" pitchFamily="34" charset="0"/>
              </a:defRPr>
            </a:lvl3pPr>
            <a:lvl4pPr>
              <a:defRPr>
                <a:latin typeface="Arial Nova Light" panose="020B0304020202020204" pitchFamily="34" charset="0"/>
              </a:defRPr>
            </a:lvl4pPr>
            <a:lvl5pPr>
              <a:defRPr>
                <a:latin typeface="Arial Nova Light" panose="020B0304020202020204" pitchFamily="34" charset="0"/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099427" y="6408005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t>05/10/2025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19588" y="6408005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85652" y="6408005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t>‹#›</a:t>
            </a:fld>
            <a:endParaRPr lang="es-ES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2" y="1477756"/>
            <a:ext cx="11087100" cy="6093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190">
                <a:latin typeface="Arial Nova Light" panose="020B0304020202020204" pitchFamily="34" charset="0"/>
              </a:defRPr>
            </a:lvl1pPr>
            <a:lvl5pPr>
              <a:defRPr/>
            </a:lvl5pPr>
          </a:lstStyle>
          <a:p>
            <a:pPr lvl="0"/>
            <a:r>
              <a:rPr lang="es-ES" err="1"/>
              <a:t>Add</a:t>
            </a:r>
            <a:r>
              <a:rPr lang="es-ES"/>
              <a:t> </a:t>
            </a:r>
            <a:r>
              <a:rPr lang="es-ES" err="1"/>
              <a:t>subtitle</a:t>
            </a:r>
            <a:endParaRPr lang="es-E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 bwMode="ltGray">
          <a:xfrm>
            <a:off x="539750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9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8652" indent="0">
              <a:buNone/>
              <a:defRPr/>
            </a:lvl3pPr>
            <a:lvl4pPr marL="537303" indent="0">
              <a:buNone/>
              <a:defRPr/>
            </a:lvl4pPr>
            <a:lvl5pPr marL="805955" indent="0">
              <a:buNone/>
              <a:defRPr/>
            </a:lvl5pPr>
          </a:lstStyle>
          <a:p>
            <a:pPr lvl="0"/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add</a:t>
            </a:r>
            <a:r>
              <a:rPr lang="es-ES"/>
              <a:t> </a:t>
            </a:r>
            <a:r>
              <a:rPr lang="es-ES" err="1"/>
              <a:t>kicker</a:t>
            </a:r>
            <a:r>
              <a:rPr lang="es-ES"/>
              <a:t> </a:t>
            </a:r>
            <a:r>
              <a:rPr lang="es-ES" err="1"/>
              <a:t>or</a:t>
            </a:r>
            <a:r>
              <a:rPr lang="es-ES"/>
              <a:t> ‘so </a:t>
            </a:r>
            <a:r>
              <a:rPr lang="es-ES" err="1"/>
              <a:t>what</a:t>
            </a:r>
            <a:r>
              <a:rPr lang="es-ES"/>
              <a:t>’. </a:t>
            </a:r>
            <a:r>
              <a:rPr lang="es-ES" err="1"/>
              <a:t>Delete</a:t>
            </a:r>
            <a:r>
              <a:rPr lang="es-ES"/>
              <a:t> </a:t>
            </a:r>
            <a:r>
              <a:rPr lang="es-ES" err="1"/>
              <a:t>if</a:t>
            </a:r>
            <a:r>
              <a:rPr lang="es-ES"/>
              <a:t> </a:t>
            </a:r>
            <a:r>
              <a:rPr lang="es-ES" err="1"/>
              <a:t>not</a:t>
            </a:r>
            <a:r>
              <a:rPr lang="es-ES"/>
              <a:t> </a:t>
            </a:r>
            <a:r>
              <a:rPr lang="es-ES" err="1"/>
              <a:t>required</a:t>
            </a:r>
            <a:r>
              <a:rPr lang="es-E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36112637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2" y="950400"/>
            <a:ext cx="11087100" cy="498598"/>
          </a:xfrm>
          <a:prstGeom prst="rect">
            <a:avLst/>
          </a:prstGeom>
        </p:spPr>
        <p:txBody>
          <a:bodyPr/>
          <a:lstStyle/>
          <a:p>
            <a:r>
              <a:rPr lang="es-ES" err="1"/>
              <a:t>Add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9752" y="1656001"/>
            <a:ext cx="5418137" cy="38621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91"/>
            </a:lvl1pPr>
            <a:lvl2pPr>
              <a:defRPr sz="1592"/>
            </a:lvl2pPr>
            <a:lvl3pPr>
              <a:defRPr sz="1394"/>
            </a:lvl3pPr>
            <a:lvl4pPr>
              <a:defRPr sz="1194"/>
            </a:lvl4pPr>
            <a:lvl5pPr>
              <a:defRPr sz="1194"/>
            </a:lvl5pPr>
            <a:lvl6pPr>
              <a:defRPr sz="1194"/>
            </a:lvl6pPr>
            <a:lvl7pPr>
              <a:defRPr sz="1194" baseline="0"/>
            </a:lvl7pPr>
            <a:lvl8pPr>
              <a:defRPr sz="1194" baseline="0"/>
            </a:lvl8pPr>
            <a:lvl9pPr>
              <a:defRPr sz="1194" baseline="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8713" y="1656001"/>
            <a:ext cx="5418136" cy="38621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91"/>
            </a:lvl1pPr>
            <a:lvl2pPr>
              <a:defRPr sz="1592"/>
            </a:lvl2pPr>
            <a:lvl3pPr>
              <a:defRPr sz="1394"/>
            </a:lvl3pPr>
            <a:lvl4pPr>
              <a:defRPr sz="1194"/>
            </a:lvl4pPr>
            <a:lvl5pPr>
              <a:defRPr sz="1194"/>
            </a:lvl5pPr>
            <a:lvl6pPr>
              <a:defRPr sz="1194"/>
            </a:lvl6pPr>
            <a:lvl7pPr>
              <a:defRPr sz="1194"/>
            </a:lvl7pPr>
            <a:lvl8pPr>
              <a:defRPr sz="1194"/>
            </a:lvl8pPr>
            <a:lvl9pPr>
              <a:defRPr sz="1194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099427" y="6408005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t>05/10/2025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319588" y="6408005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385652" y="6408005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t>‹#›</a:t>
            </a:fld>
            <a:endParaRPr lang="es-ES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539750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9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8652" indent="0">
              <a:buNone/>
              <a:defRPr/>
            </a:lvl3pPr>
            <a:lvl4pPr marL="537303" indent="0">
              <a:buNone/>
              <a:defRPr/>
            </a:lvl4pPr>
            <a:lvl5pPr marL="805955" indent="0">
              <a:buNone/>
              <a:defRPr/>
            </a:lvl5pPr>
          </a:lstStyle>
          <a:p>
            <a:pPr lvl="0"/>
            <a:r>
              <a:rPr lang="es-ES"/>
              <a:t>Click to add kicker or ‘so what’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257336915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, 2 Content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2" y="950400"/>
            <a:ext cx="11087100" cy="49859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s-ES"/>
              <a:t>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9750" y="1540263"/>
            <a:ext cx="5418138" cy="33239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791" b="1">
                <a:solidFill>
                  <a:schemeClr val="accent1"/>
                </a:solidFill>
              </a:defRPr>
            </a:lvl1pPr>
            <a:lvl2pPr marL="454917" indent="0">
              <a:buNone/>
              <a:defRPr sz="1990" b="1"/>
            </a:lvl2pPr>
            <a:lvl3pPr marL="909834" indent="0">
              <a:buNone/>
              <a:defRPr sz="1791" b="1"/>
            </a:lvl3pPr>
            <a:lvl4pPr marL="1364751" indent="0">
              <a:buNone/>
              <a:defRPr sz="1592" b="1"/>
            </a:lvl4pPr>
            <a:lvl5pPr marL="1819667" indent="0">
              <a:buNone/>
              <a:defRPr sz="1592" b="1"/>
            </a:lvl5pPr>
            <a:lvl6pPr marL="2274584" indent="0">
              <a:buNone/>
              <a:defRPr sz="1592" b="1"/>
            </a:lvl6pPr>
            <a:lvl7pPr marL="2729501" indent="0">
              <a:buNone/>
              <a:defRPr sz="1592" b="1"/>
            </a:lvl7pPr>
            <a:lvl8pPr marL="3184418" indent="0">
              <a:buNone/>
              <a:defRPr sz="1592" b="1"/>
            </a:lvl8pPr>
            <a:lvl9pPr marL="3639335" indent="0">
              <a:buNone/>
              <a:defRPr sz="1592" b="1"/>
            </a:lvl9pPr>
          </a:lstStyle>
          <a:p>
            <a:pPr lvl="0"/>
            <a:r>
              <a:rPr lang="es-ES"/>
              <a:t>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9750" y="1872658"/>
            <a:ext cx="5418138" cy="364549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91"/>
            </a:lvl1pPr>
            <a:lvl2pPr>
              <a:defRPr sz="1592"/>
            </a:lvl2pPr>
            <a:lvl3pPr>
              <a:defRPr sz="1394"/>
            </a:lvl3pPr>
            <a:lvl4pPr>
              <a:defRPr sz="1194"/>
            </a:lvl4pPr>
            <a:lvl5pPr>
              <a:defRPr sz="1194"/>
            </a:lvl5pPr>
            <a:lvl6pPr>
              <a:defRPr sz="1194"/>
            </a:lvl6pPr>
            <a:lvl7pPr>
              <a:defRPr sz="1194"/>
            </a:lvl7pPr>
            <a:lvl8pPr>
              <a:defRPr sz="1194"/>
            </a:lvl8pPr>
            <a:lvl9pPr>
              <a:defRPr sz="1194" baseline="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08716" y="1541367"/>
            <a:ext cx="5418135" cy="33239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791" b="1">
                <a:solidFill>
                  <a:schemeClr val="accent1"/>
                </a:solidFill>
              </a:defRPr>
            </a:lvl1pPr>
            <a:lvl2pPr marL="454917" indent="0">
              <a:buNone/>
              <a:defRPr sz="1990" b="1"/>
            </a:lvl2pPr>
            <a:lvl3pPr marL="909834" indent="0">
              <a:buNone/>
              <a:defRPr sz="1791" b="1"/>
            </a:lvl3pPr>
            <a:lvl4pPr marL="1364751" indent="0">
              <a:buNone/>
              <a:defRPr sz="1592" b="1"/>
            </a:lvl4pPr>
            <a:lvl5pPr marL="1819667" indent="0">
              <a:buNone/>
              <a:defRPr sz="1592" b="1"/>
            </a:lvl5pPr>
            <a:lvl6pPr marL="2274584" indent="0">
              <a:buNone/>
              <a:defRPr sz="1592" b="1"/>
            </a:lvl6pPr>
            <a:lvl7pPr marL="2729501" indent="0">
              <a:buNone/>
              <a:defRPr sz="1592" b="1"/>
            </a:lvl7pPr>
            <a:lvl8pPr marL="3184418" indent="0">
              <a:buNone/>
              <a:defRPr sz="1592" b="1"/>
            </a:lvl8pPr>
            <a:lvl9pPr marL="3639335" indent="0">
              <a:buNone/>
              <a:defRPr sz="1592" b="1"/>
            </a:lvl9pPr>
          </a:lstStyle>
          <a:p>
            <a:pPr lvl="0"/>
            <a:r>
              <a:rPr lang="es-ES"/>
              <a:t>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08714" y="1872659"/>
            <a:ext cx="5418136" cy="364549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91"/>
            </a:lvl1pPr>
            <a:lvl2pPr>
              <a:defRPr sz="1592"/>
            </a:lvl2pPr>
            <a:lvl3pPr>
              <a:defRPr sz="1394"/>
            </a:lvl3pPr>
            <a:lvl4pPr>
              <a:defRPr sz="1194"/>
            </a:lvl4pPr>
            <a:lvl5pPr>
              <a:defRPr sz="1194"/>
            </a:lvl5pPr>
            <a:lvl6pPr>
              <a:defRPr sz="1194"/>
            </a:lvl6pPr>
            <a:lvl7pPr>
              <a:defRPr sz="1194"/>
            </a:lvl7pPr>
            <a:lvl8pPr>
              <a:defRPr sz="1194" baseline="0"/>
            </a:lvl8pPr>
            <a:lvl9pPr>
              <a:defRPr sz="1194" baseline="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099427" y="6408005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t>05/10/2025</a:t>
            </a:fld>
            <a:endParaRPr lang="es-E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319588" y="6408005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1385652" y="6408005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t>‹#›</a:t>
            </a:fld>
            <a:endParaRPr lang="es-E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539750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9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8652" indent="0">
              <a:buNone/>
              <a:defRPr/>
            </a:lvl3pPr>
            <a:lvl4pPr marL="537303" indent="0">
              <a:buNone/>
              <a:defRPr/>
            </a:lvl4pPr>
            <a:lvl5pPr marL="805955" indent="0">
              <a:buNone/>
              <a:defRPr/>
            </a:lvl5pPr>
          </a:lstStyle>
          <a:p>
            <a:pPr lvl="0"/>
            <a:r>
              <a:rPr lang="es-ES"/>
              <a:t>Click to add kicker or ‘so what’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3182240049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, Subtitle, 2 Content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2" y="950400"/>
            <a:ext cx="11087100" cy="49859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s-ES"/>
              <a:t>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9750" y="2273868"/>
            <a:ext cx="5418138" cy="33239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791" b="1">
                <a:solidFill>
                  <a:schemeClr val="accent1"/>
                </a:solidFill>
              </a:defRPr>
            </a:lvl1pPr>
            <a:lvl2pPr marL="454917" indent="0">
              <a:buNone/>
              <a:defRPr sz="1990" b="1"/>
            </a:lvl2pPr>
            <a:lvl3pPr marL="909834" indent="0">
              <a:buNone/>
              <a:defRPr sz="1791" b="1"/>
            </a:lvl3pPr>
            <a:lvl4pPr marL="1364751" indent="0">
              <a:buNone/>
              <a:defRPr sz="1592" b="1"/>
            </a:lvl4pPr>
            <a:lvl5pPr marL="1819667" indent="0">
              <a:buNone/>
              <a:defRPr sz="1592" b="1"/>
            </a:lvl5pPr>
            <a:lvl6pPr marL="2274584" indent="0">
              <a:buNone/>
              <a:defRPr sz="1592" b="1"/>
            </a:lvl6pPr>
            <a:lvl7pPr marL="2729501" indent="0">
              <a:buNone/>
              <a:defRPr sz="1592" b="1"/>
            </a:lvl7pPr>
            <a:lvl8pPr marL="3184418" indent="0">
              <a:buNone/>
              <a:defRPr sz="1592" b="1"/>
            </a:lvl8pPr>
            <a:lvl9pPr marL="3639335" indent="0">
              <a:buNone/>
              <a:defRPr sz="1592" b="1"/>
            </a:lvl9pPr>
          </a:lstStyle>
          <a:p>
            <a:pPr lvl="0"/>
            <a:r>
              <a:rPr lang="es-ES"/>
              <a:t>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9750" y="2614745"/>
            <a:ext cx="5418138" cy="290341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91"/>
            </a:lvl1pPr>
            <a:lvl2pPr>
              <a:defRPr sz="1592"/>
            </a:lvl2pPr>
            <a:lvl3pPr>
              <a:defRPr sz="1394"/>
            </a:lvl3pPr>
            <a:lvl4pPr>
              <a:defRPr sz="1194"/>
            </a:lvl4pPr>
            <a:lvl5pPr>
              <a:defRPr sz="1194"/>
            </a:lvl5pPr>
            <a:lvl6pPr>
              <a:defRPr sz="1194"/>
            </a:lvl6pPr>
            <a:lvl7pPr>
              <a:defRPr sz="1194"/>
            </a:lvl7pPr>
            <a:lvl8pPr>
              <a:defRPr sz="1194"/>
            </a:lvl8pPr>
            <a:lvl9pPr>
              <a:defRPr sz="1194" baseline="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08715" y="2282347"/>
            <a:ext cx="5418137" cy="33239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791" b="1">
                <a:solidFill>
                  <a:schemeClr val="accent1"/>
                </a:solidFill>
              </a:defRPr>
            </a:lvl1pPr>
            <a:lvl2pPr marL="454917" indent="0">
              <a:buNone/>
              <a:defRPr sz="1990" b="1"/>
            </a:lvl2pPr>
            <a:lvl3pPr marL="909834" indent="0">
              <a:buNone/>
              <a:defRPr sz="1791" b="1"/>
            </a:lvl3pPr>
            <a:lvl4pPr marL="1364751" indent="0">
              <a:buNone/>
              <a:defRPr sz="1592" b="1"/>
            </a:lvl4pPr>
            <a:lvl5pPr marL="1819667" indent="0">
              <a:buNone/>
              <a:defRPr sz="1592" b="1"/>
            </a:lvl5pPr>
            <a:lvl6pPr marL="2274584" indent="0">
              <a:buNone/>
              <a:defRPr sz="1592" b="1"/>
            </a:lvl6pPr>
            <a:lvl7pPr marL="2729501" indent="0">
              <a:buNone/>
              <a:defRPr sz="1592" b="1"/>
            </a:lvl7pPr>
            <a:lvl8pPr marL="3184418" indent="0">
              <a:buNone/>
              <a:defRPr sz="1592" b="1"/>
            </a:lvl8pPr>
            <a:lvl9pPr marL="3639335" indent="0">
              <a:buNone/>
              <a:defRPr sz="1592" b="1"/>
            </a:lvl9pPr>
          </a:lstStyle>
          <a:p>
            <a:pPr lvl="0"/>
            <a:r>
              <a:rPr lang="es-ES"/>
              <a:t>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08715" y="2614746"/>
            <a:ext cx="5418135" cy="29034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91"/>
            </a:lvl1pPr>
            <a:lvl2pPr>
              <a:defRPr sz="1592"/>
            </a:lvl2pPr>
            <a:lvl3pPr>
              <a:defRPr sz="1394"/>
            </a:lvl3pPr>
            <a:lvl4pPr>
              <a:defRPr sz="1194"/>
            </a:lvl4pPr>
            <a:lvl5pPr>
              <a:defRPr sz="1194"/>
            </a:lvl5pPr>
            <a:lvl6pPr>
              <a:defRPr sz="1194"/>
            </a:lvl6pPr>
            <a:lvl7pPr>
              <a:defRPr sz="1194"/>
            </a:lvl7pPr>
            <a:lvl8pPr>
              <a:defRPr sz="1194" baseline="0"/>
            </a:lvl8pPr>
            <a:lvl9pPr>
              <a:defRPr sz="1194" baseline="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099427" y="6408005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t>05/10/2025</a:t>
            </a:fld>
            <a:endParaRPr lang="es-E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319588" y="6408005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1385652" y="6408005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t>‹#›</a:t>
            </a:fld>
            <a:endParaRPr lang="es-ES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2" y="1477756"/>
            <a:ext cx="11087098" cy="6093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190"/>
            </a:lvl1pPr>
            <a:lvl5pPr>
              <a:defRPr/>
            </a:lvl5pPr>
          </a:lstStyle>
          <a:p>
            <a:pPr lvl="0"/>
            <a:r>
              <a:rPr lang="es-ES"/>
              <a:t>Add subtitle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4" hasCustomPrompt="1"/>
          </p:nvPr>
        </p:nvSpPr>
        <p:spPr bwMode="ltGray">
          <a:xfrm>
            <a:off x="539750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9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8652" indent="0">
              <a:buNone/>
              <a:defRPr/>
            </a:lvl3pPr>
            <a:lvl4pPr marL="537303" indent="0">
              <a:buNone/>
              <a:defRPr/>
            </a:lvl4pPr>
            <a:lvl5pPr marL="805955" indent="0">
              <a:buNone/>
              <a:defRPr/>
            </a:lvl5pPr>
          </a:lstStyle>
          <a:p>
            <a:pPr lvl="0"/>
            <a:r>
              <a:rPr lang="es-ES"/>
              <a:t>Click to add kicker or ‘so what’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1604970146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, Subtitle, Basic Text, 2 Content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2" y="950400"/>
            <a:ext cx="11087100" cy="49859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s-ES"/>
              <a:t>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9750" y="3142805"/>
            <a:ext cx="5418138" cy="33239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791" b="1">
                <a:solidFill>
                  <a:schemeClr val="accent1"/>
                </a:solidFill>
              </a:defRPr>
            </a:lvl1pPr>
            <a:lvl2pPr marL="454917" indent="0">
              <a:buNone/>
              <a:defRPr sz="1990" b="1"/>
            </a:lvl2pPr>
            <a:lvl3pPr marL="909834" indent="0">
              <a:buNone/>
              <a:defRPr sz="1791" b="1"/>
            </a:lvl3pPr>
            <a:lvl4pPr marL="1364751" indent="0">
              <a:buNone/>
              <a:defRPr sz="1592" b="1"/>
            </a:lvl4pPr>
            <a:lvl5pPr marL="1819667" indent="0">
              <a:buNone/>
              <a:defRPr sz="1592" b="1"/>
            </a:lvl5pPr>
            <a:lvl6pPr marL="2274584" indent="0">
              <a:buNone/>
              <a:defRPr sz="1592" b="1"/>
            </a:lvl6pPr>
            <a:lvl7pPr marL="2729501" indent="0">
              <a:buNone/>
              <a:defRPr sz="1592" b="1"/>
            </a:lvl7pPr>
            <a:lvl8pPr marL="3184418" indent="0">
              <a:buNone/>
              <a:defRPr sz="1592" b="1"/>
            </a:lvl8pPr>
            <a:lvl9pPr marL="3639335" indent="0">
              <a:buNone/>
              <a:defRPr sz="1592" b="1"/>
            </a:lvl9pPr>
          </a:lstStyle>
          <a:p>
            <a:pPr lvl="0"/>
            <a:r>
              <a:rPr lang="es-ES"/>
              <a:t>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9750" y="3475204"/>
            <a:ext cx="5418138" cy="204295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91"/>
            </a:lvl1pPr>
            <a:lvl2pPr>
              <a:defRPr sz="1592"/>
            </a:lvl2pPr>
            <a:lvl3pPr>
              <a:defRPr sz="1394"/>
            </a:lvl3pPr>
            <a:lvl4pPr>
              <a:defRPr sz="1194"/>
            </a:lvl4pPr>
            <a:lvl5pPr>
              <a:defRPr sz="1194"/>
            </a:lvl5pPr>
            <a:lvl6pPr>
              <a:defRPr sz="1194"/>
            </a:lvl6pPr>
            <a:lvl7pPr>
              <a:defRPr sz="1194"/>
            </a:lvl7pPr>
            <a:lvl8pPr>
              <a:defRPr sz="1194"/>
            </a:lvl8pPr>
            <a:lvl9pPr>
              <a:defRPr sz="1194" baseline="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08715" y="3142805"/>
            <a:ext cx="5418134" cy="33239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791" b="1">
                <a:solidFill>
                  <a:schemeClr val="accent1"/>
                </a:solidFill>
              </a:defRPr>
            </a:lvl1pPr>
            <a:lvl2pPr marL="454917" indent="0">
              <a:buNone/>
              <a:defRPr sz="1990" b="1"/>
            </a:lvl2pPr>
            <a:lvl3pPr marL="909834" indent="0">
              <a:buNone/>
              <a:defRPr sz="1791" b="1"/>
            </a:lvl3pPr>
            <a:lvl4pPr marL="1364751" indent="0">
              <a:buNone/>
              <a:defRPr sz="1592" b="1"/>
            </a:lvl4pPr>
            <a:lvl5pPr marL="1819667" indent="0">
              <a:buNone/>
              <a:defRPr sz="1592" b="1"/>
            </a:lvl5pPr>
            <a:lvl6pPr marL="2274584" indent="0">
              <a:buNone/>
              <a:defRPr sz="1592" b="1"/>
            </a:lvl6pPr>
            <a:lvl7pPr marL="2729501" indent="0">
              <a:buNone/>
              <a:defRPr sz="1592" b="1"/>
            </a:lvl7pPr>
            <a:lvl8pPr marL="3184418" indent="0">
              <a:buNone/>
              <a:defRPr sz="1592" b="1"/>
            </a:lvl8pPr>
            <a:lvl9pPr marL="3639335" indent="0">
              <a:buNone/>
              <a:defRPr sz="1592" b="1"/>
            </a:lvl9pPr>
          </a:lstStyle>
          <a:p>
            <a:pPr lvl="0"/>
            <a:r>
              <a:rPr lang="es-ES"/>
              <a:t>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08714" y="3475204"/>
            <a:ext cx="5418136" cy="20429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91"/>
            </a:lvl1pPr>
            <a:lvl2pPr>
              <a:defRPr sz="1592"/>
            </a:lvl2pPr>
            <a:lvl3pPr>
              <a:defRPr sz="1394"/>
            </a:lvl3pPr>
            <a:lvl4pPr>
              <a:defRPr sz="1194"/>
            </a:lvl4pPr>
            <a:lvl5pPr>
              <a:defRPr sz="1194"/>
            </a:lvl5pPr>
            <a:lvl6pPr>
              <a:defRPr sz="1194"/>
            </a:lvl6pPr>
            <a:lvl7pPr>
              <a:defRPr sz="1194"/>
            </a:lvl7pPr>
            <a:lvl8pPr>
              <a:defRPr sz="1194" baseline="0"/>
            </a:lvl8pPr>
            <a:lvl9pPr>
              <a:defRPr sz="1194" baseline="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099427" y="6408005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t>05/10/2025</a:t>
            </a:fld>
            <a:endParaRPr lang="es-E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319588" y="6408005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1385652" y="6408005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t>‹#›</a:t>
            </a:fld>
            <a:endParaRPr lang="es-ES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1477756"/>
            <a:ext cx="11087099" cy="6093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190"/>
            </a:lvl1pPr>
            <a:lvl5pPr>
              <a:defRPr/>
            </a:lvl5pPr>
          </a:lstStyle>
          <a:p>
            <a:pPr lvl="0"/>
            <a:r>
              <a:rPr lang="es-ES"/>
              <a:t>Add subtitle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4" hasCustomPrompt="1"/>
          </p:nvPr>
        </p:nvSpPr>
        <p:spPr bwMode="ltGray">
          <a:xfrm>
            <a:off x="539750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9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8652" indent="0">
              <a:buNone/>
              <a:defRPr/>
            </a:lvl3pPr>
            <a:lvl4pPr marL="537303" indent="0">
              <a:buNone/>
              <a:defRPr/>
            </a:lvl4pPr>
            <a:lvl5pPr marL="805955" indent="0">
              <a:buNone/>
              <a:defRPr/>
            </a:lvl5pPr>
          </a:lstStyle>
          <a:p>
            <a:pPr lvl="0"/>
            <a:r>
              <a:rPr lang="es-ES"/>
              <a:t>Click to add kicker or ‘so what’. Delete if not required.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539753" y="2358000"/>
            <a:ext cx="11087098" cy="72943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/>
            </a:lvl1pPr>
            <a:lvl2pPr marL="0" indent="0">
              <a:buNone/>
              <a:defRPr/>
            </a:lvl2pPr>
            <a:lvl3pPr marL="268652" indent="0">
              <a:buNone/>
              <a:defRPr/>
            </a:lvl3pPr>
            <a:lvl4pPr marL="537303" indent="0">
              <a:buNone/>
              <a:defRPr/>
            </a:lvl4pPr>
            <a:lvl5pPr marL="805955" indent="0">
              <a:buNone/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37993590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9601" y="407178"/>
            <a:ext cx="10972801" cy="553998"/>
          </a:xfrm>
          <a:prstGeom prst="rect">
            <a:avLst/>
          </a:prstGeom>
        </p:spPr>
        <p:txBody>
          <a:bodyPr lIns="0" tIns="0" rIns="0" bIns="0"/>
          <a:lstStyle>
            <a:lvl1pPr>
              <a:defRPr sz="359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4772FB21-8375-4FA7-AA13-6A4C9FF167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5244" y="287530"/>
            <a:ext cx="1571226" cy="238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4407041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2" y="950400"/>
            <a:ext cx="11087100" cy="498598"/>
          </a:xfrm>
          <a:prstGeom prst="rect">
            <a:avLst/>
          </a:prstGeom>
        </p:spPr>
        <p:txBody>
          <a:bodyPr/>
          <a:lstStyle/>
          <a:p>
            <a:r>
              <a:rPr lang="es-ES"/>
              <a:t>Add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099427" y="6408005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t>05/10/2025</a:t>
            </a:fld>
            <a:endParaRPr lang="es-E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319588" y="6408005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385652" y="6408005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t>‹#›</a:t>
            </a:fld>
            <a:endParaRPr lang="es-ES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539750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9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8652" indent="0">
              <a:buNone/>
              <a:defRPr/>
            </a:lvl3pPr>
            <a:lvl4pPr marL="537303" indent="0">
              <a:buNone/>
              <a:defRPr/>
            </a:lvl4pPr>
            <a:lvl5pPr marL="805955" indent="0">
              <a:buNone/>
              <a:defRPr/>
            </a:lvl5pPr>
          </a:lstStyle>
          <a:p>
            <a:pPr lvl="0"/>
            <a:r>
              <a:rPr lang="es-ES"/>
              <a:t>Click to add kicker or ‘so what’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1876633653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099427" y="6408005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t>05/10/2025</a:t>
            </a:fld>
            <a:endParaRPr lang="es-E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319588" y="6408005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385652" y="6408005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t>‹#›</a:t>
            </a:fld>
            <a:endParaRPr lang="es-ES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539750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9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8652" indent="0">
              <a:buNone/>
              <a:defRPr/>
            </a:lvl3pPr>
            <a:lvl4pPr marL="537303" indent="0">
              <a:buNone/>
              <a:defRPr/>
            </a:lvl4pPr>
            <a:lvl5pPr marL="805955" indent="0">
              <a:buNone/>
              <a:defRPr/>
            </a:lvl5pPr>
          </a:lstStyle>
          <a:p>
            <a:pPr lvl="0"/>
            <a:r>
              <a:rPr lang="es-ES"/>
              <a:t>Click to add kicker or ‘so what’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6729056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, Subtitle, Content and Narrow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11067" y="1006480"/>
            <a:ext cx="3515782" cy="45116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91"/>
            </a:lvl1pPr>
            <a:lvl2pPr>
              <a:defRPr sz="1592" baseline="0"/>
            </a:lvl2pPr>
            <a:lvl3pPr>
              <a:defRPr sz="1394"/>
            </a:lvl3pPr>
            <a:lvl4pPr>
              <a:defRPr sz="1194"/>
            </a:lvl4pPr>
            <a:lvl5pPr>
              <a:defRPr sz="1194"/>
            </a:lvl5pPr>
            <a:lvl6pPr>
              <a:defRPr sz="1194"/>
            </a:lvl6pPr>
            <a:lvl7pPr>
              <a:defRPr sz="1194"/>
            </a:lvl7pPr>
            <a:lvl8pPr>
              <a:defRPr sz="1194"/>
            </a:lvl8pPr>
            <a:lvl9pPr>
              <a:defRPr sz="1194" baseline="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099427" y="6408005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t>05/10/2025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319588" y="6408005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385652" y="6408005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t>‹#›</a:t>
            </a:fld>
            <a:endParaRPr lang="es-ES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39752" y="950208"/>
            <a:ext cx="7307261" cy="49859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s-ES"/>
              <a:t>Add tit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539751" y="2358001"/>
            <a:ext cx="7307263" cy="316014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1" y="1477756"/>
            <a:ext cx="7307263" cy="6093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190"/>
            </a:lvl1pPr>
            <a:lvl5pPr>
              <a:defRPr/>
            </a:lvl5pPr>
          </a:lstStyle>
          <a:p>
            <a:pPr lvl="0"/>
            <a:r>
              <a:rPr lang="es-ES"/>
              <a:t>Add subtitle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5" hasCustomPrompt="1"/>
          </p:nvPr>
        </p:nvSpPr>
        <p:spPr bwMode="ltGray">
          <a:xfrm>
            <a:off x="539750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9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8652" indent="0">
              <a:buNone/>
              <a:defRPr/>
            </a:lvl3pPr>
            <a:lvl4pPr marL="537303" indent="0">
              <a:buNone/>
              <a:defRPr/>
            </a:lvl4pPr>
            <a:lvl5pPr marL="805955" indent="0">
              <a:buNone/>
              <a:defRPr/>
            </a:lvl5pPr>
          </a:lstStyle>
          <a:p>
            <a:pPr lvl="0"/>
            <a:r>
              <a:rPr lang="es-ES"/>
              <a:t>Click to add kicker or ‘so what’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3907149511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, Subtitle, Content and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099427" y="6408005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t>05/10/2025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319588" y="6408005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385652" y="6408005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t>‹#›</a:t>
            </a:fld>
            <a:endParaRPr lang="es-ES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39752" y="950208"/>
            <a:ext cx="7307261" cy="49859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s-ES"/>
              <a:t>Add tit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539751" y="2358001"/>
            <a:ext cx="7307263" cy="31601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grpSp>
        <p:nvGrpSpPr>
          <p:cNvPr id="2" name="Group 1"/>
          <p:cNvGrpSpPr/>
          <p:nvPr userDrawn="1"/>
        </p:nvGrpSpPr>
        <p:grpSpPr bwMode="ltGray">
          <a:xfrm>
            <a:off x="8111067" y="2102136"/>
            <a:ext cx="3515782" cy="360000"/>
            <a:chOff x="6083300" y="2351692"/>
            <a:chExt cx="2520000" cy="360000"/>
          </a:xfrm>
        </p:grpSpPr>
        <p:sp>
          <p:nvSpPr>
            <p:cNvPr id="11" name="Snip Single Corner Rectangle 10"/>
            <p:cNvSpPr/>
            <p:nvPr userDrawn="1"/>
          </p:nvSpPr>
          <p:spPr bwMode="ltGray">
            <a:xfrm flipH="1">
              <a:off x="6083300" y="2351692"/>
              <a:ext cx="2520000" cy="360000"/>
            </a:xfrm>
            <a:prstGeom prst="snip1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1"/>
            </a:p>
          </p:txBody>
        </p:sp>
        <p:sp>
          <p:nvSpPr>
            <p:cNvPr id="12" name="Right Triangle 11"/>
            <p:cNvSpPr/>
            <p:nvPr userDrawn="1"/>
          </p:nvSpPr>
          <p:spPr bwMode="ltGray">
            <a:xfrm flipH="1">
              <a:off x="6083300" y="2351692"/>
              <a:ext cx="129018" cy="180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791"/>
            </a:p>
          </p:txBody>
        </p:sp>
      </p:grp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 bwMode="ltGray">
          <a:xfrm>
            <a:off x="8111067" y="2360299"/>
            <a:ext cx="3515782" cy="1815470"/>
          </a:xfrm>
          <a:prstGeom prst="rect">
            <a:avLst/>
          </a:prstGeom>
          <a:solidFill>
            <a:schemeClr val="accent1"/>
          </a:solidFill>
        </p:spPr>
        <p:txBody>
          <a:bodyPr wrap="square" lIns="216000" rIns="216000" bIns="216000">
            <a:spAutoFit/>
          </a:bodyPr>
          <a:lstStyle>
            <a:lvl1pPr>
              <a:buNone/>
              <a:defRPr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8652" indent="0">
              <a:buNone/>
              <a:defRPr/>
            </a:lvl3pPr>
            <a:lvl4pPr marL="537303" indent="0">
              <a:buNone/>
              <a:defRPr/>
            </a:lvl4pPr>
            <a:lvl5pPr marL="805955" indent="0">
              <a:buNone/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1477756"/>
            <a:ext cx="7307262" cy="6093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190"/>
            </a:lvl1pPr>
            <a:lvl5pPr>
              <a:defRPr/>
            </a:lvl5pPr>
          </a:lstStyle>
          <a:p>
            <a:pPr lvl="0"/>
            <a:r>
              <a:rPr lang="es-ES"/>
              <a:t>Add subtit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6" hasCustomPrompt="1"/>
          </p:nvPr>
        </p:nvSpPr>
        <p:spPr bwMode="ltGray">
          <a:xfrm>
            <a:off x="539750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9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8652" indent="0">
              <a:buNone/>
              <a:defRPr/>
            </a:lvl3pPr>
            <a:lvl4pPr marL="537303" indent="0">
              <a:buNone/>
              <a:defRPr/>
            </a:lvl4pPr>
            <a:lvl5pPr marL="805955" indent="0">
              <a:buNone/>
              <a:defRPr/>
            </a:lvl5pPr>
          </a:lstStyle>
          <a:p>
            <a:pPr lvl="0"/>
            <a:r>
              <a:rPr lang="es-ES"/>
              <a:t>Click to add kicker or ‘so what’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2691481354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, Subtitle, Content and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9590" y="1006480"/>
            <a:ext cx="7307261" cy="45116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91"/>
            </a:lvl1pPr>
            <a:lvl2pPr>
              <a:defRPr sz="1791" baseline="0"/>
            </a:lvl2pPr>
            <a:lvl3pPr>
              <a:defRPr sz="1394"/>
            </a:lvl3pPr>
            <a:lvl4pPr>
              <a:defRPr sz="1194"/>
            </a:lvl4pPr>
            <a:lvl5pPr>
              <a:defRPr sz="1194"/>
            </a:lvl5pPr>
            <a:lvl6pPr>
              <a:defRPr sz="1194"/>
            </a:lvl6pPr>
            <a:lvl7pPr>
              <a:defRPr sz="1194"/>
            </a:lvl7pPr>
            <a:lvl8pPr>
              <a:defRPr sz="1194"/>
            </a:lvl8pPr>
            <a:lvl9pPr>
              <a:defRPr sz="1194" baseline="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099427" y="6408005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t>05/10/2025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319588" y="6408005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385652" y="6408005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t>‹#›</a:t>
            </a:fld>
            <a:endParaRPr lang="es-ES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39753" y="950208"/>
            <a:ext cx="3527424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s-ES"/>
              <a:t>Add tit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539750" y="2868998"/>
            <a:ext cx="3527425" cy="264915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1988296"/>
            <a:ext cx="3527425" cy="6093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190"/>
            </a:lvl1pPr>
            <a:lvl5pPr>
              <a:defRPr/>
            </a:lvl5pPr>
          </a:lstStyle>
          <a:p>
            <a:pPr lvl="0"/>
            <a:r>
              <a:rPr lang="es-ES"/>
              <a:t>Add subtitle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5" hasCustomPrompt="1"/>
          </p:nvPr>
        </p:nvSpPr>
        <p:spPr bwMode="ltGray">
          <a:xfrm>
            <a:off x="539750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9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8652" indent="0">
              <a:buNone/>
              <a:defRPr/>
            </a:lvl3pPr>
            <a:lvl4pPr marL="537303" indent="0">
              <a:buNone/>
              <a:defRPr/>
            </a:lvl4pPr>
            <a:lvl5pPr marL="805955" indent="0">
              <a:buNone/>
              <a:defRPr/>
            </a:lvl5pPr>
          </a:lstStyle>
          <a:p>
            <a:pPr lvl="0"/>
            <a:r>
              <a:rPr lang="es-ES"/>
              <a:t>Click to add kicker or ‘so what’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2352431971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, Subtitle and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753" y="3142801"/>
            <a:ext cx="3527424" cy="23753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91"/>
            </a:lvl1pPr>
            <a:lvl2pPr>
              <a:defRPr sz="1592" baseline="0"/>
            </a:lvl2pPr>
            <a:lvl3pPr>
              <a:defRPr sz="1394"/>
            </a:lvl3pPr>
            <a:lvl4pPr>
              <a:defRPr sz="1194"/>
            </a:lvl4pPr>
            <a:lvl5pPr>
              <a:defRPr sz="1194"/>
            </a:lvl5pPr>
            <a:lvl6pPr>
              <a:defRPr sz="1194"/>
            </a:lvl6pPr>
            <a:lvl7pPr>
              <a:defRPr sz="1194"/>
            </a:lvl7pPr>
            <a:lvl8pPr>
              <a:defRPr sz="1194"/>
            </a:lvl8pPr>
            <a:lvl9pPr>
              <a:defRPr sz="1194" baseline="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099427" y="6408005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t>05/10/2025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319588" y="6408005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385652" y="6408005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t>‹#›</a:t>
            </a:fld>
            <a:endParaRPr lang="es-ES"/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539753" y="2358000"/>
            <a:ext cx="11087098" cy="72943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/>
            </a:lvl1pPr>
            <a:lvl2pPr marL="0" indent="0">
              <a:buNone/>
              <a:defRPr/>
            </a:lvl2pPr>
            <a:lvl3pPr marL="268652" indent="0">
              <a:buNone/>
              <a:defRPr/>
            </a:lvl3pPr>
            <a:lvl4pPr marL="537303" indent="0">
              <a:buNone/>
              <a:defRPr/>
            </a:lvl4pPr>
            <a:lvl5pPr marL="805955" indent="0">
              <a:buNone/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319591" y="3142801"/>
            <a:ext cx="3527424" cy="23753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91"/>
            </a:lvl1pPr>
            <a:lvl2pPr>
              <a:defRPr sz="1592" baseline="0"/>
            </a:lvl2pPr>
            <a:lvl3pPr>
              <a:defRPr sz="1394"/>
            </a:lvl3pPr>
            <a:lvl4pPr>
              <a:defRPr sz="1194"/>
            </a:lvl4pPr>
            <a:lvl5pPr>
              <a:defRPr sz="1194"/>
            </a:lvl5pPr>
            <a:lvl6pPr>
              <a:defRPr sz="1194"/>
            </a:lvl6pPr>
            <a:lvl7pPr>
              <a:defRPr sz="1194"/>
            </a:lvl7pPr>
            <a:lvl8pPr>
              <a:defRPr sz="1194"/>
            </a:lvl8pPr>
            <a:lvl9pPr>
              <a:defRPr sz="1194" baseline="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6"/>
          </p:nvPr>
        </p:nvSpPr>
        <p:spPr>
          <a:xfrm>
            <a:off x="8099427" y="3142801"/>
            <a:ext cx="3527424" cy="23753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91"/>
            </a:lvl1pPr>
            <a:lvl2pPr>
              <a:defRPr sz="1592" baseline="0"/>
            </a:lvl2pPr>
            <a:lvl3pPr>
              <a:defRPr sz="1394"/>
            </a:lvl3pPr>
            <a:lvl4pPr>
              <a:defRPr sz="1194"/>
            </a:lvl4pPr>
            <a:lvl5pPr>
              <a:defRPr sz="1194"/>
            </a:lvl5pPr>
            <a:lvl6pPr>
              <a:defRPr sz="1194"/>
            </a:lvl6pPr>
            <a:lvl7pPr>
              <a:defRPr sz="1194"/>
            </a:lvl7pPr>
            <a:lvl8pPr>
              <a:defRPr sz="1194"/>
            </a:lvl8pPr>
            <a:lvl9pPr>
              <a:defRPr sz="1194" baseline="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1477756"/>
            <a:ext cx="11087099" cy="6093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190"/>
            </a:lvl1pPr>
            <a:lvl5pPr>
              <a:defRPr/>
            </a:lvl5pPr>
          </a:lstStyle>
          <a:p>
            <a:pPr lvl="0"/>
            <a:r>
              <a:rPr lang="es-ES"/>
              <a:t>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2" y="950400"/>
            <a:ext cx="11087100" cy="498598"/>
          </a:xfrm>
          <a:prstGeom prst="rect">
            <a:avLst/>
          </a:prstGeom>
        </p:spPr>
        <p:txBody>
          <a:bodyPr/>
          <a:lstStyle/>
          <a:p>
            <a:r>
              <a:rPr lang="es-ES"/>
              <a:t>Add title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7" hasCustomPrompt="1"/>
          </p:nvPr>
        </p:nvSpPr>
        <p:spPr bwMode="ltGray">
          <a:xfrm>
            <a:off x="539750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9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8652" indent="0">
              <a:buNone/>
              <a:defRPr/>
            </a:lvl3pPr>
            <a:lvl4pPr marL="537303" indent="0">
              <a:buNone/>
              <a:defRPr/>
            </a:lvl4pPr>
            <a:lvl5pPr marL="805955" indent="0">
              <a:buNone/>
              <a:defRPr/>
            </a:lvl5pPr>
          </a:lstStyle>
          <a:p>
            <a:pPr lvl="0"/>
            <a:r>
              <a:rPr lang="es-ES"/>
              <a:t>Click to add kicker or ‘so what’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367016410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099427" y="6408005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pPr/>
              <a:t>05/10/2025</a:t>
            </a:fld>
            <a:endParaRPr lang="es-E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319588" y="6408005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385652" y="6602368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6" name="dc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673227" y="1477756"/>
            <a:ext cx="9953625" cy="609398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190" cap="all" baseline="0">
                <a:solidFill>
                  <a:schemeClr val="accent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/>
              <a:t>%DT:TITLE%</a:t>
            </a:r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1673227" y="2358000"/>
            <a:ext cx="900000" cy="936000"/>
          </a:xfrm>
          <a:prstGeom prst="rect">
            <a:avLst/>
          </a:prstGeom>
        </p:spPr>
        <p:txBody>
          <a:bodyPr anchor="ctr" anchorCtr="0"/>
          <a:lstStyle>
            <a:lvl1pPr algn="ctr">
              <a:buNone/>
              <a:defRPr sz="996"/>
            </a:lvl1pPr>
          </a:lstStyle>
          <a:p>
            <a:r>
              <a:rPr lang="es-ES"/>
              <a:t> 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1673227" y="3670200"/>
            <a:ext cx="900000" cy="9360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ctr">
              <a:buNone/>
              <a:defRPr sz="996"/>
            </a:lvl1pPr>
          </a:lstStyle>
          <a:p>
            <a:r>
              <a:rPr lang="es-ES"/>
              <a:t> </a:t>
            </a:r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9" hasCustomPrompt="1"/>
          </p:nvPr>
        </p:nvSpPr>
        <p:spPr>
          <a:xfrm>
            <a:off x="1673227" y="4982400"/>
            <a:ext cx="900000" cy="9360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ctr">
              <a:buNone/>
              <a:defRPr sz="996" baseline="0"/>
            </a:lvl1pPr>
          </a:lstStyle>
          <a:p>
            <a:r>
              <a:rPr lang="es-ES"/>
              <a:t> 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20" hasCustomPrompt="1"/>
          </p:nvPr>
        </p:nvSpPr>
        <p:spPr>
          <a:xfrm>
            <a:off x="2772001" y="2358004"/>
            <a:ext cx="8854851" cy="166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194" b="1" i="0" cap="all" baseline="0"/>
            </a:lvl1pPr>
            <a:lvl2pPr marL="0" indent="0">
              <a:buNone/>
              <a:defRPr/>
            </a:lvl2pPr>
          </a:lstStyle>
          <a:p>
            <a:pPr lvl="0"/>
            <a:r>
              <a:rPr lang="es-ES"/>
              <a:t>Firstname surname</a:t>
            </a:r>
          </a:p>
        </p:txBody>
      </p:sp>
      <p:sp>
        <p:nvSpPr>
          <p:cNvPr id="11" name="Text Placeholder 18"/>
          <p:cNvSpPr>
            <a:spLocks noGrp="1"/>
          </p:cNvSpPr>
          <p:nvPr>
            <p:ph type="body" sz="quarter" idx="21" hasCustomPrompt="1"/>
          </p:nvPr>
        </p:nvSpPr>
        <p:spPr>
          <a:xfrm>
            <a:off x="2772001" y="2559601"/>
            <a:ext cx="1295174" cy="73337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buNone/>
              <a:defRPr sz="996" b="0" i="0" cap="none" baseline="0"/>
            </a:lvl1pPr>
            <a:lvl2pPr marL="0" indent="0">
              <a:buNone/>
              <a:defRPr/>
            </a:lvl2pPr>
          </a:lstStyle>
          <a:p>
            <a:pPr lvl="0"/>
            <a:r>
              <a:rPr lang="es-ES"/>
              <a:t>Role</a:t>
            </a:r>
          </a:p>
        </p:txBody>
      </p:sp>
      <p:sp>
        <p:nvSpPr>
          <p:cNvPr id="14" name="dcContact1"/>
          <p:cNvSpPr>
            <a:spLocks noGrp="1"/>
          </p:cNvSpPr>
          <p:nvPr>
            <p:ph type="body" sz="quarter" idx="22" hasCustomPrompt="1"/>
          </p:nvPr>
        </p:nvSpPr>
        <p:spPr>
          <a:xfrm>
            <a:off x="4319588" y="2610000"/>
            <a:ext cx="3527425" cy="7128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marR="0" indent="0" algn="l" defTabSz="9098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79101" algn="l"/>
              </a:tabLst>
              <a:defRPr sz="896" b="0" i="0" cap="none" baseline="0"/>
            </a:lvl1pPr>
            <a:lvl2pPr marL="0" indent="0">
              <a:buNone/>
              <a:defRPr/>
            </a:lvl2pPr>
          </a:lstStyle>
          <a:p>
            <a:pPr lvl="0"/>
            <a:r>
              <a:rPr lang="es-ES"/>
              <a:t>%DT[5]:T%	+xx (0)xx xxxx xxxx</a:t>
            </a:r>
          </a:p>
          <a:p>
            <a:pPr lvl="0"/>
            <a:r>
              <a:rPr lang="es-ES"/>
              <a:t>%DT[5]:M%	+xx (0)xx xxxx xxxx</a:t>
            </a:r>
          </a:p>
          <a:p>
            <a:pPr lvl="0"/>
            <a:r>
              <a:rPr lang="es-ES"/>
              <a:t>%DT[5]:E%	firstname.lastname@arcadis.com</a:t>
            </a:r>
          </a:p>
        </p:txBody>
      </p:sp>
      <p:sp>
        <p:nvSpPr>
          <p:cNvPr id="15" name="dcLocation1"/>
          <p:cNvSpPr>
            <a:spLocks noGrp="1"/>
          </p:cNvSpPr>
          <p:nvPr>
            <p:ph type="body" sz="quarter" idx="23" hasCustomPrompt="1"/>
          </p:nvPr>
        </p:nvSpPr>
        <p:spPr>
          <a:xfrm>
            <a:off x="8099428" y="2610000"/>
            <a:ext cx="3513473" cy="7128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marR="0" indent="0" algn="l" defTabSz="9098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79101" algn="l"/>
              </a:tabLst>
              <a:defRPr sz="896" b="0" i="0" cap="none" baseline="0"/>
            </a:lvl1pPr>
            <a:lvl2pPr marL="0" indent="0">
              <a:buNone/>
              <a:defRPr/>
            </a:lvl2pPr>
          </a:lstStyle>
          <a:p>
            <a:pPr lvl="0"/>
            <a:r>
              <a:rPr lang="es-ES"/>
              <a:t>%DT[5]:Arcadis%</a:t>
            </a:r>
          </a:p>
          <a:p>
            <a:pPr lvl="0"/>
            <a:r>
              <a:rPr lang="es-ES"/>
              <a:t>Address Line 1</a:t>
            </a:r>
          </a:p>
          <a:p>
            <a:pPr lvl="0"/>
            <a:r>
              <a:rPr lang="es-ES"/>
              <a:t>Address Line 2</a:t>
            </a:r>
          </a:p>
          <a:p>
            <a:pPr lvl="0"/>
            <a:r>
              <a:rPr lang="es-ES"/>
              <a:t>Address Line 3</a:t>
            </a:r>
          </a:p>
        </p:txBody>
      </p:sp>
      <p:sp>
        <p:nvSpPr>
          <p:cNvPr id="16" name="Text Placeholder 18"/>
          <p:cNvSpPr>
            <a:spLocks noGrp="1"/>
          </p:cNvSpPr>
          <p:nvPr>
            <p:ph type="body" sz="quarter" idx="24" hasCustomPrompt="1"/>
          </p:nvPr>
        </p:nvSpPr>
        <p:spPr>
          <a:xfrm>
            <a:off x="2772001" y="3650404"/>
            <a:ext cx="8854851" cy="166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194" b="1" i="0" cap="all" baseline="0"/>
            </a:lvl1pPr>
            <a:lvl2pPr marL="0" indent="0">
              <a:buNone/>
              <a:defRPr/>
            </a:lvl2pPr>
          </a:lstStyle>
          <a:p>
            <a:pPr lvl="0"/>
            <a:r>
              <a:rPr lang="es-ES"/>
              <a:t>Firstname surname</a:t>
            </a:r>
          </a:p>
        </p:txBody>
      </p:sp>
      <p:sp>
        <p:nvSpPr>
          <p:cNvPr id="17" name="Text Placeholder 18"/>
          <p:cNvSpPr>
            <a:spLocks noGrp="1"/>
          </p:cNvSpPr>
          <p:nvPr>
            <p:ph type="body" sz="quarter" idx="25" hasCustomPrompt="1"/>
          </p:nvPr>
        </p:nvSpPr>
        <p:spPr>
          <a:xfrm>
            <a:off x="2772001" y="3852001"/>
            <a:ext cx="1295174" cy="75225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buNone/>
              <a:defRPr sz="996" b="0" i="0" cap="none" baseline="0"/>
            </a:lvl1pPr>
            <a:lvl2pPr marL="0" indent="0">
              <a:buNone/>
              <a:defRPr/>
            </a:lvl2pPr>
          </a:lstStyle>
          <a:p>
            <a:pPr lvl="0"/>
            <a:r>
              <a:rPr lang="es-ES"/>
              <a:t>Role</a:t>
            </a:r>
          </a:p>
        </p:txBody>
      </p:sp>
      <p:sp>
        <p:nvSpPr>
          <p:cNvPr id="18" name="dcContact1"/>
          <p:cNvSpPr>
            <a:spLocks noGrp="1"/>
          </p:cNvSpPr>
          <p:nvPr>
            <p:ph type="body" sz="quarter" idx="26" hasCustomPrompt="1"/>
          </p:nvPr>
        </p:nvSpPr>
        <p:spPr>
          <a:xfrm>
            <a:off x="4319588" y="3919067"/>
            <a:ext cx="3527425" cy="7128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marR="0" indent="0" algn="l" defTabSz="9098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79101" algn="l"/>
              </a:tabLst>
              <a:defRPr sz="896" b="0" i="0" cap="none" baseline="0"/>
            </a:lvl1pPr>
            <a:lvl2pPr marL="0" indent="0">
              <a:buNone/>
              <a:defRPr/>
            </a:lvl2pPr>
          </a:lstStyle>
          <a:p>
            <a:pPr lvl="0"/>
            <a:r>
              <a:rPr lang="es-ES"/>
              <a:t>%DT[5]:T%	+xx (0)xx xxxx xxxx</a:t>
            </a:r>
          </a:p>
          <a:p>
            <a:pPr lvl="0"/>
            <a:r>
              <a:rPr lang="es-ES"/>
              <a:t>%DT[5]:M%	+xx (0)xx xxxx xxxx</a:t>
            </a:r>
          </a:p>
          <a:p>
            <a:pPr lvl="0"/>
            <a:r>
              <a:rPr lang="es-ES"/>
              <a:t>%DT[5]:E%	firstname.lastname@arcadis.com</a:t>
            </a:r>
          </a:p>
        </p:txBody>
      </p:sp>
      <p:sp>
        <p:nvSpPr>
          <p:cNvPr id="19" name="dcLocation1"/>
          <p:cNvSpPr>
            <a:spLocks noGrp="1"/>
          </p:cNvSpPr>
          <p:nvPr>
            <p:ph type="body" sz="quarter" idx="27" hasCustomPrompt="1"/>
          </p:nvPr>
        </p:nvSpPr>
        <p:spPr>
          <a:xfrm>
            <a:off x="8099428" y="3920400"/>
            <a:ext cx="3513473" cy="7128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marR="0" indent="0" algn="l" defTabSz="9098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79101" algn="l"/>
              </a:tabLst>
              <a:defRPr sz="896" b="0" i="0" cap="none" baseline="0"/>
            </a:lvl1pPr>
            <a:lvl2pPr marL="0" indent="0">
              <a:buNone/>
              <a:defRPr/>
            </a:lvl2pPr>
          </a:lstStyle>
          <a:p>
            <a:pPr lvl="0"/>
            <a:r>
              <a:rPr lang="es-ES"/>
              <a:t>%DT[5]:Arcadis%</a:t>
            </a:r>
          </a:p>
          <a:p>
            <a:pPr lvl="0"/>
            <a:r>
              <a:rPr lang="es-ES"/>
              <a:t>Address Line 1</a:t>
            </a:r>
          </a:p>
          <a:p>
            <a:pPr lvl="0"/>
            <a:r>
              <a:rPr lang="es-ES"/>
              <a:t>Address Line 2</a:t>
            </a:r>
          </a:p>
          <a:p>
            <a:pPr lvl="0"/>
            <a:r>
              <a:rPr lang="es-ES"/>
              <a:t>Address Line 3</a:t>
            </a:r>
          </a:p>
        </p:txBody>
      </p:sp>
      <p:sp>
        <p:nvSpPr>
          <p:cNvPr id="20" name="Text Placeholder 18"/>
          <p:cNvSpPr>
            <a:spLocks noGrp="1"/>
          </p:cNvSpPr>
          <p:nvPr>
            <p:ph type="body" sz="quarter" idx="28" hasCustomPrompt="1"/>
          </p:nvPr>
        </p:nvSpPr>
        <p:spPr>
          <a:xfrm>
            <a:off x="2772001" y="4964404"/>
            <a:ext cx="8854851" cy="166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194" b="1" i="0" cap="all" baseline="0"/>
            </a:lvl1pPr>
            <a:lvl2pPr marL="0" indent="0">
              <a:buNone/>
              <a:defRPr/>
            </a:lvl2pPr>
          </a:lstStyle>
          <a:p>
            <a:pPr lvl="0"/>
            <a:r>
              <a:rPr lang="es-ES"/>
              <a:t>Firstname surname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29" hasCustomPrompt="1"/>
          </p:nvPr>
        </p:nvSpPr>
        <p:spPr>
          <a:xfrm>
            <a:off x="2772001" y="5166001"/>
            <a:ext cx="1295174" cy="75111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buNone/>
              <a:defRPr sz="996" b="0" i="0" cap="none" baseline="0"/>
            </a:lvl1pPr>
            <a:lvl2pPr marL="0" indent="0">
              <a:buNone/>
              <a:defRPr/>
            </a:lvl2pPr>
          </a:lstStyle>
          <a:p>
            <a:pPr lvl="0"/>
            <a:r>
              <a:rPr lang="es-ES"/>
              <a:t>Role</a:t>
            </a:r>
          </a:p>
        </p:txBody>
      </p:sp>
      <p:sp>
        <p:nvSpPr>
          <p:cNvPr id="22" name="dcContact1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8" y="5230686"/>
            <a:ext cx="3527425" cy="7128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marR="0" indent="0" algn="l" defTabSz="9098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79101" algn="l"/>
              </a:tabLst>
              <a:defRPr sz="896" b="0" i="0" cap="none" baseline="0"/>
            </a:lvl1pPr>
            <a:lvl2pPr marL="0" indent="0">
              <a:buNone/>
              <a:defRPr/>
            </a:lvl2pPr>
          </a:lstStyle>
          <a:p>
            <a:pPr lvl="0"/>
            <a:r>
              <a:rPr lang="es-ES"/>
              <a:t>%DT[5]:T%	+xx (0)xx xxxx xxxx</a:t>
            </a:r>
          </a:p>
          <a:p>
            <a:pPr lvl="0"/>
            <a:r>
              <a:rPr lang="es-ES"/>
              <a:t>%DT[5]:M%	+xx (0)xx xxxx xxxx</a:t>
            </a:r>
          </a:p>
          <a:p>
            <a:pPr lvl="0"/>
            <a:r>
              <a:rPr lang="es-ES"/>
              <a:t>%DT[5]:E%	firstname.lastname@arcadis.com</a:t>
            </a:r>
          </a:p>
        </p:txBody>
      </p:sp>
      <p:sp>
        <p:nvSpPr>
          <p:cNvPr id="23" name="dcLocation1"/>
          <p:cNvSpPr>
            <a:spLocks noGrp="1"/>
          </p:cNvSpPr>
          <p:nvPr>
            <p:ph type="body" sz="quarter" idx="31" hasCustomPrompt="1"/>
          </p:nvPr>
        </p:nvSpPr>
        <p:spPr>
          <a:xfrm>
            <a:off x="8099428" y="5230800"/>
            <a:ext cx="3513473" cy="7128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marR="0" indent="0" algn="l" defTabSz="9098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79101" algn="l"/>
              </a:tabLst>
              <a:defRPr sz="896" b="0" i="0" cap="none" baseline="0"/>
            </a:lvl1pPr>
            <a:lvl2pPr marL="0" indent="0">
              <a:buNone/>
              <a:defRPr/>
            </a:lvl2pPr>
          </a:lstStyle>
          <a:p>
            <a:pPr lvl="0"/>
            <a:r>
              <a:rPr lang="es-ES"/>
              <a:t>%DT[5]:Arcadis%</a:t>
            </a:r>
          </a:p>
          <a:p>
            <a:pPr lvl="0"/>
            <a:r>
              <a:rPr lang="es-ES"/>
              <a:t>Address Line 1</a:t>
            </a:r>
          </a:p>
          <a:p>
            <a:pPr lvl="0"/>
            <a:r>
              <a:rPr lang="es-ES"/>
              <a:t>Address Line 2</a:t>
            </a:r>
          </a:p>
          <a:p>
            <a:pPr lvl="0"/>
            <a:r>
              <a:rPr lang="es-ES"/>
              <a:t>Address Line 3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32" hasCustomPrompt="1"/>
          </p:nvPr>
        </p:nvSpPr>
        <p:spPr>
          <a:xfrm>
            <a:off x="1674000" y="3481200"/>
            <a:ext cx="9954000" cy="0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/>
          <a:lstStyle>
            <a:lvl1pPr>
              <a:buNone/>
              <a:defRPr/>
            </a:lvl1pPr>
            <a:lvl2pPr marL="0" indent="0">
              <a:buNone/>
              <a:defRPr/>
            </a:lvl2pPr>
            <a:lvl3pPr marL="268652" indent="0">
              <a:buNone/>
              <a:defRPr/>
            </a:lvl3pPr>
            <a:lvl4pPr marL="537303" indent="0">
              <a:buNone/>
              <a:defRPr/>
            </a:lvl4pPr>
            <a:lvl5pPr marL="805955" indent="0">
              <a:buNone/>
              <a:defRPr/>
            </a:lvl5pPr>
          </a:lstStyle>
          <a:p>
            <a:pPr lvl="0"/>
            <a:r>
              <a:rPr lang="es-ES"/>
              <a:t> 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33" hasCustomPrompt="1"/>
          </p:nvPr>
        </p:nvSpPr>
        <p:spPr>
          <a:xfrm>
            <a:off x="1674000" y="4795200"/>
            <a:ext cx="9954000" cy="0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/>
          <a:lstStyle>
            <a:lvl1pPr>
              <a:buNone/>
              <a:defRPr/>
            </a:lvl1pPr>
            <a:lvl2pPr marL="0" indent="0">
              <a:buNone/>
              <a:defRPr/>
            </a:lvl2pPr>
            <a:lvl3pPr marL="268652" indent="0">
              <a:buNone/>
              <a:defRPr/>
            </a:lvl3pPr>
            <a:lvl4pPr marL="537303" indent="0">
              <a:buNone/>
              <a:defRPr/>
            </a:lvl4pPr>
            <a:lvl5pPr marL="805955" indent="0">
              <a:buNone/>
              <a:defRPr/>
            </a:lvl5pPr>
          </a:lstStyle>
          <a:p>
            <a:pPr lvl="0"/>
            <a:r>
              <a:rPr lang="es-ES"/>
              <a:t> 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id="{A07373C5-72F8-48D5-8CF0-9897B810C668}"/>
              </a:ext>
            </a:extLst>
          </p:cNvPr>
          <p:cNvCxnSpPr>
            <a:cxnSpLocks/>
          </p:cNvCxnSpPr>
          <p:nvPr userDrawn="1"/>
        </p:nvCxnSpPr>
        <p:spPr>
          <a:xfrm>
            <a:off x="1451144" y="6529985"/>
            <a:ext cx="1074085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1153670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roject Exa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099427" y="6408005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pPr/>
              <a:t>05/10/2025</a:t>
            </a:fld>
            <a:endParaRPr lang="es-E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319588" y="6408005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15" name="dcLeft"/>
          <p:cNvSpPr>
            <a:spLocks noGrp="1"/>
          </p:cNvSpPr>
          <p:nvPr>
            <p:ph type="body" sz="quarter" idx="25" hasCustomPrompt="1"/>
          </p:nvPr>
        </p:nvSpPr>
        <p:spPr>
          <a:xfrm>
            <a:off x="539753" y="2609855"/>
            <a:ext cx="1385888" cy="3307899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0"/>
              </a:spcAft>
              <a:defRPr sz="996" cap="all" baseline="0"/>
            </a:lvl1pPr>
            <a:lvl2pPr marL="0" indent="0">
              <a:spcBef>
                <a:spcPts val="200"/>
              </a:spcBef>
              <a:buNone/>
              <a:defRPr sz="896">
                <a:solidFill>
                  <a:schemeClr val="accent1"/>
                </a:solidFill>
              </a:defRPr>
            </a:lvl2pPr>
            <a:lvl3pPr marL="0" marR="0" indent="-143281" algn="l" defTabSz="909834" rtl="0" eaLnBrk="1" fontAlgn="auto" latinLnBrk="0" hangingPunct="1">
              <a:lnSpc>
                <a:spcPct val="90000"/>
              </a:lnSpc>
              <a:spcBef>
                <a:spcPts val="298"/>
              </a:spcBef>
              <a:spcAft>
                <a:spcPts val="598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896">
                <a:solidFill>
                  <a:schemeClr val="accent1"/>
                </a:solidFill>
              </a:defRPr>
            </a:lvl3pPr>
            <a:lvl4pPr marL="805955" indent="-268652">
              <a:buFont typeface="Arial" panose="020B0604020202020204" pitchFamily="34" charset="0"/>
              <a:buChar char="-"/>
              <a:defRPr sz="896"/>
            </a:lvl4pPr>
            <a:lvl5pPr marL="143281" indent="-143281">
              <a:spcBef>
                <a:spcPts val="200"/>
              </a:spcBef>
              <a:buFont typeface="Arial" panose="020B0604020202020204" pitchFamily="34" charset="0"/>
              <a:buChar char="•"/>
              <a:defRPr sz="896"/>
            </a:lvl5pPr>
            <a:lvl6pPr marL="143281" indent="-143281">
              <a:spcBef>
                <a:spcPts val="200"/>
              </a:spcBef>
              <a:buFont typeface="Arial" panose="020B0604020202020204" pitchFamily="34" charset="0"/>
              <a:buChar char="•"/>
              <a:defRPr sz="896"/>
            </a:lvl6pPr>
            <a:lvl7pPr marL="143281" indent="-143281">
              <a:spcBef>
                <a:spcPts val="200"/>
              </a:spcBef>
              <a:buFont typeface="Arial" panose="020B0604020202020204" pitchFamily="34" charset="0"/>
              <a:buChar char="•"/>
              <a:defRPr sz="896" baseline="0"/>
            </a:lvl7pPr>
            <a:lvl8pPr marL="143281" indent="-143281">
              <a:spcBef>
                <a:spcPts val="200"/>
              </a:spcBef>
              <a:buFont typeface="Arial" panose="020B0604020202020204" pitchFamily="34" charset="0"/>
              <a:buChar char="•"/>
              <a:defRPr sz="896" baseline="0"/>
            </a:lvl8pPr>
            <a:lvl9pPr marL="143281" indent="-143281">
              <a:spcBef>
                <a:spcPts val="200"/>
              </a:spcBef>
              <a:buFont typeface="Arial" panose="020B0604020202020204" pitchFamily="34" charset="0"/>
              <a:buChar char="•"/>
              <a:defRPr sz="896" baseline="0"/>
            </a:lvl9pPr>
          </a:lstStyle>
          <a:p>
            <a:pPr lvl="0"/>
            <a:r>
              <a:rPr lang="es-ES"/>
              <a:t>%DT:client%</a:t>
            </a:r>
          </a:p>
          <a:p>
            <a:pPr lvl="1"/>
            <a:r>
              <a:rPr lang="es-ES"/>
              <a:t>%DT:ClientName%</a:t>
            </a:r>
          </a:p>
          <a:p>
            <a:pPr lvl="0"/>
            <a:r>
              <a:rPr lang="es-ES"/>
              <a:t>%DT:Overallvalue%</a:t>
            </a:r>
          </a:p>
          <a:p>
            <a:pPr lvl="1"/>
            <a:r>
              <a:rPr lang="es-ES"/>
              <a:t>%DT:Amount%</a:t>
            </a:r>
          </a:p>
          <a:p>
            <a:pPr lvl="0"/>
            <a:r>
              <a:rPr lang="es-ES"/>
              <a:t>%DT:Productsservices%</a:t>
            </a:r>
          </a:p>
          <a:p>
            <a:pPr lvl="2"/>
            <a:r>
              <a:rPr lang="es-ES"/>
              <a:t>%DT:ProductService1%</a:t>
            </a:r>
          </a:p>
          <a:p>
            <a:pPr marL="0" marR="0" lvl="2" indent="-143281" algn="l" defTabSz="909834" rtl="0" eaLnBrk="1" fontAlgn="auto" latinLnBrk="0" hangingPunct="1">
              <a:lnSpc>
                <a:spcPct val="90000"/>
              </a:lnSpc>
              <a:spcBef>
                <a:spcPts val="298"/>
              </a:spcBef>
              <a:spcAft>
                <a:spcPts val="598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/>
              <a:t>%DT:ProductService2%</a:t>
            </a:r>
          </a:p>
          <a:p>
            <a:pPr marL="0" marR="0" lvl="2" indent="-143281" algn="l" defTabSz="909834" rtl="0" eaLnBrk="1" fontAlgn="auto" latinLnBrk="0" hangingPunct="1">
              <a:lnSpc>
                <a:spcPct val="90000"/>
              </a:lnSpc>
              <a:spcBef>
                <a:spcPts val="298"/>
              </a:spcBef>
              <a:spcAft>
                <a:spcPts val="598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/>
              <a:t>%DT:ProductService3%</a:t>
            </a:r>
          </a:p>
          <a:p>
            <a:pPr marL="0" marR="0" lvl="2" indent="-143281" algn="l" defTabSz="909834" rtl="0" eaLnBrk="1" fontAlgn="auto" latinLnBrk="0" hangingPunct="1">
              <a:lnSpc>
                <a:spcPct val="90000"/>
              </a:lnSpc>
              <a:spcBef>
                <a:spcPts val="298"/>
              </a:spcBef>
              <a:spcAft>
                <a:spcPts val="598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/>
              <a:t>%DT:ProductService4%</a:t>
            </a:r>
          </a:p>
          <a:p>
            <a:pPr lvl="0"/>
            <a:r>
              <a:rPr lang="es-ES"/>
              <a:t>%DT:ProjectDates%</a:t>
            </a:r>
          </a:p>
          <a:p>
            <a:pPr lvl="1"/>
            <a:r>
              <a:rPr lang="es-ES"/>
              <a:t>%DT:StartEndDates%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2" hasCustomPrompt="1"/>
          </p:nvPr>
        </p:nvSpPr>
        <p:spPr bwMode="ltGray">
          <a:xfrm flipH="1">
            <a:off x="538663" y="1006475"/>
            <a:ext cx="8316413" cy="1332000"/>
          </a:xfrm>
          <a:prstGeom prst="snip1Rect">
            <a:avLst>
              <a:gd name="adj" fmla="val 21836"/>
            </a:avLst>
          </a:prstGeom>
          <a:solidFill>
            <a:schemeClr val="accent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s-ES"/>
              <a:t> </a:t>
            </a:r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33"/>
          </p:nvPr>
        </p:nvSpPr>
        <p:spPr>
          <a:xfrm>
            <a:off x="8855077" y="1006475"/>
            <a:ext cx="2771775" cy="1332000"/>
          </a:xfrm>
          <a:prstGeom prst="rect">
            <a:avLst/>
          </a:prstGeo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</a:p>
        </p:txBody>
      </p:sp>
      <p:sp>
        <p:nvSpPr>
          <p:cNvPr id="18" name="dcBody"/>
          <p:cNvSpPr>
            <a:spLocks noGrp="1"/>
          </p:cNvSpPr>
          <p:nvPr>
            <p:ph type="body" sz="half" idx="2" hasCustomPrompt="1"/>
          </p:nvPr>
        </p:nvSpPr>
        <p:spPr>
          <a:xfrm>
            <a:off x="2176463" y="3103785"/>
            <a:ext cx="9450386" cy="2813969"/>
          </a:xfrm>
          <a:prstGeom prst="rect">
            <a:avLst/>
          </a:prstGeom>
        </p:spPr>
        <p:txBody>
          <a:bodyPr numCol="2" spcCol="252000">
            <a:normAutofit/>
          </a:bodyPr>
          <a:lstStyle>
            <a:lvl1pPr>
              <a:spcBef>
                <a:spcPts val="200"/>
              </a:spcBef>
              <a:spcAft>
                <a:spcPts val="398"/>
              </a:spcAft>
              <a:defRPr sz="1194" b="1">
                <a:solidFill>
                  <a:schemeClr val="accent1"/>
                </a:solidFill>
              </a:defRPr>
            </a:lvl1pPr>
            <a:lvl2pPr marL="0" indent="0">
              <a:spcBef>
                <a:spcPts val="200"/>
              </a:spcBef>
              <a:spcAft>
                <a:spcPts val="398"/>
              </a:spcAft>
              <a:buFont typeface="Arial" panose="020B0604020202020204" pitchFamily="34" charset="0"/>
              <a:buChar char="​"/>
              <a:defRPr sz="996"/>
            </a:lvl2pPr>
            <a:lvl3pPr marL="268652" indent="-268652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996"/>
            </a:lvl3pPr>
            <a:lvl4pPr marL="537303" indent="-268652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996"/>
            </a:lvl4pPr>
            <a:lvl5pPr marL="805955" indent="-268652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996"/>
            </a:lvl5pPr>
            <a:lvl6pPr marL="1074607" indent="-268652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996"/>
            </a:lvl6pPr>
            <a:lvl7pPr marL="1343258" indent="-268652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996"/>
            </a:lvl7pPr>
            <a:lvl8pPr marL="1611910" indent="-268652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996"/>
            </a:lvl8pPr>
            <a:lvl9pPr marL="1880562" indent="-268652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996" baseline="0"/>
            </a:lvl9pPr>
          </a:lstStyle>
          <a:p>
            <a:pPr lvl="0"/>
            <a:r>
              <a:rPr lang="es-ES"/>
              <a:t>%DT:OurRole%</a:t>
            </a:r>
          </a:p>
          <a:p>
            <a:pPr lvl="1"/>
            <a:r>
              <a:rPr lang="es-ES"/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lvl="1"/>
            <a:r>
              <a:rPr lang="es-ES"/>
              <a:t>Lorem ipsum dolor sit amet, consectetuer adipiscing elit. Maecenas porttitor congue massa. Fusce posuere, magna sed pulvinar ultricies, purus lectus malesuada libero, sit amet commodo magna eros quis urna.Third level</a:t>
            </a:r>
          </a:p>
          <a:p>
            <a:pPr lvl="0"/>
            <a:r>
              <a:rPr lang="es-ES"/>
              <a:t>%DT:KeyChallenges%</a:t>
            </a:r>
          </a:p>
          <a:p>
            <a:pPr lvl="1"/>
            <a:r>
              <a:rPr lang="es-ES"/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lvl="1"/>
            <a:r>
              <a:rPr lang="es-ES"/>
              <a:t>Lorem ipsum dolor sit amet, consectetuer adipiscing elit. Maecenas porttitor congue massa. </a:t>
            </a:r>
          </a:p>
          <a:p>
            <a:pPr lvl="0"/>
            <a:endParaRPr lang="es-ES"/>
          </a:p>
          <a:p>
            <a:pPr lvl="0"/>
            <a:endParaRPr lang="es-ES"/>
          </a:p>
          <a:p>
            <a:pPr lvl="0"/>
            <a:r>
              <a:rPr lang="es-ES"/>
              <a:t>%DT:InnovationBestPractice%</a:t>
            </a:r>
          </a:p>
          <a:p>
            <a:pPr lvl="1"/>
            <a:r>
              <a:rPr lang="es-ES"/>
              <a:t>Lorem ipsum dolor sit amet, consectetuer adipiscing elit. Maecenas porttitor congue massa. Fusce posuere, magna sed pulvinar ultricies, purus lectus malesuada libero, sit amet commodo magna eros quis urna</a:t>
            </a:r>
          </a:p>
          <a:p>
            <a:pPr lvl="0"/>
            <a:r>
              <a:rPr lang="es-ES"/>
              <a:t>%DT:WhatWeAreProudOf%</a:t>
            </a:r>
          </a:p>
          <a:p>
            <a:pPr lvl="1"/>
            <a:r>
              <a:rPr lang="es-ES"/>
              <a:t>Lorem ipsum dolor sit amet, consectetuer adipiscing elit. Maecenas porttitor congue massa. Fusce posuere, magna sed pulvinar ultricies, purus lectus malesuada libero, sit amet commodo magna eros quis urna.</a:t>
            </a:r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14" hasCustomPrompt="1"/>
          </p:nvPr>
        </p:nvSpPr>
        <p:spPr>
          <a:xfrm flipH="1">
            <a:off x="539750" y="1006475"/>
            <a:ext cx="288000" cy="288000"/>
          </a:xfrm>
          <a:prstGeom prst="rtTriangle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s-ES"/>
              <a:t> </a:t>
            </a:r>
          </a:p>
        </p:txBody>
      </p:sp>
      <p:sp>
        <p:nvSpPr>
          <p:cNvPr id="20" name="Title 11"/>
          <p:cNvSpPr>
            <a:spLocks noGrp="1"/>
          </p:cNvSpPr>
          <p:nvPr>
            <p:ph type="title" hasCustomPrompt="1"/>
          </p:nvPr>
        </p:nvSpPr>
        <p:spPr>
          <a:xfrm>
            <a:off x="864002" y="1294475"/>
            <a:ext cx="7738662" cy="498598"/>
          </a:xfrm>
          <a:prstGeom prst="rect">
            <a:avLst/>
          </a:prstGeom>
        </p:spPr>
        <p:txBody>
          <a:bodyPr/>
          <a:lstStyle>
            <a:lvl1pPr>
              <a:defRPr sz="1791" b="0" cap="all" baseline="0">
                <a:solidFill>
                  <a:schemeClr val="bg1"/>
                </a:solidFill>
              </a:defRPr>
            </a:lvl1pPr>
          </a:lstStyle>
          <a:p>
            <a:r>
              <a:rPr lang="es-ES"/>
              <a:t>Add title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864001" y="1894319"/>
            <a:ext cx="7738664" cy="221599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92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/>
              <a:t>Add subtitle</a:t>
            </a:r>
          </a:p>
        </p:txBody>
      </p:sp>
      <p:sp>
        <p:nvSpPr>
          <p:cNvPr id="26" name="dcProductDescription"/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2177226" y="2610000"/>
            <a:ext cx="9451232" cy="388800"/>
          </a:xfrm>
          <a:prstGeom prst="rect">
            <a:avLst/>
          </a:prstGeom>
        </p:spPr>
        <p:txBody>
          <a:bodyPr/>
          <a:lstStyle>
            <a:lvl1pPr>
              <a:buNone/>
              <a:defRPr sz="1394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%DT:Introduction%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36" hasCustomPrompt="1"/>
          </p:nvPr>
        </p:nvSpPr>
        <p:spPr>
          <a:xfrm>
            <a:off x="7030800" y="5162400"/>
            <a:ext cx="4597200" cy="360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buNone/>
              <a:defRPr>
                <a:solidFill>
                  <a:schemeClr val="accent3"/>
                </a:solidFill>
              </a:defRPr>
            </a:lvl1pPr>
            <a:lvl2pPr marL="0" indent="0">
              <a:buNone/>
              <a:defRPr/>
            </a:lvl2pPr>
            <a:lvl3pPr marL="268652" indent="0">
              <a:buNone/>
              <a:defRPr/>
            </a:lvl3pPr>
            <a:lvl4pPr marL="537303" indent="0">
              <a:buNone/>
              <a:defRPr/>
            </a:lvl4pPr>
            <a:lvl5pPr marL="805955" indent="0">
              <a:buNone/>
              <a:defRPr/>
            </a:lvl5pPr>
          </a:lstStyle>
          <a:p>
            <a:pPr lvl="0"/>
            <a:r>
              <a:rPr lang="es-ES"/>
              <a:t> </a:t>
            </a:r>
          </a:p>
        </p:txBody>
      </p:sp>
      <p:sp>
        <p:nvSpPr>
          <p:cNvPr id="25" name="dcRelevance"/>
          <p:cNvSpPr>
            <a:spLocks noGrp="1"/>
          </p:cNvSpPr>
          <p:nvPr userDrawn="1">
            <p:ph type="body" sz="quarter" idx="15" hasCustomPrompt="1"/>
          </p:nvPr>
        </p:nvSpPr>
        <p:spPr bwMode="ltGray">
          <a:xfrm>
            <a:off x="7028954" y="5419331"/>
            <a:ext cx="4597896" cy="567564"/>
          </a:xfrm>
          <a:prstGeom prst="rect">
            <a:avLst/>
          </a:prstGeom>
          <a:solidFill>
            <a:schemeClr val="accent3"/>
          </a:solidFill>
        </p:spPr>
        <p:txBody>
          <a:bodyPr wrap="square" lIns="216000" rIns="216000" bIns="21600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buNone/>
              <a:defRPr sz="1194" b="1" cap="all" baseline="0"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996"/>
            </a:lvl2pPr>
            <a:lvl3pPr marL="268652" indent="0">
              <a:buNone/>
              <a:defRPr/>
            </a:lvl3pPr>
            <a:lvl4pPr marL="537303" indent="0">
              <a:buNone/>
              <a:defRPr/>
            </a:lvl4pPr>
            <a:lvl5pPr marL="805955" indent="0">
              <a:buNone/>
              <a:defRPr/>
            </a:lvl5pPr>
          </a:lstStyle>
          <a:p>
            <a:pPr lvl="0"/>
            <a:r>
              <a:rPr lang="es-ES"/>
              <a:t>%DT: RelevanceToThisOpportunity%</a:t>
            </a:r>
          </a:p>
          <a:p>
            <a:pPr lvl="1"/>
            <a:r>
              <a:rPr lang="es-ES"/>
              <a:t>%DT:RelevanceToThisOpportunityContent%</a:t>
            </a:r>
          </a:p>
        </p:txBody>
      </p:sp>
      <p:sp>
        <p:nvSpPr>
          <p:cNvPr id="22" name="Slide Number Placeholder 4">
            <a:extLst>
              <a:ext uri="{FF2B5EF4-FFF2-40B4-BE49-F238E27FC236}">
                <a16:creationId xmlns:a16="http://schemas.microsoft.com/office/drawing/2014/main" id="{96AAB6BC-E6A7-4070-BAB6-800D22E657C7}"/>
              </a:ext>
            </a:extLst>
          </p:cNvPr>
          <p:cNvSpPr txBox="1">
            <a:spLocks/>
          </p:cNvSpPr>
          <p:nvPr userDrawn="1"/>
        </p:nvSpPr>
        <p:spPr>
          <a:xfrm>
            <a:off x="11385652" y="6602368"/>
            <a:ext cx="241200" cy="1384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C1CACA2-8807-444A-80EF-366DD6953B54}" type="slidenum">
              <a:rPr lang="es-ES" sz="896" smtClean="0"/>
              <a:pPr/>
              <a:t>‹#›</a:t>
            </a:fld>
            <a:endParaRPr lang="es-ES" sz="896"/>
          </a:p>
        </p:txBody>
      </p:sp>
      <p:cxnSp>
        <p:nvCxnSpPr>
          <p:cNvPr id="23" name="Conector recto 22">
            <a:extLst>
              <a:ext uri="{FF2B5EF4-FFF2-40B4-BE49-F238E27FC236}">
                <a16:creationId xmlns:a16="http://schemas.microsoft.com/office/drawing/2014/main" id="{00F6FAD8-A4A8-4DAD-9921-481132B2E0ED}"/>
              </a:ext>
            </a:extLst>
          </p:cNvPr>
          <p:cNvCxnSpPr>
            <a:cxnSpLocks/>
          </p:cNvCxnSpPr>
          <p:nvPr userDrawn="1"/>
        </p:nvCxnSpPr>
        <p:spPr>
          <a:xfrm>
            <a:off x="1451144" y="6529985"/>
            <a:ext cx="1074085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4219765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099427" y="6408005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pPr/>
              <a:t>05/10/2025</a:t>
            </a:fld>
            <a:endParaRPr lang="es-E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319588" y="6408005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6" name="dcLeft"/>
          <p:cNvSpPr>
            <a:spLocks noGrp="1"/>
          </p:cNvSpPr>
          <p:nvPr>
            <p:ph type="body" sz="quarter" idx="25" hasCustomPrompt="1"/>
          </p:nvPr>
        </p:nvSpPr>
        <p:spPr>
          <a:xfrm>
            <a:off x="539753" y="2302479"/>
            <a:ext cx="1385888" cy="3615275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0"/>
              </a:spcAft>
              <a:defRPr sz="996" cap="all" baseline="0"/>
            </a:lvl1pPr>
            <a:lvl2pPr marL="0" indent="0">
              <a:spcBef>
                <a:spcPts val="200"/>
              </a:spcBef>
              <a:buNone/>
              <a:defRPr sz="896">
                <a:solidFill>
                  <a:schemeClr val="accent1"/>
                </a:solidFill>
              </a:defRPr>
            </a:lvl2pPr>
            <a:lvl3pPr marL="0" marR="0" indent="-143281" algn="l" defTabSz="909834" rtl="0" eaLnBrk="1" fontAlgn="auto" latinLnBrk="0" hangingPunct="1">
              <a:lnSpc>
                <a:spcPct val="90000"/>
              </a:lnSpc>
              <a:spcBef>
                <a:spcPts val="298"/>
              </a:spcBef>
              <a:spcAft>
                <a:spcPts val="598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896">
                <a:solidFill>
                  <a:schemeClr val="accent1"/>
                </a:solidFill>
              </a:defRPr>
            </a:lvl3pPr>
            <a:lvl4pPr marL="805955" indent="-268652">
              <a:buFont typeface="Arial" panose="020B0604020202020204" pitchFamily="34" charset="0"/>
              <a:buChar char="-"/>
              <a:defRPr sz="896"/>
            </a:lvl4pPr>
            <a:lvl5pPr marL="143281" indent="-143281">
              <a:spcBef>
                <a:spcPts val="200"/>
              </a:spcBef>
              <a:buFont typeface="Arial" panose="020B0604020202020204" pitchFamily="34" charset="0"/>
              <a:buChar char="•"/>
              <a:defRPr sz="896"/>
            </a:lvl5pPr>
            <a:lvl6pPr marL="143281" indent="-143281">
              <a:spcBef>
                <a:spcPts val="200"/>
              </a:spcBef>
              <a:buFont typeface="Arial" panose="020B0604020202020204" pitchFamily="34" charset="0"/>
              <a:buChar char="•"/>
              <a:defRPr sz="896"/>
            </a:lvl6pPr>
            <a:lvl7pPr marL="143281" indent="-143281">
              <a:spcBef>
                <a:spcPts val="200"/>
              </a:spcBef>
              <a:buFont typeface="Arial" panose="020B0604020202020204" pitchFamily="34" charset="0"/>
              <a:buChar char="•"/>
              <a:defRPr sz="896" baseline="0"/>
            </a:lvl7pPr>
            <a:lvl8pPr marL="143281" indent="-143281">
              <a:spcBef>
                <a:spcPts val="200"/>
              </a:spcBef>
              <a:buFont typeface="Arial" panose="020B0604020202020204" pitchFamily="34" charset="0"/>
              <a:buChar char="•"/>
              <a:defRPr sz="896" baseline="0"/>
            </a:lvl8pPr>
            <a:lvl9pPr marL="143281" indent="-143281">
              <a:spcBef>
                <a:spcPts val="200"/>
              </a:spcBef>
              <a:buFont typeface="Arial" panose="020B0604020202020204" pitchFamily="34" charset="0"/>
              <a:buChar char="•"/>
              <a:defRPr sz="896" baseline="0"/>
            </a:lvl9pPr>
          </a:lstStyle>
          <a:p>
            <a:pPr lvl="0"/>
            <a:r>
              <a:rPr lang="es-ES"/>
              <a:t>%DT:AreasOfExpertise%</a:t>
            </a:r>
          </a:p>
          <a:p>
            <a:pPr lvl="1"/>
            <a:r>
              <a:rPr lang="es-ES"/>
              <a:t>%DT:Skill1%</a:t>
            </a:r>
          </a:p>
          <a:p>
            <a:pPr lvl="1"/>
            <a:r>
              <a:rPr lang="es-ES"/>
              <a:t>%DT:Skill2%</a:t>
            </a:r>
          </a:p>
          <a:p>
            <a:pPr lvl="1"/>
            <a:r>
              <a:rPr lang="es-ES"/>
              <a:t>%DT:Skill3%</a:t>
            </a:r>
          </a:p>
          <a:p>
            <a:pPr lvl="1"/>
            <a:r>
              <a:rPr lang="es-ES"/>
              <a:t>%DT:Skill4%</a:t>
            </a:r>
          </a:p>
          <a:p>
            <a:pPr lvl="0"/>
            <a:r>
              <a:rPr lang="es-ES"/>
              <a:t>%DT: Qualifications%</a:t>
            </a:r>
          </a:p>
          <a:p>
            <a:pPr lvl="1"/>
            <a:r>
              <a:rPr lang="es-ES"/>
              <a:t>%DT:Qualification1%</a:t>
            </a:r>
          </a:p>
          <a:p>
            <a:pPr lvl="1"/>
            <a:r>
              <a:rPr lang="es-ES"/>
              <a:t>%DT:Qualification2%</a:t>
            </a:r>
          </a:p>
          <a:p>
            <a:pPr lvl="1"/>
            <a:r>
              <a:rPr lang="es-ES"/>
              <a:t>%DT:Qualification3%</a:t>
            </a:r>
          </a:p>
          <a:p>
            <a:pPr lvl="0"/>
            <a:r>
              <a:rPr lang="es-ES"/>
              <a:t>%DT:Position%</a:t>
            </a:r>
          </a:p>
          <a:p>
            <a:pPr lvl="2"/>
            <a:r>
              <a:rPr lang="es-ES"/>
              <a:t>%DT:PositionHere%</a:t>
            </a:r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32" hasCustomPrompt="1"/>
          </p:nvPr>
        </p:nvSpPr>
        <p:spPr bwMode="ltGray">
          <a:xfrm flipH="1">
            <a:off x="538661" y="1006475"/>
            <a:ext cx="9199064" cy="1008000"/>
          </a:xfrm>
          <a:prstGeom prst="snip1Rect">
            <a:avLst>
              <a:gd name="adj" fmla="val 29152"/>
            </a:avLst>
          </a:prstGeom>
          <a:solidFill>
            <a:schemeClr val="accent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s-ES"/>
              <a:t> 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33"/>
          </p:nvPr>
        </p:nvSpPr>
        <p:spPr>
          <a:xfrm>
            <a:off x="9988551" y="1006475"/>
            <a:ext cx="1638299" cy="1008000"/>
          </a:xfrm>
          <a:prstGeom prst="rect">
            <a:avLst/>
          </a:prstGeo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</a:p>
        </p:txBody>
      </p:sp>
      <p:sp>
        <p:nvSpPr>
          <p:cNvPr id="9" name="Text Placeholder 14"/>
          <p:cNvSpPr>
            <a:spLocks noGrp="1"/>
          </p:cNvSpPr>
          <p:nvPr>
            <p:ph type="body" sz="quarter" idx="14" hasCustomPrompt="1"/>
          </p:nvPr>
        </p:nvSpPr>
        <p:spPr>
          <a:xfrm flipH="1">
            <a:off x="534985" y="1006475"/>
            <a:ext cx="288000" cy="288000"/>
          </a:xfrm>
          <a:prstGeom prst="rtTriangle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s-ES"/>
              <a:t> </a:t>
            </a:r>
          </a:p>
        </p:txBody>
      </p:sp>
      <p:sp>
        <p:nvSpPr>
          <p:cNvPr id="10" name="Title 11"/>
          <p:cNvSpPr>
            <a:spLocks noGrp="1"/>
          </p:cNvSpPr>
          <p:nvPr>
            <p:ph type="title" hasCustomPrompt="1"/>
          </p:nvPr>
        </p:nvSpPr>
        <p:spPr>
          <a:xfrm>
            <a:off x="864001" y="1294479"/>
            <a:ext cx="8661663" cy="24929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791" b="1" cap="all" baseline="0">
                <a:solidFill>
                  <a:schemeClr val="bg1"/>
                </a:solidFill>
              </a:defRPr>
            </a:lvl1pPr>
          </a:lstStyle>
          <a:p>
            <a:r>
              <a:rPr lang="es-ES"/>
              <a:t>Firstname Surnam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864001" y="1641603"/>
            <a:ext cx="8661665" cy="221599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394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/>
              <a:t>Description or Subtitle</a:t>
            </a:r>
          </a:p>
        </p:txBody>
      </p:sp>
      <p:sp>
        <p:nvSpPr>
          <p:cNvPr id="12" name="dcProductDescription"/>
          <p:cNvSpPr>
            <a:spLocks noGrp="1"/>
          </p:cNvSpPr>
          <p:nvPr>
            <p:ph type="body" sz="quarter" idx="35" hasCustomPrompt="1"/>
          </p:nvPr>
        </p:nvSpPr>
        <p:spPr>
          <a:xfrm>
            <a:off x="2176463" y="2304000"/>
            <a:ext cx="9450386" cy="388800"/>
          </a:xfrm>
          <a:prstGeom prst="rect">
            <a:avLst/>
          </a:prstGeom>
        </p:spPr>
        <p:txBody>
          <a:bodyPr/>
          <a:lstStyle>
            <a:lvl1pPr>
              <a:buNone/>
              <a:defRPr sz="1394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%DT:Introduction%</a:t>
            </a:r>
          </a:p>
        </p:txBody>
      </p:sp>
      <p:sp>
        <p:nvSpPr>
          <p:cNvPr id="13" name="dcBody"/>
          <p:cNvSpPr>
            <a:spLocks noGrp="1"/>
          </p:cNvSpPr>
          <p:nvPr>
            <p:ph type="body" sz="half" idx="2" hasCustomPrompt="1"/>
          </p:nvPr>
        </p:nvSpPr>
        <p:spPr>
          <a:xfrm>
            <a:off x="2176463" y="2811601"/>
            <a:ext cx="9450386" cy="3106150"/>
          </a:xfrm>
          <a:prstGeom prst="rect">
            <a:avLst/>
          </a:prstGeom>
        </p:spPr>
        <p:txBody>
          <a:bodyPr numCol="2" spcCol="252000">
            <a:normAutofit/>
          </a:bodyPr>
          <a:lstStyle>
            <a:lvl1pPr>
              <a:spcBef>
                <a:spcPts val="200"/>
              </a:spcBef>
              <a:spcAft>
                <a:spcPts val="398"/>
              </a:spcAft>
              <a:buNone/>
              <a:defRPr sz="996" b="1">
                <a:solidFill>
                  <a:schemeClr val="tx1"/>
                </a:solidFill>
              </a:defRPr>
            </a:lvl1pPr>
            <a:lvl2pPr marL="0" indent="0">
              <a:spcBef>
                <a:spcPts val="1194"/>
              </a:spcBef>
              <a:spcAft>
                <a:spcPts val="398"/>
              </a:spcAft>
              <a:buFont typeface="Arial" panose="020B0604020202020204" pitchFamily="34" charset="0"/>
              <a:buChar char="​"/>
              <a:defRPr sz="1394" b="0">
                <a:solidFill>
                  <a:schemeClr val="tx1"/>
                </a:solidFill>
              </a:defRPr>
            </a:lvl2pPr>
            <a:lvl3pPr marL="0" indent="0">
              <a:spcBef>
                <a:spcPts val="1194"/>
              </a:spcBef>
              <a:spcAft>
                <a:spcPts val="398"/>
              </a:spcAft>
              <a:buFont typeface="Arial" panose="020B0604020202020204" pitchFamily="34" charset="0"/>
              <a:buChar char="​"/>
              <a:defRPr sz="1194" b="1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398"/>
              </a:spcAft>
              <a:buFont typeface="Arial" panose="020B0604020202020204" pitchFamily="34" charset="0"/>
              <a:buChar char="​"/>
              <a:defRPr sz="1044"/>
            </a:lvl4pPr>
            <a:lvl5pPr marL="0" indent="0">
              <a:spcBef>
                <a:spcPts val="200"/>
              </a:spcBef>
              <a:spcAft>
                <a:spcPts val="398"/>
              </a:spcAft>
              <a:buFont typeface="Arial" panose="020B0604020202020204" pitchFamily="34" charset="0"/>
              <a:buChar char="​"/>
              <a:defRPr sz="996"/>
            </a:lvl5pPr>
            <a:lvl6pPr marL="268652" indent="-268652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996"/>
            </a:lvl6pPr>
            <a:lvl7pPr marL="537303" indent="-268652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996"/>
            </a:lvl7pPr>
            <a:lvl8pPr marL="805955" indent="-268652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996"/>
            </a:lvl8pPr>
            <a:lvl9pPr marL="1074607" indent="-268652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996" baseline="0"/>
            </a:lvl9pPr>
          </a:lstStyle>
          <a:p>
            <a:pPr lvl="0"/>
            <a:r>
              <a:rPr lang="es-ES"/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lvl="2"/>
            <a:r>
              <a:rPr lang="es-ES"/>
              <a:t>%DT: SuitabilityToTheRole%</a:t>
            </a:r>
          </a:p>
          <a:p>
            <a:pPr lvl="4"/>
            <a:r>
              <a:rPr lang="es-ES"/>
              <a:t>Lorem ipsum dolor sit amet, consectetuer adipiscing elit. Maecenas porttitor congue massa. Fusce posuere, magna sed pulvinar ultricies, purus lectus malesuada libero, sit amet commodo magna eros quis urna.Third level</a:t>
            </a:r>
          </a:p>
          <a:p>
            <a:pPr lvl="2"/>
            <a:r>
              <a:rPr lang="es-ES"/>
              <a:t>%DT: RelevanceOfExperience%</a:t>
            </a:r>
          </a:p>
          <a:p>
            <a:pPr lvl="4"/>
            <a:r>
              <a:rPr lang="es-ES"/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lvl="1"/>
            <a:endParaRPr lang="es-ES"/>
          </a:p>
          <a:p>
            <a:pPr lvl="1"/>
            <a:endParaRPr lang="es-ES"/>
          </a:p>
          <a:p>
            <a:pPr lvl="1"/>
            <a:r>
              <a:rPr lang="es-ES"/>
              <a:t>%DT:ProjectExperience%</a:t>
            </a:r>
          </a:p>
          <a:p>
            <a:pPr lvl="2"/>
            <a:r>
              <a:rPr lang="es-ES"/>
              <a:t>%DT:ProjectTitle%</a:t>
            </a:r>
          </a:p>
          <a:p>
            <a:pPr lvl="3"/>
            <a:r>
              <a:rPr lang="es-ES"/>
              <a:t>%DT:ClientNameDateFee%</a:t>
            </a:r>
          </a:p>
          <a:p>
            <a:pPr lvl="4"/>
            <a:r>
              <a:rPr lang="es-ES"/>
              <a:t>Lorem ipsum dolor sit amet, consectetuer adipiscing elit. Maecenas porttitor congue massa.</a:t>
            </a:r>
          </a:p>
          <a:p>
            <a:pPr lvl="2"/>
            <a:r>
              <a:rPr lang="es-ES"/>
              <a:t>%DT:ProjectTitle%</a:t>
            </a:r>
          </a:p>
          <a:p>
            <a:pPr lvl="3"/>
            <a:r>
              <a:rPr lang="es-ES"/>
              <a:t>%DT:ClientNameDateFee%</a:t>
            </a:r>
          </a:p>
          <a:p>
            <a:pPr lvl="4"/>
            <a:r>
              <a:rPr lang="es-ES"/>
              <a:t>Lorem ipsum dolor sit amet, consectetuer adipiscing elit. Maecenas porttitor congue massa.</a:t>
            </a:r>
          </a:p>
        </p:txBody>
      </p:sp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2070E854-3CC1-40F3-809F-1701D700979F}"/>
              </a:ext>
            </a:extLst>
          </p:cNvPr>
          <p:cNvSpPr txBox="1">
            <a:spLocks/>
          </p:cNvSpPr>
          <p:nvPr userDrawn="1"/>
        </p:nvSpPr>
        <p:spPr>
          <a:xfrm>
            <a:off x="11385652" y="6602368"/>
            <a:ext cx="241200" cy="1384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C1CACA2-8807-444A-80EF-366DD6953B54}" type="slidenum">
              <a:rPr lang="es-ES" sz="896" smtClean="0"/>
              <a:pPr/>
              <a:t>‹#›</a:t>
            </a:fld>
            <a:endParaRPr lang="es-ES" sz="896"/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905F495C-A051-4748-BD61-72E5573491B1}"/>
              </a:ext>
            </a:extLst>
          </p:cNvPr>
          <p:cNvCxnSpPr>
            <a:cxnSpLocks/>
          </p:cNvCxnSpPr>
          <p:nvPr userDrawn="1"/>
        </p:nvCxnSpPr>
        <p:spPr>
          <a:xfrm>
            <a:off x="1451144" y="6529985"/>
            <a:ext cx="1074085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5172166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099427" y="6408005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pPr/>
              <a:t>05/10/2025</a:t>
            </a:fld>
            <a:endParaRPr lang="es-E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319588" y="6408005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2070E854-3CC1-40F3-809F-1701D700979F}"/>
              </a:ext>
            </a:extLst>
          </p:cNvPr>
          <p:cNvSpPr txBox="1">
            <a:spLocks/>
          </p:cNvSpPr>
          <p:nvPr userDrawn="1"/>
        </p:nvSpPr>
        <p:spPr>
          <a:xfrm>
            <a:off x="11385652" y="6602368"/>
            <a:ext cx="241200" cy="1384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C1CACA2-8807-444A-80EF-366DD6953B54}" type="slidenum">
              <a:rPr lang="es-ES" sz="896" smtClean="0"/>
              <a:pPr/>
              <a:t>‹#›</a:t>
            </a:fld>
            <a:endParaRPr lang="es-ES" sz="896"/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905F495C-A051-4748-BD61-72E5573491B1}"/>
              </a:ext>
            </a:extLst>
          </p:cNvPr>
          <p:cNvCxnSpPr>
            <a:cxnSpLocks/>
          </p:cNvCxnSpPr>
          <p:nvPr userDrawn="1"/>
        </p:nvCxnSpPr>
        <p:spPr>
          <a:xfrm>
            <a:off x="1451144" y="6529985"/>
            <a:ext cx="1074085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C93C7199-EA81-40C3-A851-BF595D9FAE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2" y="950400"/>
            <a:ext cx="11087100" cy="4985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/>
              <a:t>ADD TIT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F89303A7-20A4-4708-9546-8E48FECF70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752" y="1656005"/>
            <a:ext cx="11087100" cy="46606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styles</a:t>
            </a:r>
            <a:endParaRPr lang="es-ES"/>
          </a:p>
          <a:p>
            <a:pPr lvl="1"/>
            <a:r>
              <a:rPr lang="es-ES" err="1"/>
              <a:t>Level</a:t>
            </a:r>
            <a:r>
              <a:rPr lang="es-ES"/>
              <a:t> 2</a:t>
            </a:r>
          </a:p>
          <a:p>
            <a:pPr lvl="2"/>
            <a:r>
              <a:rPr lang="es-ES" err="1"/>
              <a:t>Level</a:t>
            </a:r>
            <a:r>
              <a:rPr lang="es-ES"/>
              <a:t> 3</a:t>
            </a:r>
          </a:p>
          <a:p>
            <a:pPr lvl="3"/>
            <a:r>
              <a:rPr lang="es-ES" err="1"/>
              <a:t>Level</a:t>
            </a:r>
            <a:r>
              <a:rPr lang="es-ES"/>
              <a:t> 4</a:t>
            </a:r>
          </a:p>
          <a:p>
            <a:pPr lvl="4"/>
            <a:r>
              <a:rPr lang="es-ES" err="1"/>
              <a:t>Level</a:t>
            </a:r>
            <a:r>
              <a:rPr lang="es-ES"/>
              <a:t> 5</a:t>
            </a:r>
          </a:p>
          <a:p>
            <a:pPr lvl="5"/>
            <a:r>
              <a:rPr lang="es-ES" err="1"/>
              <a:t>Level</a:t>
            </a:r>
            <a:r>
              <a:rPr lang="es-ES"/>
              <a:t> 6</a:t>
            </a:r>
          </a:p>
          <a:p>
            <a:pPr lvl="6"/>
            <a:r>
              <a:rPr lang="es-ES" err="1"/>
              <a:t>Level</a:t>
            </a:r>
            <a:r>
              <a:rPr lang="es-ES"/>
              <a:t> 7</a:t>
            </a:r>
          </a:p>
          <a:p>
            <a:pPr lvl="7"/>
            <a:r>
              <a:rPr lang="es-ES" err="1"/>
              <a:t>Level</a:t>
            </a:r>
            <a:r>
              <a:rPr lang="es-ES"/>
              <a:t> 8</a:t>
            </a:r>
          </a:p>
          <a:p>
            <a:pPr lvl="8"/>
            <a:r>
              <a:rPr lang="es-ES" err="1"/>
              <a:t>Level</a:t>
            </a:r>
            <a:r>
              <a:rPr lang="es-ES"/>
              <a:t> 9</a:t>
            </a:r>
          </a:p>
        </p:txBody>
      </p:sp>
    </p:spTree>
    <p:extLst>
      <p:ext uri="{BB962C8B-B14F-4D97-AF65-F5344CB8AC3E}">
        <p14:creationId xmlns:p14="http://schemas.microsoft.com/office/powerpoint/2010/main" val="13161764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Image-led with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47E987CF-25C4-46C4-83B9-E828B5CF9F2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insert an image &gt; Right Click &gt; Send to Back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36FC3B7-CE63-45A8-AF2C-CCB25DA9F1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743200"/>
            <a:ext cx="11277600" cy="685800"/>
          </a:xfrm>
          <a:prstGeom prst="rect">
            <a:avLst/>
          </a:prstGeom>
        </p:spPr>
        <p:txBody>
          <a:bodyPr lIns="228600" tIns="0" rIns="0" bIns="0"/>
          <a:lstStyle>
            <a:lvl1pPr>
              <a:spcBef>
                <a:spcPts val="600"/>
              </a:spcBef>
              <a:spcAft>
                <a:spcPts val="1200"/>
              </a:spcAft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mage-led divider title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E5723794-4E50-48A6-BA6C-7CDB91BB63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286000"/>
            <a:ext cx="11277600" cy="228600"/>
          </a:xfrm>
          <a:prstGeom prst="rect">
            <a:avLst/>
          </a:prstGeom>
        </p:spPr>
        <p:txBody>
          <a:bodyPr lIns="228600" tIns="0" rIns="0" bIns="0"/>
          <a:lstStyle>
            <a:lvl1pPr>
              <a:spcBef>
                <a:spcPts val="600"/>
              </a:spcBef>
              <a:spcAft>
                <a:spcPts val="1200"/>
              </a:spcAft>
              <a:defRPr sz="21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ection Number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425B7C6-A1C7-4E81-8BCC-E284809AA6B5}"/>
              </a:ext>
            </a:extLst>
          </p:cNvPr>
          <p:cNvSpPr/>
          <p:nvPr userDrawn="1"/>
        </p:nvSpPr>
        <p:spPr>
          <a:xfrm>
            <a:off x="457200" y="914400"/>
            <a:ext cx="11277600" cy="5486400"/>
          </a:xfrm>
          <a:prstGeom prst="rect">
            <a:avLst/>
          </a:prstGeom>
          <a:noFill/>
          <a:ln w="50800" cmpd="sng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82737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6D392959-AA0A-446C-ABF5-A4AF1C9F58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5244" y="287530"/>
            <a:ext cx="1571226" cy="238893"/>
          </a:xfrm>
          <a:prstGeom prst="rect">
            <a:avLst/>
          </a:prstGeom>
        </p:spPr>
      </p:pic>
      <p:sp>
        <p:nvSpPr>
          <p:cNvPr id="2" name="Rectangle 3">
            <a:extLst>
              <a:ext uri="{FF2B5EF4-FFF2-40B4-BE49-F238E27FC236}">
                <a16:creationId xmlns:a16="http://schemas.microsoft.com/office/drawing/2014/main" id="{8F1F8D0E-B46C-D0C7-12F0-E67299AE746A}"/>
              </a:ext>
            </a:extLst>
          </p:cNvPr>
          <p:cNvSpPr/>
          <p:nvPr userDrawn="1"/>
        </p:nvSpPr>
        <p:spPr>
          <a:xfrm>
            <a:off x="10987626" y="6572233"/>
            <a:ext cx="1079303" cy="225767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en-AU" sz="867" b="1" i="0">
                <a:solidFill>
                  <a:schemeClr val="bg1">
                    <a:lumMod val="75000"/>
                  </a:schemeClr>
                </a:solidFill>
                <a:latin typeface="FS Elliot Pro Thin" panose="02000503030000020004" pitchFamily="50" charset="0"/>
              </a:rPr>
              <a:t>© Arcadis 2023 </a:t>
            </a:r>
          </a:p>
        </p:txBody>
      </p:sp>
    </p:spTree>
    <p:extLst>
      <p:ext uri="{BB962C8B-B14F-4D97-AF65-F5344CB8AC3E}">
        <p14:creationId xmlns:p14="http://schemas.microsoft.com/office/powerpoint/2010/main" val="1732622638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Divi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nip Single Corner Rectangle 8"/>
          <p:cNvSpPr/>
          <p:nvPr userDrawn="1"/>
        </p:nvSpPr>
        <p:spPr bwMode="ltGray">
          <a:xfrm flipH="1">
            <a:off x="539752" y="1620000"/>
            <a:ext cx="11087100" cy="4696663"/>
          </a:xfrm>
          <a:prstGeom prst="snip1Rect">
            <a:avLst>
              <a:gd name="adj" fmla="val 618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1"/>
          </a:p>
        </p:txBody>
      </p:sp>
      <p:sp>
        <p:nvSpPr>
          <p:cNvPr id="10" name="Right Triangle 9"/>
          <p:cNvSpPr/>
          <p:nvPr userDrawn="1"/>
        </p:nvSpPr>
        <p:spPr>
          <a:xfrm flipH="1">
            <a:off x="539750" y="1620000"/>
            <a:ext cx="288000" cy="28800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1"/>
          </a:p>
        </p:txBody>
      </p:sp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>
          <a:xfrm>
            <a:off x="1200002" y="1928372"/>
            <a:ext cx="8758917" cy="49859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Add section title</a:t>
            </a:r>
          </a:p>
        </p:txBody>
      </p:sp>
      <p:pic>
        <p:nvPicPr>
          <p:cNvPr id="3" name="sLogo">
            <a:extLst>
              <a:ext uri="{FF2B5EF4-FFF2-40B4-BE49-F238E27FC236}">
                <a16:creationId xmlns:a16="http://schemas.microsoft.com/office/drawing/2014/main" id="{61B66949-E93E-4E27-A49D-3B26E5D3C1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02000" y="396000"/>
            <a:ext cx="2826000" cy="298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3530365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Divider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nip Single Corner Rectangle 8"/>
          <p:cNvSpPr/>
          <p:nvPr userDrawn="1"/>
        </p:nvSpPr>
        <p:spPr bwMode="ltGray">
          <a:xfrm flipH="1">
            <a:off x="539752" y="1620000"/>
            <a:ext cx="11087100" cy="4696663"/>
          </a:xfrm>
          <a:prstGeom prst="snip1Rect">
            <a:avLst>
              <a:gd name="adj" fmla="val 6181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1"/>
          </a:p>
        </p:txBody>
      </p:sp>
      <p:sp>
        <p:nvSpPr>
          <p:cNvPr id="10" name="Right Triangle 9"/>
          <p:cNvSpPr/>
          <p:nvPr userDrawn="1"/>
        </p:nvSpPr>
        <p:spPr>
          <a:xfrm flipH="1">
            <a:off x="539750" y="1620000"/>
            <a:ext cx="288000" cy="28800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1"/>
          </a:p>
        </p:txBody>
      </p:sp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>
          <a:xfrm>
            <a:off x="1200002" y="1928372"/>
            <a:ext cx="8758917" cy="49859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Add section title</a:t>
            </a:r>
          </a:p>
        </p:txBody>
      </p:sp>
      <p:pic>
        <p:nvPicPr>
          <p:cNvPr id="3" name="sLogo">
            <a:extLst>
              <a:ext uri="{FF2B5EF4-FFF2-40B4-BE49-F238E27FC236}">
                <a16:creationId xmlns:a16="http://schemas.microsoft.com/office/drawing/2014/main" id="{27FF03B5-9ED8-4470-86A3-D469CD8DA6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02000" y="396000"/>
            <a:ext cx="2826000" cy="298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7402535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2" y="950400"/>
            <a:ext cx="11087100" cy="49859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s-ES"/>
              <a:t>Add title</a:t>
            </a:r>
          </a:p>
        </p:txBody>
      </p:sp>
      <p:grpSp>
        <p:nvGrpSpPr>
          <p:cNvPr id="8" name="Group 7"/>
          <p:cNvGrpSpPr>
            <a:grpSpLocks/>
          </p:cNvGrpSpPr>
          <p:nvPr userDrawn="1"/>
        </p:nvGrpSpPr>
        <p:grpSpPr bwMode="auto">
          <a:xfrm>
            <a:off x="6334850" y="2029750"/>
            <a:ext cx="5292000" cy="3488400"/>
            <a:chOff x="2337" y="1166"/>
            <a:chExt cx="3011" cy="1984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2337" y="1166"/>
              <a:ext cx="1621" cy="1557"/>
            </a:xfrm>
            <a:custGeom>
              <a:avLst/>
              <a:gdLst>
                <a:gd name="T0" fmla="*/ 415 w 685"/>
                <a:gd name="T1" fmla="*/ 240 h 657"/>
                <a:gd name="T2" fmla="*/ 376 w 685"/>
                <a:gd name="T3" fmla="*/ 280 h 657"/>
                <a:gd name="T4" fmla="*/ 356 w 685"/>
                <a:gd name="T5" fmla="*/ 300 h 657"/>
                <a:gd name="T6" fmla="*/ 353 w 685"/>
                <a:gd name="T7" fmla="*/ 328 h 657"/>
                <a:gd name="T8" fmla="*/ 309 w 685"/>
                <a:gd name="T9" fmla="*/ 328 h 657"/>
                <a:gd name="T10" fmla="*/ 309 w 685"/>
                <a:gd name="T11" fmla="*/ 317 h 657"/>
                <a:gd name="T12" fmla="*/ 316 w 685"/>
                <a:gd name="T13" fmla="*/ 281 h 657"/>
                <a:gd name="T14" fmla="*/ 344 w 685"/>
                <a:gd name="T15" fmla="*/ 250 h 657"/>
                <a:gd name="T16" fmla="*/ 370 w 685"/>
                <a:gd name="T17" fmla="*/ 227 h 657"/>
                <a:gd name="T18" fmla="*/ 376 w 685"/>
                <a:gd name="T19" fmla="*/ 208 h 657"/>
                <a:gd name="T20" fmla="*/ 365 w 685"/>
                <a:gd name="T21" fmla="*/ 184 h 657"/>
                <a:gd name="T22" fmla="*/ 334 w 685"/>
                <a:gd name="T23" fmla="*/ 174 h 657"/>
                <a:gd name="T24" fmla="*/ 303 w 685"/>
                <a:gd name="T25" fmla="*/ 184 h 657"/>
                <a:gd name="T26" fmla="*/ 286 w 685"/>
                <a:gd name="T27" fmla="*/ 217 h 657"/>
                <a:gd name="T28" fmla="*/ 241 w 685"/>
                <a:gd name="T29" fmla="*/ 211 h 657"/>
                <a:gd name="T30" fmla="*/ 267 w 685"/>
                <a:gd name="T31" fmla="*/ 158 h 657"/>
                <a:gd name="T32" fmla="*/ 332 w 685"/>
                <a:gd name="T33" fmla="*/ 137 h 657"/>
                <a:gd name="T34" fmla="*/ 399 w 685"/>
                <a:gd name="T35" fmla="*/ 159 h 657"/>
                <a:gd name="T36" fmla="*/ 424 w 685"/>
                <a:gd name="T37" fmla="*/ 210 h 657"/>
                <a:gd name="T38" fmla="*/ 415 w 685"/>
                <a:gd name="T39" fmla="*/ 240 h 657"/>
                <a:gd name="T40" fmla="*/ 358 w 685"/>
                <a:gd name="T41" fmla="*/ 394 h 657"/>
                <a:gd name="T42" fmla="*/ 309 w 685"/>
                <a:gd name="T43" fmla="*/ 394 h 657"/>
                <a:gd name="T44" fmla="*/ 309 w 685"/>
                <a:gd name="T45" fmla="*/ 345 h 657"/>
                <a:gd name="T46" fmla="*/ 358 w 685"/>
                <a:gd name="T47" fmla="*/ 345 h 657"/>
                <a:gd name="T48" fmla="*/ 358 w 685"/>
                <a:gd name="T49" fmla="*/ 394 h 657"/>
                <a:gd name="T50" fmla="*/ 584 w 685"/>
                <a:gd name="T51" fmla="*/ 82 h 657"/>
                <a:gd name="T52" fmla="*/ 343 w 685"/>
                <a:gd name="T53" fmla="*/ 0 h 657"/>
                <a:gd name="T54" fmla="*/ 101 w 685"/>
                <a:gd name="T55" fmla="*/ 82 h 657"/>
                <a:gd name="T56" fmla="*/ 0 w 685"/>
                <a:gd name="T57" fmla="*/ 283 h 657"/>
                <a:gd name="T58" fmla="*/ 101 w 685"/>
                <a:gd name="T59" fmla="*/ 484 h 657"/>
                <a:gd name="T60" fmla="*/ 343 w 685"/>
                <a:gd name="T61" fmla="*/ 565 h 657"/>
                <a:gd name="T62" fmla="*/ 411 w 685"/>
                <a:gd name="T63" fmla="*/ 560 h 657"/>
                <a:gd name="T64" fmla="*/ 497 w 685"/>
                <a:gd name="T65" fmla="*/ 653 h 657"/>
                <a:gd name="T66" fmla="*/ 507 w 685"/>
                <a:gd name="T67" fmla="*/ 657 h 657"/>
                <a:gd name="T68" fmla="*/ 512 w 685"/>
                <a:gd name="T69" fmla="*/ 657 h 657"/>
                <a:gd name="T70" fmla="*/ 521 w 685"/>
                <a:gd name="T71" fmla="*/ 644 h 657"/>
                <a:gd name="T72" fmla="*/ 521 w 685"/>
                <a:gd name="T73" fmla="*/ 524 h 657"/>
                <a:gd name="T74" fmla="*/ 584 w 685"/>
                <a:gd name="T75" fmla="*/ 484 h 657"/>
                <a:gd name="T76" fmla="*/ 685 w 685"/>
                <a:gd name="T77" fmla="*/ 283 h 657"/>
                <a:gd name="T78" fmla="*/ 584 w 685"/>
                <a:gd name="T79" fmla="*/ 82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85" h="657">
                  <a:moveTo>
                    <a:pt x="415" y="240"/>
                  </a:moveTo>
                  <a:cubicBezTo>
                    <a:pt x="409" y="250"/>
                    <a:pt x="396" y="263"/>
                    <a:pt x="376" y="280"/>
                  </a:cubicBezTo>
                  <a:cubicBezTo>
                    <a:pt x="365" y="288"/>
                    <a:pt x="359" y="295"/>
                    <a:pt x="356" y="300"/>
                  </a:cubicBezTo>
                  <a:cubicBezTo>
                    <a:pt x="354" y="306"/>
                    <a:pt x="353" y="315"/>
                    <a:pt x="353" y="328"/>
                  </a:cubicBezTo>
                  <a:cubicBezTo>
                    <a:pt x="309" y="328"/>
                    <a:pt x="309" y="328"/>
                    <a:pt x="309" y="328"/>
                  </a:cubicBezTo>
                  <a:cubicBezTo>
                    <a:pt x="309" y="322"/>
                    <a:pt x="309" y="318"/>
                    <a:pt x="309" y="317"/>
                  </a:cubicBezTo>
                  <a:cubicBezTo>
                    <a:pt x="309" y="302"/>
                    <a:pt x="311" y="291"/>
                    <a:pt x="316" y="281"/>
                  </a:cubicBezTo>
                  <a:cubicBezTo>
                    <a:pt x="320" y="272"/>
                    <a:pt x="330" y="262"/>
                    <a:pt x="344" y="250"/>
                  </a:cubicBezTo>
                  <a:cubicBezTo>
                    <a:pt x="358" y="238"/>
                    <a:pt x="367" y="231"/>
                    <a:pt x="370" y="227"/>
                  </a:cubicBezTo>
                  <a:cubicBezTo>
                    <a:pt x="374" y="222"/>
                    <a:pt x="376" y="215"/>
                    <a:pt x="376" y="208"/>
                  </a:cubicBezTo>
                  <a:cubicBezTo>
                    <a:pt x="376" y="199"/>
                    <a:pt x="372" y="191"/>
                    <a:pt x="365" y="184"/>
                  </a:cubicBezTo>
                  <a:cubicBezTo>
                    <a:pt x="357" y="177"/>
                    <a:pt x="347" y="174"/>
                    <a:pt x="334" y="174"/>
                  </a:cubicBezTo>
                  <a:cubicBezTo>
                    <a:pt x="322" y="174"/>
                    <a:pt x="311" y="177"/>
                    <a:pt x="303" y="184"/>
                  </a:cubicBezTo>
                  <a:cubicBezTo>
                    <a:pt x="295" y="192"/>
                    <a:pt x="289" y="202"/>
                    <a:pt x="286" y="217"/>
                  </a:cubicBezTo>
                  <a:cubicBezTo>
                    <a:pt x="241" y="211"/>
                    <a:pt x="241" y="211"/>
                    <a:pt x="241" y="211"/>
                  </a:cubicBezTo>
                  <a:cubicBezTo>
                    <a:pt x="242" y="190"/>
                    <a:pt x="251" y="173"/>
                    <a:pt x="267" y="158"/>
                  </a:cubicBezTo>
                  <a:cubicBezTo>
                    <a:pt x="284" y="144"/>
                    <a:pt x="305" y="137"/>
                    <a:pt x="332" y="137"/>
                  </a:cubicBezTo>
                  <a:cubicBezTo>
                    <a:pt x="360" y="137"/>
                    <a:pt x="382" y="144"/>
                    <a:pt x="399" y="159"/>
                  </a:cubicBezTo>
                  <a:cubicBezTo>
                    <a:pt x="416" y="173"/>
                    <a:pt x="424" y="190"/>
                    <a:pt x="424" y="210"/>
                  </a:cubicBezTo>
                  <a:cubicBezTo>
                    <a:pt x="424" y="221"/>
                    <a:pt x="421" y="231"/>
                    <a:pt x="415" y="240"/>
                  </a:cubicBezTo>
                  <a:moveTo>
                    <a:pt x="358" y="394"/>
                  </a:moveTo>
                  <a:cubicBezTo>
                    <a:pt x="309" y="394"/>
                    <a:pt x="309" y="394"/>
                    <a:pt x="309" y="394"/>
                  </a:cubicBezTo>
                  <a:cubicBezTo>
                    <a:pt x="309" y="345"/>
                    <a:pt x="309" y="345"/>
                    <a:pt x="309" y="345"/>
                  </a:cubicBezTo>
                  <a:cubicBezTo>
                    <a:pt x="358" y="345"/>
                    <a:pt x="358" y="345"/>
                    <a:pt x="358" y="345"/>
                  </a:cubicBezTo>
                  <a:lnTo>
                    <a:pt x="358" y="394"/>
                  </a:lnTo>
                  <a:close/>
                  <a:moveTo>
                    <a:pt x="584" y="82"/>
                  </a:moveTo>
                  <a:cubicBezTo>
                    <a:pt x="520" y="29"/>
                    <a:pt x="434" y="0"/>
                    <a:pt x="343" y="0"/>
                  </a:cubicBezTo>
                  <a:cubicBezTo>
                    <a:pt x="252" y="0"/>
                    <a:pt x="166" y="29"/>
                    <a:pt x="101" y="82"/>
                  </a:cubicBezTo>
                  <a:cubicBezTo>
                    <a:pt x="36" y="136"/>
                    <a:pt x="0" y="207"/>
                    <a:pt x="0" y="283"/>
                  </a:cubicBezTo>
                  <a:cubicBezTo>
                    <a:pt x="0" y="359"/>
                    <a:pt x="36" y="430"/>
                    <a:pt x="101" y="484"/>
                  </a:cubicBezTo>
                  <a:cubicBezTo>
                    <a:pt x="166" y="536"/>
                    <a:pt x="252" y="565"/>
                    <a:pt x="343" y="565"/>
                  </a:cubicBezTo>
                  <a:cubicBezTo>
                    <a:pt x="366" y="565"/>
                    <a:pt x="389" y="564"/>
                    <a:pt x="411" y="560"/>
                  </a:cubicBezTo>
                  <a:cubicBezTo>
                    <a:pt x="497" y="653"/>
                    <a:pt x="497" y="653"/>
                    <a:pt x="497" y="653"/>
                  </a:cubicBezTo>
                  <a:cubicBezTo>
                    <a:pt x="500" y="656"/>
                    <a:pt x="504" y="657"/>
                    <a:pt x="507" y="657"/>
                  </a:cubicBezTo>
                  <a:cubicBezTo>
                    <a:pt x="509" y="657"/>
                    <a:pt x="511" y="657"/>
                    <a:pt x="512" y="657"/>
                  </a:cubicBezTo>
                  <a:cubicBezTo>
                    <a:pt x="518" y="654"/>
                    <a:pt x="521" y="649"/>
                    <a:pt x="521" y="644"/>
                  </a:cubicBezTo>
                  <a:cubicBezTo>
                    <a:pt x="521" y="524"/>
                    <a:pt x="521" y="524"/>
                    <a:pt x="521" y="524"/>
                  </a:cubicBezTo>
                  <a:cubicBezTo>
                    <a:pt x="544" y="513"/>
                    <a:pt x="565" y="499"/>
                    <a:pt x="584" y="484"/>
                  </a:cubicBezTo>
                  <a:cubicBezTo>
                    <a:pt x="649" y="430"/>
                    <a:pt x="685" y="359"/>
                    <a:pt x="685" y="283"/>
                  </a:cubicBezTo>
                  <a:cubicBezTo>
                    <a:pt x="685" y="207"/>
                    <a:pt x="649" y="136"/>
                    <a:pt x="584" y="82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sz="1791"/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745" y="1590"/>
              <a:ext cx="1603" cy="1560"/>
            </a:xfrm>
            <a:custGeom>
              <a:avLst/>
              <a:gdLst>
                <a:gd name="T0" fmla="*/ 499 w 677"/>
                <a:gd name="T1" fmla="*/ 316 h 658"/>
                <a:gd name="T2" fmla="*/ 457 w 677"/>
                <a:gd name="T3" fmla="*/ 275 h 658"/>
                <a:gd name="T4" fmla="*/ 499 w 677"/>
                <a:gd name="T5" fmla="*/ 234 h 658"/>
                <a:gd name="T6" fmla="*/ 540 w 677"/>
                <a:gd name="T7" fmla="*/ 275 h 658"/>
                <a:gd name="T8" fmla="*/ 499 w 677"/>
                <a:gd name="T9" fmla="*/ 316 h 658"/>
                <a:gd name="T10" fmla="*/ 335 w 677"/>
                <a:gd name="T11" fmla="*/ 316 h 658"/>
                <a:gd name="T12" fmla="*/ 293 w 677"/>
                <a:gd name="T13" fmla="*/ 275 h 658"/>
                <a:gd name="T14" fmla="*/ 335 w 677"/>
                <a:gd name="T15" fmla="*/ 234 h 658"/>
                <a:gd name="T16" fmla="*/ 376 w 677"/>
                <a:gd name="T17" fmla="*/ 275 h 658"/>
                <a:gd name="T18" fmla="*/ 335 w 677"/>
                <a:gd name="T19" fmla="*/ 316 h 658"/>
                <a:gd name="T20" fmla="*/ 170 w 677"/>
                <a:gd name="T21" fmla="*/ 316 h 658"/>
                <a:gd name="T22" fmla="*/ 129 w 677"/>
                <a:gd name="T23" fmla="*/ 275 h 658"/>
                <a:gd name="T24" fmla="*/ 170 w 677"/>
                <a:gd name="T25" fmla="*/ 234 h 658"/>
                <a:gd name="T26" fmla="*/ 211 w 677"/>
                <a:gd name="T27" fmla="*/ 275 h 658"/>
                <a:gd name="T28" fmla="*/ 170 w 677"/>
                <a:gd name="T29" fmla="*/ 316 h 658"/>
                <a:gd name="T30" fmla="*/ 575 w 677"/>
                <a:gd name="T31" fmla="*/ 82 h 658"/>
                <a:gd name="T32" fmla="*/ 334 w 677"/>
                <a:gd name="T33" fmla="*/ 0 h 658"/>
                <a:gd name="T34" fmla="*/ 126 w 677"/>
                <a:gd name="T35" fmla="*/ 59 h 658"/>
                <a:gd name="T36" fmla="*/ 129 w 677"/>
                <a:gd name="T37" fmla="*/ 104 h 658"/>
                <a:gd name="T38" fmla="*/ 14 w 677"/>
                <a:gd name="T39" fmla="*/ 335 h 658"/>
                <a:gd name="T40" fmla="*/ 0 w 677"/>
                <a:gd name="T41" fmla="*/ 345 h 658"/>
                <a:gd name="T42" fmla="*/ 93 w 677"/>
                <a:gd name="T43" fmla="*/ 484 h 658"/>
                <a:gd name="T44" fmla="*/ 156 w 677"/>
                <a:gd name="T45" fmla="*/ 524 h 658"/>
                <a:gd name="T46" fmla="*/ 156 w 677"/>
                <a:gd name="T47" fmla="*/ 644 h 658"/>
                <a:gd name="T48" fmla="*/ 164 w 677"/>
                <a:gd name="T49" fmla="*/ 657 h 658"/>
                <a:gd name="T50" fmla="*/ 169 w 677"/>
                <a:gd name="T51" fmla="*/ 658 h 658"/>
                <a:gd name="T52" fmla="*/ 180 w 677"/>
                <a:gd name="T53" fmla="*/ 653 h 658"/>
                <a:gd name="T54" fmla="*/ 266 w 677"/>
                <a:gd name="T55" fmla="*/ 560 h 658"/>
                <a:gd name="T56" fmla="*/ 334 w 677"/>
                <a:gd name="T57" fmla="*/ 565 h 658"/>
                <a:gd name="T58" fmla="*/ 575 w 677"/>
                <a:gd name="T59" fmla="*/ 484 h 658"/>
                <a:gd name="T60" fmla="*/ 677 w 677"/>
                <a:gd name="T61" fmla="*/ 283 h 658"/>
                <a:gd name="T62" fmla="*/ 575 w 677"/>
                <a:gd name="T63" fmla="*/ 82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77" h="658">
                  <a:moveTo>
                    <a:pt x="499" y="316"/>
                  </a:moveTo>
                  <a:cubicBezTo>
                    <a:pt x="476" y="316"/>
                    <a:pt x="457" y="298"/>
                    <a:pt x="457" y="275"/>
                  </a:cubicBezTo>
                  <a:cubicBezTo>
                    <a:pt x="457" y="252"/>
                    <a:pt x="476" y="234"/>
                    <a:pt x="499" y="234"/>
                  </a:cubicBezTo>
                  <a:cubicBezTo>
                    <a:pt x="521" y="234"/>
                    <a:pt x="540" y="252"/>
                    <a:pt x="540" y="275"/>
                  </a:cubicBezTo>
                  <a:cubicBezTo>
                    <a:pt x="540" y="298"/>
                    <a:pt x="521" y="316"/>
                    <a:pt x="499" y="316"/>
                  </a:cubicBezTo>
                  <a:moveTo>
                    <a:pt x="335" y="316"/>
                  </a:moveTo>
                  <a:cubicBezTo>
                    <a:pt x="312" y="316"/>
                    <a:pt x="293" y="298"/>
                    <a:pt x="293" y="275"/>
                  </a:cubicBezTo>
                  <a:cubicBezTo>
                    <a:pt x="293" y="252"/>
                    <a:pt x="312" y="234"/>
                    <a:pt x="335" y="234"/>
                  </a:cubicBezTo>
                  <a:cubicBezTo>
                    <a:pt x="357" y="234"/>
                    <a:pt x="376" y="252"/>
                    <a:pt x="376" y="275"/>
                  </a:cubicBezTo>
                  <a:cubicBezTo>
                    <a:pt x="376" y="298"/>
                    <a:pt x="357" y="316"/>
                    <a:pt x="335" y="316"/>
                  </a:cubicBezTo>
                  <a:moveTo>
                    <a:pt x="170" y="316"/>
                  </a:moveTo>
                  <a:cubicBezTo>
                    <a:pt x="147" y="316"/>
                    <a:pt x="129" y="298"/>
                    <a:pt x="129" y="275"/>
                  </a:cubicBezTo>
                  <a:cubicBezTo>
                    <a:pt x="129" y="252"/>
                    <a:pt x="147" y="234"/>
                    <a:pt x="170" y="234"/>
                  </a:cubicBezTo>
                  <a:cubicBezTo>
                    <a:pt x="192" y="234"/>
                    <a:pt x="211" y="252"/>
                    <a:pt x="211" y="275"/>
                  </a:cubicBezTo>
                  <a:cubicBezTo>
                    <a:pt x="211" y="298"/>
                    <a:pt x="192" y="316"/>
                    <a:pt x="170" y="316"/>
                  </a:cubicBezTo>
                  <a:moveTo>
                    <a:pt x="575" y="82"/>
                  </a:moveTo>
                  <a:cubicBezTo>
                    <a:pt x="511" y="29"/>
                    <a:pt x="425" y="0"/>
                    <a:pt x="334" y="0"/>
                  </a:cubicBezTo>
                  <a:cubicBezTo>
                    <a:pt x="258" y="0"/>
                    <a:pt x="185" y="21"/>
                    <a:pt x="126" y="59"/>
                  </a:cubicBezTo>
                  <a:cubicBezTo>
                    <a:pt x="128" y="73"/>
                    <a:pt x="129" y="89"/>
                    <a:pt x="129" y="104"/>
                  </a:cubicBezTo>
                  <a:cubicBezTo>
                    <a:pt x="129" y="192"/>
                    <a:pt x="88" y="274"/>
                    <a:pt x="14" y="335"/>
                  </a:cubicBezTo>
                  <a:cubicBezTo>
                    <a:pt x="9" y="338"/>
                    <a:pt x="5" y="342"/>
                    <a:pt x="0" y="345"/>
                  </a:cubicBezTo>
                  <a:cubicBezTo>
                    <a:pt x="14" y="397"/>
                    <a:pt x="46" y="445"/>
                    <a:pt x="93" y="484"/>
                  </a:cubicBezTo>
                  <a:cubicBezTo>
                    <a:pt x="112" y="499"/>
                    <a:pt x="133" y="513"/>
                    <a:pt x="156" y="524"/>
                  </a:cubicBezTo>
                  <a:cubicBezTo>
                    <a:pt x="156" y="644"/>
                    <a:pt x="156" y="644"/>
                    <a:pt x="156" y="644"/>
                  </a:cubicBezTo>
                  <a:cubicBezTo>
                    <a:pt x="156" y="649"/>
                    <a:pt x="159" y="655"/>
                    <a:pt x="164" y="657"/>
                  </a:cubicBezTo>
                  <a:cubicBezTo>
                    <a:pt x="166" y="657"/>
                    <a:pt x="168" y="658"/>
                    <a:pt x="169" y="658"/>
                  </a:cubicBezTo>
                  <a:cubicBezTo>
                    <a:pt x="173" y="658"/>
                    <a:pt x="177" y="656"/>
                    <a:pt x="180" y="653"/>
                  </a:cubicBezTo>
                  <a:cubicBezTo>
                    <a:pt x="266" y="560"/>
                    <a:pt x="266" y="560"/>
                    <a:pt x="266" y="560"/>
                  </a:cubicBezTo>
                  <a:cubicBezTo>
                    <a:pt x="288" y="564"/>
                    <a:pt x="311" y="565"/>
                    <a:pt x="334" y="565"/>
                  </a:cubicBezTo>
                  <a:cubicBezTo>
                    <a:pt x="425" y="565"/>
                    <a:pt x="511" y="536"/>
                    <a:pt x="575" y="484"/>
                  </a:cubicBezTo>
                  <a:cubicBezTo>
                    <a:pt x="641" y="430"/>
                    <a:pt x="677" y="359"/>
                    <a:pt x="677" y="283"/>
                  </a:cubicBezTo>
                  <a:cubicBezTo>
                    <a:pt x="677" y="207"/>
                    <a:pt x="641" y="136"/>
                    <a:pt x="575" y="82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sz="1791"/>
            </a:p>
          </p:txBody>
        </p:sp>
      </p:grpSp>
      <p:sp>
        <p:nvSpPr>
          <p:cNvPr id="6" name="Rectangle 5"/>
          <p:cNvSpPr/>
          <p:nvPr userDrawn="1"/>
        </p:nvSpPr>
        <p:spPr bwMode="white">
          <a:xfrm>
            <a:off x="0" y="6316668"/>
            <a:ext cx="12192000" cy="54133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1"/>
          </a:p>
        </p:txBody>
      </p:sp>
    </p:spTree>
    <p:extLst>
      <p:ext uri="{BB962C8B-B14F-4D97-AF65-F5344CB8AC3E}">
        <p14:creationId xmlns:p14="http://schemas.microsoft.com/office/powerpoint/2010/main" val="2396641629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ltGray">
          <a:xfrm flipH="1">
            <a:off x="0" y="1800000"/>
            <a:ext cx="12192000" cy="50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1"/>
          </a:p>
        </p:txBody>
      </p:sp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>
          <a:xfrm>
            <a:off x="720000" y="2237468"/>
            <a:ext cx="10752000" cy="83099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5970">
                <a:solidFill>
                  <a:schemeClr val="bg1"/>
                </a:solidFill>
              </a:defRPr>
            </a:lvl1pPr>
          </a:lstStyle>
          <a:p>
            <a:r>
              <a:rPr lang="es-ES"/>
              <a:t>Add title</a:t>
            </a:r>
          </a:p>
        </p:txBody>
      </p:sp>
      <p:pic>
        <p:nvPicPr>
          <p:cNvPr id="3" name="sLogo">
            <a:extLst>
              <a:ext uri="{FF2B5EF4-FFF2-40B4-BE49-F238E27FC236}">
                <a16:creationId xmlns:a16="http://schemas.microsoft.com/office/drawing/2014/main" id="{17FDFA41-930C-48FD-9776-C0D284E842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8000" y="396000"/>
            <a:ext cx="3420000" cy="361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269447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mproving Qua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099427" y="6408005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pPr/>
              <a:t>05/10/2025</a:t>
            </a:fld>
            <a:endParaRPr lang="es-E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319588" y="6408005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6" name="TextBox 5"/>
          <p:cNvSpPr txBox="1"/>
          <p:nvPr userDrawn="1"/>
        </p:nvSpPr>
        <p:spPr>
          <a:xfrm>
            <a:off x="540000" y="2792239"/>
            <a:ext cx="6084011" cy="122084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4427"/>
              </a:lnSpc>
            </a:pPr>
            <a:r>
              <a:rPr lang="es-ES" sz="4378">
                <a:solidFill>
                  <a:srgbClr val="000000"/>
                </a:solidFill>
                <a:latin typeface="Arial"/>
                <a:cs typeface="Arial"/>
              </a:rPr>
              <a:t>Arcadis.</a:t>
            </a:r>
          </a:p>
          <a:p>
            <a:pPr>
              <a:lnSpc>
                <a:spcPts val="4427"/>
              </a:lnSpc>
            </a:pPr>
            <a:r>
              <a:rPr lang="es-ES" sz="4378" err="1">
                <a:solidFill>
                  <a:srgbClr val="E4610F"/>
                </a:solidFill>
                <a:latin typeface="Arial"/>
                <a:cs typeface="Arial"/>
              </a:rPr>
              <a:t>Improving</a:t>
            </a:r>
            <a:r>
              <a:rPr lang="es-ES" sz="4378">
                <a:solidFill>
                  <a:srgbClr val="E4610F"/>
                </a:solidFill>
                <a:latin typeface="Arial"/>
                <a:cs typeface="Arial"/>
              </a:rPr>
              <a:t> </a:t>
            </a:r>
            <a:r>
              <a:rPr lang="es-ES" sz="4378" err="1">
                <a:solidFill>
                  <a:srgbClr val="E4610F"/>
                </a:solidFill>
                <a:latin typeface="Arial"/>
                <a:cs typeface="Arial"/>
              </a:rPr>
              <a:t>quality</a:t>
            </a:r>
            <a:r>
              <a:rPr lang="es-ES" sz="4378">
                <a:solidFill>
                  <a:srgbClr val="E4610F"/>
                </a:solidFill>
                <a:latin typeface="Arial"/>
                <a:cs typeface="Arial"/>
              </a:rPr>
              <a:t> of </a:t>
            </a:r>
            <a:r>
              <a:rPr lang="es-ES" sz="4378" err="1">
                <a:solidFill>
                  <a:srgbClr val="E4610F"/>
                </a:solidFill>
                <a:latin typeface="Arial"/>
                <a:cs typeface="Arial"/>
              </a:rPr>
              <a:t>life</a:t>
            </a:r>
            <a:r>
              <a:rPr lang="es-ES" sz="4378">
                <a:solidFill>
                  <a:srgbClr val="E4610F"/>
                </a:solidFill>
                <a:latin typeface="Arial"/>
                <a:cs typeface="Arial"/>
              </a:rPr>
              <a:t>.</a:t>
            </a:r>
          </a:p>
        </p:txBody>
      </p: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24B95631-314D-4621-869A-240677BEFBBA}"/>
              </a:ext>
            </a:extLst>
          </p:cNvPr>
          <p:cNvCxnSpPr>
            <a:cxnSpLocks/>
          </p:cNvCxnSpPr>
          <p:nvPr userDrawn="1"/>
        </p:nvCxnSpPr>
        <p:spPr>
          <a:xfrm>
            <a:off x="1451144" y="6529985"/>
            <a:ext cx="1074085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40180386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111067" y="6408005"/>
            <a:ext cx="2899423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n-US" smtClean="0"/>
              <a:t>10/5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319588" y="6408005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149781" y="6408005"/>
            <a:ext cx="320439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719669" y="5614663"/>
            <a:ext cx="10750551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9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8652" indent="0">
              <a:buNone/>
              <a:defRPr/>
            </a:lvl3pPr>
            <a:lvl4pPr marL="537303" indent="0">
              <a:buNone/>
              <a:defRPr/>
            </a:lvl4pPr>
            <a:lvl5pPr marL="805955" indent="0">
              <a:buNone/>
              <a:defRPr/>
            </a:lvl5pPr>
          </a:lstStyle>
          <a:p>
            <a:pPr lvl="0"/>
            <a:r>
              <a:rPr lang="en-US"/>
              <a:t>Click to add kicker or ‘so what’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1461594314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AF43ADC-C920-4075-B458-FD54945B61DD}"/>
              </a:ext>
            </a:extLst>
          </p:cNvPr>
          <p:cNvSpPr/>
          <p:nvPr userDrawn="1"/>
        </p:nvSpPr>
        <p:spPr>
          <a:xfrm>
            <a:off x="0" y="0"/>
            <a:ext cx="12192000" cy="5341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5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C5D7FA4E-11D1-1B28-828D-6F8B7E64DD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5244" y="287532"/>
            <a:ext cx="1571226" cy="238893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id="{F7396361-9FC0-6417-9431-116A8E052B2A}"/>
              </a:ext>
            </a:extLst>
          </p:cNvPr>
          <p:cNvSpPr/>
          <p:nvPr userDrawn="1"/>
        </p:nvSpPr>
        <p:spPr>
          <a:xfrm>
            <a:off x="10248901" y="200027"/>
            <a:ext cx="1724025" cy="3341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044" err="1"/>
          </a:p>
        </p:txBody>
      </p:sp>
    </p:spTree>
    <p:extLst>
      <p:ext uri="{BB962C8B-B14F-4D97-AF65-F5344CB8AC3E}">
        <p14:creationId xmlns:p14="http://schemas.microsoft.com/office/powerpoint/2010/main" val="353077296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Divider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">
            <a:extLst>
              <a:ext uri="{FF2B5EF4-FFF2-40B4-BE49-F238E27FC236}">
                <a16:creationId xmlns:a16="http://schemas.microsoft.com/office/drawing/2014/main" id="{F4A0732C-B51B-4D7E-96CE-96902446D14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sz="2044"/>
          </a:p>
        </p:txBody>
      </p:sp>
      <p:sp>
        <p:nvSpPr>
          <p:cNvPr id="4" name="Subtitle">
            <a:extLst>
              <a:ext uri="{FF2B5EF4-FFF2-40B4-BE49-F238E27FC236}">
                <a16:creationId xmlns:a16="http://schemas.microsoft.com/office/drawing/2014/main" id="{25BFBBFB-8E08-48BD-8CC0-CA020C1072B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57200" y="3199502"/>
            <a:ext cx="112776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2095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Divider subtitle if required</a:t>
            </a: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0DE94DB5-0030-4178-945A-A963BB29DBC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57200" y="2285102"/>
            <a:ext cx="11277600" cy="6858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5586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title</a:t>
            </a:r>
          </a:p>
        </p:txBody>
      </p:sp>
      <p:sp>
        <p:nvSpPr>
          <p:cNvPr id="6" name="Section number - title">
            <a:extLst>
              <a:ext uri="{FF2B5EF4-FFF2-40B4-BE49-F238E27FC236}">
                <a16:creationId xmlns:a16="http://schemas.microsoft.com/office/drawing/2014/main" id="{D11D28BB-E46C-4756-BF17-F48487E51BE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819275"/>
            <a:ext cx="112776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2095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Number</a:t>
            </a:r>
          </a:p>
        </p:txBody>
      </p:sp>
    </p:spTree>
    <p:extLst>
      <p:ext uri="{BB962C8B-B14F-4D97-AF65-F5344CB8AC3E}">
        <p14:creationId xmlns:p14="http://schemas.microsoft.com/office/powerpoint/2010/main" val="2525008710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Overlay n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">
            <a:extLst>
              <a:ext uri="{FF2B5EF4-FFF2-40B4-BE49-F238E27FC236}">
                <a16:creationId xmlns:a16="http://schemas.microsoft.com/office/drawing/2014/main" id="{72E1C252-F8D8-B245-A44E-63FC8C772147}"/>
              </a:ext>
            </a:extLst>
          </p:cNvPr>
          <p:cNvSpPr/>
          <p:nvPr userDrawn="1"/>
        </p:nvSpPr>
        <p:spPr>
          <a:xfrm>
            <a:off x="0" y="0"/>
            <a:ext cx="3075709" cy="6858000"/>
          </a:xfrm>
          <a:prstGeom prst="rect">
            <a:avLst/>
          </a:prstGeom>
          <a:solidFill>
            <a:srgbClr val="E1E1E1">
              <a:alpha val="74902"/>
            </a:srgbClr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44"/>
              <a:t> </a:t>
            </a:r>
            <a:endParaRPr lang="en-PH" sz="2044"/>
          </a:p>
        </p:txBody>
      </p:sp>
      <p:sp>
        <p:nvSpPr>
          <p:cNvPr id="9" name="Text">
            <a:extLst>
              <a:ext uri="{FF2B5EF4-FFF2-40B4-BE49-F238E27FC236}">
                <a16:creationId xmlns:a16="http://schemas.microsoft.com/office/drawing/2014/main" id="{19AF6AE8-D2B1-4EB5-BBB4-9077B1F7CB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743200"/>
            <a:ext cx="2466109" cy="2514600"/>
          </a:xfrm>
          <a:prstGeom prst="rect">
            <a:avLst/>
          </a:prstGeom>
        </p:spPr>
        <p:txBody>
          <a:bodyPr lIns="0" tIns="0" rIns="90000" bIns="0"/>
          <a:lstStyle>
            <a:lvl1pPr>
              <a:lnSpc>
                <a:spcPct val="100000"/>
              </a:lnSpc>
              <a:spcBef>
                <a:spcPts val="599"/>
              </a:spcBef>
              <a:spcAft>
                <a:spcPts val="1197"/>
              </a:spcAft>
              <a:defRPr sz="159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55ECC8B-4B56-4777-97FD-BF1D9B8F06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2" y="1600200"/>
            <a:ext cx="2466108" cy="914400"/>
          </a:xfrm>
          <a:prstGeom prst="rect">
            <a:avLst/>
          </a:prstGeom>
        </p:spPr>
        <p:txBody>
          <a:bodyPr rIns="90000">
            <a:noAutofit/>
          </a:bodyPr>
          <a:lstStyle>
            <a:lvl1pPr>
              <a:defRPr sz="2793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Title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4063820034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Overlay n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">
            <a:extLst>
              <a:ext uri="{FF2B5EF4-FFF2-40B4-BE49-F238E27FC236}">
                <a16:creationId xmlns:a16="http://schemas.microsoft.com/office/drawing/2014/main" id="{72E1C252-F8D8-B245-A44E-63FC8C772147}"/>
              </a:ext>
            </a:extLst>
          </p:cNvPr>
          <p:cNvSpPr/>
          <p:nvPr userDrawn="1"/>
        </p:nvSpPr>
        <p:spPr>
          <a:xfrm>
            <a:off x="0" y="0"/>
            <a:ext cx="3075709" cy="6858000"/>
          </a:xfrm>
          <a:prstGeom prst="rect">
            <a:avLst/>
          </a:prstGeom>
          <a:solidFill>
            <a:srgbClr val="E1E1E1">
              <a:alpha val="74902"/>
            </a:srgbClr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44"/>
              <a:t> </a:t>
            </a:r>
            <a:endParaRPr lang="en-PH" sz="2044"/>
          </a:p>
        </p:txBody>
      </p:sp>
      <p:sp>
        <p:nvSpPr>
          <p:cNvPr id="9" name="Text">
            <a:extLst>
              <a:ext uri="{FF2B5EF4-FFF2-40B4-BE49-F238E27FC236}">
                <a16:creationId xmlns:a16="http://schemas.microsoft.com/office/drawing/2014/main" id="{19AF6AE8-D2B1-4EB5-BBB4-9077B1F7CB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743200"/>
            <a:ext cx="2466109" cy="2514600"/>
          </a:xfrm>
          <a:prstGeom prst="rect">
            <a:avLst/>
          </a:prstGeom>
        </p:spPr>
        <p:txBody>
          <a:bodyPr lIns="0" tIns="0" rIns="90000" bIns="0"/>
          <a:lstStyle>
            <a:lvl1pPr>
              <a:lnSpc>
                <a:spcPct val="100000"/>
              </a:lnSpc>
              <a:spcBef>
                <a:spcPts val="599"/>
              </a:spcBef>
              <a:spcAft>
                <a:spcPts val="1197"/>
              </a:spcAft>
              <a:defRPr sz="159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55ECC8B-4B56-4777-97FD-BF1D9B8F06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2" y="1600200"/>
            <a:ext cx="2466108" cy="914400"/>
          </a:xfrm>
          <a:prstGeom prst="rect">
            <a:avLst/>
          </a:prstGeom>
        </p:spPr>
        <p:txBody>
          <a:bodyPr rIns="90000">
            <a:noAutofit/>
          </a:bodyPr>
          <a:lstStyle>
            <a:lvl1pPr>
              <a:defRPr sz="2793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Title</a:t>
            </a:r>
            <a:endParaRPr lang="en-PH"/>
          </a:p>
        </p:txBody>
      </p:sp>
      <p:sp>
        <p:nvSpPr>
          <p:cNvPr id="5" name="Picture">
            <a:extLst>
              <a:ext uri="{FF2B5EF4-FFF2-40B4-BE49-F238E27FC236}">
                <a16:creationId xmlns:a16="http://schemas.microsoft.com/office/drawing/2014/main" id="{0BD5BAE7-4431-416F-B7DF-ED27C96F92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38600" y="914400"/>
            <a:ext cx="7696200" cy="29718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r">
              <a:defRPr lang="en-US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9269280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6" descr="A picture containing drawing&#10;&#10;Description automatically generated">
            <a:extLst>
              <a:ext uri="{FF2B5EF4-FFF2-40B4-BE49-F238E27FC236}">
                <a16:creationId xmlns:a16="http://schemas.microsoft.com/office/drawing/2014/main" id="{77338C28-6149-4F76-BFEE-C4372A905F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53493" y="204584"/>
            <a:ext cx="1690949" cy="303047"/>
          </a:xfrm>
          <a:prstGeom prst="rect">
            <a:avLst/>
          </a:prstGeom>
        </p:spPr>
      </p:pic>
      <p:sp>
        <p:nvSpPr>
          <p:cNvPr id="3" name="Rectangle 3">
            <a:extLst>
              <a:ext uri="{FF2B5EF4-FFF2-40B4-BE49-F238E27FC236}">
                <a16:creationId xmlns:a16="http://schemas.microsoft.com/office/drawing/2014/main" id="{9E8C48B8-751A-C6FD-1DCF-30C328FE3361}"/>
              </a:ext>
            </a:extLst>
          </p:cNvPr>
          <p:cNvSpPr/>
          <p:nvPr userDrawn="1"/>
        </p:nvSpPr>
        <p:spPr>
          <a:xfrm>
            <a:off x="10987626" y="6572233"/>
            <a:ext cx="1079303" cy="225767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en-AU" sz="867" b="1" i="0">
                <a:solidFill>
                  <a:schemeClr val="bg1">
                    <a:lumMod val="75000"/>
                  </a:schemeClr>
                </a:solidFill>
                <a:latin typeface="FS Elliot Pro Thin" panose="02000503030000020004" pitchFamily="50" charset="0"/>
              </a:rPr>
              <a:t>© Arcadis 2023 </a:t>
            </a:r>
          </a:p>
        </p:txBody>
      </p:sp>
    </p:spTree>
    <p:extLst>
      <p:ext uri="{BB962C8B-B14F-4D97-AF65-F5344CB8AC3E}">
        <p14:creationId xmlns:p14="http://schemas.microsoft.com/office/powerpoint/2010/main" val="4046083411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Box grey -  4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4">
            <a:extLst>
              <a:ext uri="{FF2B5EF4-FFF2-40B4-BE49-F238E27FC236}">
                <a16:creationId xmlns:a16="http://schemas.microsoft.com/office/drawing/2014/main" id="{5B8D96E4-66A6-421A-A9EC-23A80FDAEC4C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3284152" y="2078519"/>
            <a:ext cx="2811600" cy="23760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  <a:ln>
            <a:noFill/>
          </a:ln>
        </p:spPr>
        <p:txBody>
          <a:bodyPr vert="horz" lIns="0" tIns="0" rIns="0" bIns="0" rtlCol="0" anchor="ctr" anchorCtr="0">
            <a:normAutofit/>
          </a:bodyPr>
          <a:lstStyle>
            <a:lvl1pPr>
              <a:defRPr lang="de-DE" sz="1397" b="1">
                <a:solidFill>
                  <a:schemeClr val="tx2"/>
                </a:solidFill>
              </a:defRPr>
            </a:lvl1pPr>
          </a:lstStyle>
          <a:p>
            <a:pPr marR="0" lvl="0" algn="ctr" fontAlgn="auto">
              <a:buClrTx/>
              <a:buSzTx/>
              <a:buNone/>
              <a:tabLst/>
            </a:pPr>
            <a:r>
              <a:rPr lang="de-DE"/>
              <a:t> </a:t>
            </a:r>
          </a:p>
        </p:txBody>
      </p:sp>
      <p:sp>
        <p:nvSpPr>
          <p:cNvPr id="11" name="Picture 3">
            <a:extLst>
              <a:ext uri="{FF2B5EF4-FFF2-40B4-BE49-F238E27FC236}">
                <a16:creationId xmlns:a16="http://schemas.microsoft.com/office/drawing/2014/main" id="{DCC33012-4360-4D4B-B5B5-911741809FE3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457200" y="2078519"/>
            <a:ext cx="2824219" cy="23760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  <a:ln>
            <a:noFill/>
          </a:ln>
        </p:spPr>
        <p:txBody>
          <a:bodyPr vert="horz" lIns="0" tIns="0" rIns="0" bIns="0" rtlCol="0" anchor="ctr" anchorCtr="0">
            <a:normAutofit/>
          </a:bodyPr>
          <a:lstStyle>
            <a:lvl1pPr>
              <a:defRPr lang="de-DE" sz="1397" b="1">
                <a:solidFill>
                  <a:schemeClr val="tx2"/>
                </a:solidFill>
              </a:defRPr>
            </a:lvl1pPr>
          </a:lstStyle>
          <a:p>
            <a:pPr marR="0" lvl="0" algn="ctr" fontAlgn="auto">
              <a:buClrTx/>
              <a:buSzTx/>
              <a:buNone/>
              <a:tabLst/>
            </a:pPr>
            <a:r>
              <a:rPr lang="de-DE"/>
              <a:t> </a:t>
            </a:r>
          </a:p>
        </p:txBody>
      </p:sp>
      <p:sp>
        <p:nvSpPr>
          <p:cNvPr id="10" name="Picture 2">
            <a:extLst>
              <a:ext uri="{FF2B5EF4-FFF2-40B4-BE49-F238E27FC236}">
                <a16:creationId xmlns:a16="http://schemas.microsoft.com/office/drawing/2014/main" id="{853D612B-9047-44BC-8B7D-B6DF111FB4F9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8917581" y="2078519"/>
            <a:ext cx="2811600" cy="23760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  <a:ln>
            <a:noFill/>
          </a:ln>
        </p:spPr>
        <p:txBody>
          <a:bodyPr anchor="ctr" anchorCtr="0"/>
          <a:lstStyle>
            <a:lvl1pPr>
              <a:defRPr lang="de-DE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de-DE"/>
              <a:t> </a:t>
            </a:r>
          </a:p>
        </p:txBody>
      </p:sp>
      <p:sp>
        <p:nvSpPr>
          <p:cNvPr id="9" name="Picture 1">
            <a:extLst>
              <a:ext uri="{FF2B5EF4-FFF2-40B4-BE49-F238E27FC236}">
                <a16:creationId xmlns:a16="http://schemas.microsoft.com/office/drawing/2014/main" id="{91461AB1-69F2-462A-9279-A4ECDAD99106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6097691" y="2078519"/>
            <a:ext cx="2819890" cy="23760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  <a:ln>
            <a:noFill/>
          </a:ln>
        </p:spPr>
        <p:txBody>
          <a:bodyPr anchor="ctr" anchorCtr="0"/>
          <a:lstStyle>
            <a:lvl1pPr>
              <a:defRPr lang="de-DE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de-DE"/>
              <a:t> </a:t>
            </a:r>
          </a:p>
        </p:txBody>
      </p:sp>
      <p:sp>
        <p:nvSpPr>
          <p:cNvPr id="13" name="Subtitle_21">
            <a:extLst>
              <a:ext uri="{FF2B5EF4-FFF2-40B4-BE49-F238E27FC236}">
                <a16:creationId xmlns:a16="http://schemas.microsoft.com/office/drawing/2014/main" id="{F2710B13-9352-4DB1-A93E-F4C71A3028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24" y="1350023"/>
            <a:ext cx="11255976" cy="478779"/>
          </a:xfrm>
        </p:spPr>
        <p:txBody>
          <a:bodyPr lIns="0" tIns="0" bIns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095" b="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err="1"/>
              <a:t>Subtitle</a:t>
            </a:r>
            <a:endParaRPr lang="de-DE"/>
          </a:p>
        </p:txBody>
      </p:sp>
      <p:sp>
        <p:nvSpPr>
          <p:cNvPr id="14" name="Title">
            <a:extLst>
              <a:ext uri="{FF2B5EF4-FFF2-40B4-BE49-F238E27FC236}">
                <a16:creationId xmlns:a16="http://schemas.microsoft.com/office/drawing/2014/main" id="{1CEB1569-0A74-416F-BD85-2FC402E2EA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2"/>
            <a:ext cx="11277600" cy="6857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Title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592825975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8030D9-29CA-4941-B6E3-3C47A94806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914402"/>
            <a:ext cx="11277600" cy="6857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00027578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8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800000"/>
            <a:ext cx="12192000" cy="50580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s-ES"/>
              <a:t> </a:t>
            </a:r>
          </a:p>
          <a:p>
            <a:r>
              <a:rPr lang="es-ES"/>
              <a:t> </a:t>
            </a:r>
          </a:p>
          <a:p>
            <a:endParaRPr lang="es-ES"/>
          </a:p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icon</a:t>
            </a:r>
            <a:r>
              <a:rPr lang="es-ES"/>
              <a:t> to </a:t>
            </a:r>
            <a:r>
              <a:rPr lang="es-ES" err="1"/>
              <a:t>add</a:t>
            </a:r>
            <a:r>
              <a:rPr lang="es-ES"/>
              <a:t> </a:t>
            </a:r>
            <a:r>
              <a:rPr lang="es-ES" err="1"/>
              <a:t>picture</a:t>
            </a:r>
            <a:endParaRPr lang="es-ES"/>
          </a:p>
          <a:p>
            <a:endParaRPr lang="es-E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3" hasCustomPrompt="1"/>
          </p:nvPr>
        </p:nvSpPr>
        <p:spPr bwMode="ltGray">
          <a:xfrm flipH="1">
            <a:off x="540001" y="2070000"/>
            <a:ext cx="11086850" cy="1620000"/>
          </a:xfrm>
          <a:prstGeom prst="snip1Rect">
            <a:avLst>
              <a:gd name="adj" fmla="val 17843"/>
            </a:avLst>
          </a:prstGeom>
          <a:solidFill>
            <a:schemeClr val="accent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s-ES"/>
              <a:t> 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4" hasCustomPrompt="1"/>
          </p:nvPr>
        </p:nvSpPr>
        <p:spPr>
          <a:xfrm flipH="1">
            <a:off x="540000" y="2070000"/>
            <a:ext cx="288000" cy="288000"/>
          </a:xfrm>
          <a:prstGeom prst="rtTriangle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s-ES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63998" y="2330912"/>
            <a:ext cx="9946800" cy="49859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90000"/>
              </a:lnSpc>
              <a:spcAft>
                <a:spcPts val="0"/>
              </a:spcAft>
              <a:defRPr sz="3582" b="1" cap="all" baseline="0">
                <a:solidFill>
                  <a:schemeClr val="bg1"/>
                </a:solidFill>
              </a:defRPr>
            </a:lvl1pPr>
          </a:lstStyle>
          <a:p>
            <a:r>
              <a:rPr lang="es-ES" err="1"/>
              <a:t>Add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63998" y="2825013"/>
            <a:ext cx="9946800" cy="6647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388">
                <a:solidFill>
                  <a:schemeClr val="bg1"/>
                </a:solidFill>
              </a:defRPr>
            </a:lvl1pPr>
            <a:lvl2pPr marL="454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09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4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197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46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29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44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39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Add subtitle</a:t>
            </a:r>
          </a:p>
        </p:txBody>
      </p:sp>
      <p:pic>
        <p:nvPicPr>
          <p:cNvPr id="5" name="sLogo">
            <a:extLst>
              <a:ext uri="{FF2B5EF4-FFF2-40B4-BE49-F238E27FC236}">
                <a16:creationId xmlns:a16="http://schemas.microsoft.com/office/drawing/2014/main" id="{68486EC4-168A-402F-9CA3-705ED75AFD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8000" y="396000"/>
            <a:ext cx="3420000" cy="361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536118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752" y="1656001"/>
            <a:ext cx="11087100" cy="386732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099427" y="6408006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t>05/10/2025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19589" y="6408006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85652" y="6408006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t>‹#›</a:t>
            </a:fld>
            <a:endParaRPr lang="es-E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539751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9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8658" indent="0">
              <a:buNone/>
              <a:defRPr/>
            </a:lvl3pPr>
            <a:lvl4pPr marL="537316" indent="0">
              <a:buNone/>
              <a:defRPr/>
            </a:lvl4pPr>
            <a:lvl5pPr marL="805974" indent="0">
              <a:buNone/>
              <a:defRPr/>
            </a:lvl5pPr>
          </a:lstStyle>
          <a:p>
            <a:pPr lvl="0"/>
            <a:r>
              <a:rPr lang="es-ES"/>
              <a:t>Click to add kicker or ‘so what’. Delete if not required.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>
          <a:xfrm>
            <a:off x="539752" y="950400"/>
            <a:ext cx="11087100" cy="49859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s-ES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1255244179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2" y="950400"/>
            <a:ext cx="11087100" cy="498598"/>
          </a:xfrm>
          <a:prstGeom prst="rect">
            <a:avLst/>
          </a:prstGeom>
        </p:spPr>
        <p:txBody>
          <a:bodyPr/>
          <a:lstStyle>
            <a:lvl1pPr>
              <a:defRPr b="0">
                <a:latin typeface="Arial Nova Light" panose="020B0304020202020204" pitchFamily="34" charset="0"/>
              </a:defRPr>
            </a:lvl1pPr>
          </a:lstStyle>
          <a:p>
            <a:r>
              <a:rPr lang="es-ES"/>
              <a:t>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750" y="2358900"/>
            <a:ext cx="11087099" cy="3159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 Nova Light" panose="020B0304020202020204" pitchFamily="34" charset="0"/>
              </a:defRPr>
            </a:lvl1pPr>
            <a:lvl2pPr>
              <a:defRPr>
                <a:latin typeface="Arial Nova Light" panose="020B0304020202020204" pitchFamily="34" charset="0"/>
              </a:defRPr>
            </a:lvl2pPr>
            <a:lvl3pPr>
              <a:defRPr>
                <a:latin typeface="Arial Nova Light" panose="020B0304020202020204" pitchFamily="34" charset="0"/>
              </a:defRPr>
            </a:lvl3pPr>
            <a:lvl4pPr>
              <a:defRPr>
                <a:latin typeface="Arial Nova Light" panose="020B0304020202020204" pitchFamily="34" charset="0"/>
              </a:defRPr>
            </a:lvl4pPr>
            <a:lvl5pPr>
              <a:defRPr>
                <a:latin typeface="Arial Nova Light" panose="020B0304020202020204" pitchFamily="34" charset="0"/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099427" y="6408006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t>05/10/2025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19589" y="6408006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85652" y="6408006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t>‹#›</a:t>
            </a:fld>
            <a:endParaRPr lang="es-ES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2" y="1477756"/>
            <a:ext cx="11087100" cy="6093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190">
                <a:latin typeface="Arial Nova Light" panose="020B0304020202020204" pitchFamily="34" charset="0"/>
              </a:defRPr>
            </a:lvl1pPr>
            <a:lvl5pPr>
              <a:defRPr/>
            </a:lvl5pPr>
          </a:lstStyle>
          <a:p>
            <a:pPr lvl="0"/>
            <a:r>
              <a:rPr lang="es-ES" err="1"/>
              <a:t>Add</a:t>
            </a:r>
            <a:r>
              <a:rPr lang="es-ES"/>
              <a:t> </a:t>
            </a:r>
            <a:r>
              <a:rPr lang="es-ES" err="1"/>
              <a:t>subtitle</a:t>
            </a:r>
            <a:endParaRPr lang="es-E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 bwMode="ltGray">
          <a:xfrm>
            <a:off x="539751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9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8658" indent="0">
              <a:buNone/>
              <a:defRPr/>
            </a:lvl3pPr>
            <a:lvl4pPr marL="537316" indent="0">
              <a:buNone/>
              <a:defRPr/>
            </a:lvl4pPr>
            <a:lvl5pPr marL="805974" indent="0">
              <a:buNone/>
              <a:defRPr/>
            </a:lvl5pPr>
          </a:lstStyle>
          <a:p>
            <a:pPr lvl="0"/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add</a:t>
            </a:r>
            <a:r>
              <a:rPr lang="es-ES"/>
              <a:t> </a:t>
            </a:r>
            <a:r>
              <a:rPr lang="es-ES" err="1"/>
              <a:t>kicker</a:t>
            </a:r>
            <a:r>
              <a:rPr lang="es-ES"/>
              <a:t> </a:t>
            </a:r>
            <a:r>
              <a:rPr lang="es-ES" err="1"/>
              <a:t>or</a:t>
            </a:r>
            <a:r>
              <a:rPr lang="es-ES"/>
              <a:t> ‘so </a:t>
            </a:r>
            <a:r>
              <a:rPr lang="es-ES" err="1"/>
              <a:t>what</a:t>
            </a:r>
            <a:r>
              <a:rPr lang="es-ES"/>
              <a:t>’. </a:t>
            </a:r>
            <a:r>
              <a:rPr lang="es-ES" err="1"/>
              <a:t>Delete</a:t>
            </a:r>
            <a:r>
              <a:rPr lang="es-ES"/>
              <a:t> </a:t>
            </a:r>
            <a:r>
              <a:rPr lang="es-ES" err="1"/>
              <a:t>if</a:t>
            </a:r>
            <a:r>
              <a:rPr lang="es-ES"/>
              <a:t> </a:t>
            </a:r>
            <a:r>
              <a:rPr lang="es-ES" err="1"/>
              <a:t>not</a:t>
            </a:r>
            <a:r>
              <a:rPr lang="es-ES"/>
              <a:t> </a:t>
            </a:r>
            <a:r>
              <a:rPr lang="es-ES" err="1"/>
              <a:t>required</a:t>
            </a:r>
            <a:r>
              <a:rPr lang="es-E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018360738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2" y="950400"/>
            <a:ext cx="11087100" cy="498598"/>
          </a:xfrm>
          <a:prstGeom prst="rect">
            <a:avLst/>
          </a:prstGeom>
        </p:spPr>
        <p:txBody>
          <a:bodyPr/>
          <a:lstStyle/>
          <a:p>
            <a:r>
              <a:rPr lang="es-ES" err="1"/>
              <a:t>Add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9753" y="1656001"/>
            <a:ext cx="5418137" cy="38621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91"/>
            </a:lvl1pPr>
            <a:lvl2pPr>
              <a:defRPr sz="1592"/>
            </a:lvl2pPr>
            <a:lvl3pPr>
              <a:defRPr sz="1394"/>
            </a:lvl3pPr>
            <a:lvl4pPr>
              <a:defRPr sz="1194"/>
            </a:lvl4pPr>
            <a:lvl5pPr>
              <a:defRPr sz="1194"/>
            </a:lvl5pPr>
            <a:lvl6pPr>
              <a:defRPr sz="1194"/>
            </a:lvl6pPr>
            <a:lvl7pPr>
              <a:defRPr sz="1194" baseline="0"/>
            </a:lvl7pPr>
            <a:lvl8pPr>
              <a:defRPr sz="1194" baseline="0"/>
            </a:lvl8pPr>
            <a:lvl9pPr>
              <a:defRPr sz="1194" baseline="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8713" y="1656001"/>
            <a:ext cx="5418136" cy="38621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91"/>
            </a:lvl1pPr>
            <a:lvl2pPr>
              <a:defRPr sz="1592"/>
            </a:lvl2pPr>
            <a:lvl3pPr>
              <a:defRPr sz="1394"/>
            </a:lvl3pPr>
            <a:lvl4pPr>
              <a:defRPr sz="1194"/>
            </a:lvl4pPr>
            <a:lvl5pPr>
              <a:defRPr sz="1194"/>
            </a:lvl5pPr>
            <a:lvl6pPr>
              <a:defRPr sz="1194"/>
            </a:lvl6pPr>
            <a:lvl7pPr>
              <a:defRPr sz="1194"/>
            </a:lvl7pPr>
            <a:lvl8pPr>
              <a:defRPr sz="1194"/>
            </a:lvl8pPr>
            <a:lvl9pPr>
              <a:defRPr sz="1194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099427" y="6408006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t>05/10/2025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319589" y="6408006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385652" y="6408006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t>‹#›</a:t>
            </a:fld>
            <a:endParaRPr lang="es-ES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539751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9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8658" indent="0">
              <a:buNone/>
              <a:defRPr/>
            </a:lvl3pPr>
            <a:lvl4pPr marL="537316" indent="0">
              <a:buNone/>
              <a:defRPr/>
            </a:lvl4pPr>
            <a:lvl5pPr marL="805974" indent="0">
              <a:buNone/>
              <a:defRPr/>
            </a:lvl5pPr>
          </a:lstStyle>
          <a:p>
            <a:pPr lvl="0"/>
            <a:r>
              <a:rPr lang="es-ES"/>
              <a:t>Click to add kicker or ‘so what’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2352423710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, 2 Content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2" y="950400"/>
            <a:ext cx="11087100" cy="49859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s-ES"/>
              <a:t>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9750" y="1540264"/>
            <a:ext cx="5418138" cy="33239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791" b="1">
                <a:solidFill>
                  <a:schemeClr val="accent1"/>
                </a:solidFill>
              </a:defRPr>
            </a:lvl1pPr>
            <a:lvl2pPr marL="454928" indent="0">
              <a:buNone/>
              <a:defRPr sz="1990" b="1"/>
            </a:lvl2pPr>
            <a:lvl3pPr marL="909856" indent="0">
              <a:buNone/>
              <a:defRPr sz="1791" b="1"/>
            </a:lvl3pPr>
            <a:lvl4pPr marL="1364783" indent="0">
              <a:buNone/>
              <a:defRPr sz="1592" b="1"/>
            </a:lvl4pPr>
            <a:lvl5pPr marL="1819711" indent="0">
              <a:buNone/>
              <a:defRPr sz="1592" b="1"/>
            </a:lvl5pPr>
            <a:lvl6pPr marL="2274639" indent="0">
              <a:buNone/>
              <a:defRPr sz="1592" b="1"/>
            </a:lvl6pPr>
            <a:lvl7pPr marL="2729566" indent="0">
              <a:buNone/>
              <a:defRPr sz="1592" b="1"/>
            </a:lvl7pPr>
            <a:lvl8pPr marL="3184495" indent="0">
              <a:buNone/>
              <a:defRPr sz="1592" b="1"/>
            </a:lvl8pPr>
            <a:lvl9pPr marL="3639422" indent="0">
              <a:buNone/>
              <a:defRPr sz="1592" b="1"/>
            </a:lvl9pPr>
          </a:lstStyle>
          <a:p>
            <a:pPr lvl="0"/>
            <a:r>
              <a:rPr lang="es-ES"/>
              <a:t>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9750" y="1872658"/>
            <a:ext cx="5418138" cy="364549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91"/>
            </a:lvl1pPr>
            <a:lvl2pPr>
              <a:defRPr sz="1592"/>
            </a:lvl2pPr>
            <a:lvl3pPr>
              <a:defRPr sz="1394"/>
            </a:lvl3pPr>
            <a:lvl4pPr>
              <a:defRPr sz="1194"/>
            </a:lvl4pPr>
            <a:lvl5pPr>
              <a:defRPr sz="1194"/>
            </a:lvl5pPr>
            <a:lvl6pPr>
              <a:defRPr sz="1194"/>
            </a:lvl6pPr>
            <a:lvl7pPr>
              <a:defRPr sz="1194"/>
            </a:lvl7pPr>
            <a:lvl8pPr>
              <a:defRPr sz="1194"/>
            </a:lvl8pPr>
            <a:lvl9pPr>
              <a:defRPr sz="1194" baseline="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08717" y="1541368"/>
            <a:ext cx="5418135" cy="33239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791" b="1">
                <a:solidFill>
                  <a:schemeClr val="accent1"/>
                </a:solidFill>
              </a:defRPr>
            </a:lvl1pPr>
            <a:lvl2pPr marL="454928" indent="0">
              <a:buNone/>
              <a:defRPr sz="1990" b="1"/>
            </a:lvl2pPr>
            <a:lvl3pPr marL="909856" indent="0">
              <a:buNone/>
              <a:defRPr sz="1791" b="1"/>
            </a:lvl3pPr>
            <a:lvl4pPr marL="1364783" indent="0">
              <a:buNone/>
              <a:defRPr sz="1592" b="1"/>
            </a:lvl4pPr>
            <a:lvl5pPr marL="1819711" indent="0">
              <a:buNone/>
              <a:defRPr sz="1592" b="1"/>
            </a:lvl5pPr>
            <a:lvl6pPr marL="2274639" indent="0">
              <a:buNone/>
              <a:defRPr sz="1592" b="1"/>
            </a:lvl6pPr>
            <a:lvl7pPr marL="2729566" indent="0">
              <a:buNone/>
              <a:defRPr sz="1592" b="1"/>
            </a:lvl7pPr>
            <a:lvl8pPr marL="3184495" indent="0">
              <a:buNone/>
              <a:defRPr sz="1592" b="1"/>
            </a:lvl8pPr>
            <a:lvl9pPr marL="3639422" indent="0">
              <a:buNone/>
              <a:defRPr sz="1592" b="1"/>
            </a:lvl9pPr>
          </a:lstStyle>
          <a:p>
            <a:pPr lvl="0"/>
            <a:r>
              <a:rPr lang="es-ES"/>
              <a:t>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08714" y="1872660"/>
            <a:ext cx="5418136" cy="364549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91"/>
            </a:lvl1pPr>
            <a:lvl2pPr>
              <a:defRPr sz="1592"/>
            </a:lvl2pPr>
            <a:lvl3pPr>
              <a:defRPr sz="1394"/>
            </a:lvl3pPr>
            <a:lvl4pPr>
              <a:defRPr sz="1194"/>
            </a:lvl4pPr>
            <a:lvl5pPr>
              <a:defRPr sz="1194"/>
            </a:lvl5pPr>
            <a:lvl6pPr>
              <a:defRPr sz="1194"/>
            </a:lvl6pPr>
            <a:lvl7pPr>
              <a:defRPr sz="1194"/>
            </a:lvl7pPr>
            <a:lvl8pPr>
              <a:defRPr sz="1194" baseline="0"/>
            </a:lvl8pPr>
            <a:lvl9pPr>
              <a:defRPr sz="1194" baseline="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099427" y="6408006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t>05/10/2025</a:t>
            </a:fld>
            <a:endParaRPr lang="es-E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319589" y="6408006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1385652" y="6408006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t>‹#›</a:t>
            </a:fld>
            <a:endParaRPr lang="es-E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539751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9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8658" indent="0">
              <a:buNone/>
              <a:defRPr/>
            </a:lvl3pPr>
            <a:lvl4pPr marL="537316" indent="0">
              <a:buNone/>
              <a:defRPr/>
            </a:lvl4pPr>
            <a:lvl5pPr marL="805974" indent="0">
              <a:buNone/>
              <a:defRPr/>
            </a:lvl5pPr>
          </a:lstStyle>
          <a:p>
            <a:pPr lvl="0"/>
            <a:r>
              <a:rPr lang="es-ES"/>
              <a:t>Click to add kicker or ‘so what’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2979262582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, Subtitle, 2 Content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2" y="950400"/>
            <a:ext cx="11087100" cy="49859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s-ES"/>
              <a:t>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9750" y="2273869"/>
            <a:ext cx="5418138" cy="33239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791" b="1">
                <a:solidFill>
                  <a:schemeClr val="accent1"/>
                </a:solidFill>
              </a:defRPr>
            </a:lvl1pPr>
            <a:lvl2pPr marL="454928" indent="0">
              <a:buNone/>
              <a:defRPr sz="1990" b="1"/>
            </a:lvl2pPr>
            <a:lvl3pPr marL="909856" indent="0">
              <a:buNone/>
              <a:defRPr sz="1791" b="1"/>
            </a:lvl3pPr>
            <a:lvl4pPr marL="1364783" indent="0">
              <a:buNone/>
              <a:defRPr sz="1592" b="1"/>
            </a:lvl4pPr>
            <a:lvl5pPr marL="1819711" indent="0">
              <a:buNone/>
              <a:defRPr sz="1592" b="1"/>
            </a:lvl5pPr>
            <a:lvl6pPr marL="2274639" indent="0">
              <a:buNone/>
              <a:defRPr sz="1592" b="1"/>
            </a:lvl6pPr>
            <a:lvl7pPr marL="2729566" indent="0">
              <a:buNone/>
              <a:defRPr sz="1592" b="1"/>
            </a:lvl7pPr>
            <a:lvl8pPr marL="3184495" indent="0">
              <a:buNone/>
              <a:defRPr sz="1592" b="1"/>
            </a:lvl8pPr>
            <a:lvl9pPr marL="3639422" indent="0">
              <a:buNone/>
              <a:defRPr sz="1592" b="1"/>
            </a:lvl9pPr>
          </a:lstStyle>
          <a:p>
            <a:pPr lvl="0"/>
            <a:r>
              <a:rPr lang="es-ES"/>
              <a:t>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9750" y="2614745"/>
            <a:ext cx="5418138" cy="290341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91"/>
            </a:lvl1pPr>
            <a:lvl2pPr>
              <a:defRPr sz="1592"/>
            </a:lvl2pPr>
            <a:lvl3pPr>
              <a:defRPr sz="1394"/>
            </a:lvl3pPr>
            <a:lvl4pPr>
              <a:defRPr sz="1194"/>
            </a:lvl4pPr>
            <a:lvl5pPr>
              <a:defRPr sz="1194"/>
            </a:lvl5pPr>
            <a:lvl6pPr>
              <a:defRPr sz="1194"/>
            </a:lvl6pPr>
            <a:lvl7pPr>
              <a:defRPr sz="1194"/>
            </a:lvl7pPr>
            <a:lvl8pPr>
              <a:defRPr sz="1194"/>
            </a:lvl8pPr>
            <a:lvl9pPr>
              <a:defRPr sz="1194" baseline="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08716" y="2282348"/>
            <a:ext cx="5418137" cy="33239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791" b="1">
                <a:solidFill>
                  <a:schemeClr val="accent1"/>
                </a:solidFill>
              </a:defRPr>
            </a:lvl1pPr>
            <a:lvl2pPr marL="454928" indent="0">
              <a:buNone/>
              <a:defRPr sz="1990" b="1"/>
            </a:lvl2pPr>
            <a:lvl3pPr marL="909856" indent="0">
              <a:buNone/>
              <a:defRPr sz="1791" b="1"/>
            </a:lvl3pPr>
            <a:lvl4pPr marL="1364783" indent="0">
              <a:buNone/>
              <a:defRPr sz="1592" b="1"/>
            </a:lvl4pPr>
            <a:lvl5pPr marL="1819711" indent="0">
              <a:buNone/>
              <a:defRPr sz="1592" b="1"/>
            </a:lvl5pPr>
            <a:lvl6pPr marL="2274639" indent="0">
              <a:buNone/>
              <a:defRPr sz="1592" b="1"/>
            </a:lvl6pPr>
            <a:lvl7pPr marL="2729566" indent="0">
              <a:buNone/>
              <a:defRPr sz="1592" b="1"/>
            </a:lvl7pPr>
            <a:lvl8pPr marL="3184495" indent="0">
              <a:buNone/>
              <a:defRPr sz="1592" b="1"/>
            </a:lvl8pPr>
            <a:lvl9pPr marL="3639422" indent="0">
              <a:buNone/>
              <a:defRPr sz="1592" b="1"/>
            </a:lvl9pPr>
          </a:lstStyle>
          <a:p>
            <a:pPr lvl="0"/>
            <a:r>
              <a:rPr lang="es-ES"/>
              <a:t>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08716" y="2614746"/>
            <a:ext cx="5418135" cy="29034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91"/>
            </a:lvl1pPr>
            <a:lvl2pPr>
              <a:defRPr sz="1592"/>
            </a:lvl2pPr>
            <a:lvl3pPr>
              <a:defRPr sz="1394"/>
            </a:lvl3pPr>
            <a:lvl4pPr>
              <a:defRPr sz="1194"/>
            </a:lvl4pPr>
            <a:lvl5pPr>
              <a:defRPr sz="1194"/>
            </a:lvl5pPr>
            <a:lvl6pPr>
              <a:defRPr sz="1194"/>
            </a:lvl6pPr>
            <a:lvl7pPr>
              <a:defRPr sz="1194"/>
            </a:lvl7pPr>
            <a:lvl8pPr>
              <a:defRPr sz="1194" baseline="0"/>
            </a:lvl8pPr>
            <a:lvl9pPr>
              <a:defRPr sz="1194" baseline="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099427" y="6408006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t>05/10/2025</a:t>
            </a:fld>
            <a:endParaRPr lang="es-E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319589" y="6408006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1385652" y="6408006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t>‹#›</a:t>
            </a:fld>
            <a:endParaRPr lang="es-ES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2" y="1477756"/>
            <a:ext cx="11087098" cy="6093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190"/>
            </a:lvl1pPr>
            <a:lvl5pPr>
              <a:defRPr/>
            </a:lvl5pPr>
          </a:lstStyle>
          <a:p>
            <a:pPr lvl="0"/>
            <a:r>
              <a:rPr lang="es-ES"/>
              <a:t>Add subtitle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4" hasCustomPrompt="1"/>
          </p:nvPr>
        </p:nvSpPr>
        <p:spPr bwMode="ltGray">
          <a:xfrm>
            <a:off x="539751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9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8658" indent="0">
              <a:buNone/>
              <a:defRPr/>
            </a:lvl3pPr>
            <a:lvl4pPr marL="537316" indent="0">
              <a:buNone/>
              <a:defRPr/>
            </a:lvl4pPr>
            <a:lvl5pPr marL="805974" indent="0">
              <a:buNone/>
              <a:defRPr/>
            </a:lvl5pPr>
          </a:lstStyle>
          <a:p>
            <a:pPr lvl="0"/>
            <a:r>
              <a:rPr lang="es-ES"/>
              <a:t>Click to add kicker or ‘so what’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1595354700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, Subtitle, Basic Text, 2 Content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2" y="950400"/>
            <a:ext cx="11087100" cy="49859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s-ES"/>
              <a:t>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9750" y="3142806"/>
            <a:ext cx="5418138" cy="33239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791" b="1">
                <a:solidFill>
                  <a:schemeClr val="accent1"/>
                </a:solidFill>
              </a:defRPr>
            </a:lvl1pPr>
            <a:lvl2pPr marL="454928" indent="0">
              <a:buNone/>
              <a:defRPr sz="1990" b="1"/>
            </a:lvl2pPr>
            <a:lvl3pPr marL="909856" indent="0">
              <a:buNone/>
              <a:defRPr sz="1791" b="1"/>
            </a:lvl3pPr>
            <a:lvl4pPr marL="1364783" indent="0">
              <a:buNone/>
              <a:defRPr sz="1592" b="1"/>
            </a:lvl4pPr>
            <a:lvl5pPr marL="1819711" indent="0">
              <a:buNone/>
              <a:defRPr sz="1592" b="1"/>
            </a:lvl5pPr>
            <a:lvl6pPr marL="2274639" indent="0">
              <a:buNone/>
              <a:defRPr sz="1592" b="1"/>
            </a:lvl6pPr>
            <a:lvl7pPr marL="2729566" indent="0">
              <a:buNone/>
              <a:defRPr sz="1592" b="1"/>
            </a:lvl7pPr>
            <a:lvl8pPr marL="3184495" indent="0">
              <a:buNone/>
              <a:defRPr sz="1592" b="1"/>
            </a:lvl8pPr>
            <a:lvl9pPr marL="3639422" indent="0">
              <a:buNone/>
              <a:defRPr sz="1592" b="1"/>
            </a:lvl9pPr>
          </a:lstStyle>
          <a:p>
            <a:pPr lvl="0"/>
            <a:r>
              <a:rPr lang="es-ES"/>
              <a:t>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9750" y="3475205"/>
            <a:ext cx="5418138" cy="204295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91"/>
            </a:lvl1pPr>
            <a:lvl2pPr>
              <a:defRPr sz="1592"/>
            </a:lvl2pPr>
            <a:lvl3pPr>
              <a:defRPr sz="1394"/>
            </a:lvl3pPr>
            <a:lvl4pPr>
              <a:defRPr sz="1194"/>
            </a:lvl4pPr>
            <a:lvl5pPr>
              <a:defRPr sz="1194"/>
            </a:lvl5pPr>
            <a:lvl6pPr>
              <a:defRPr sz="1194"/>
            </a:lvl6pPr>
            <a:lvl7pPr>
              <a:defRPr sz="1194"/>
            </a:lvl7pPr>
            <a:lvl8pPr>
              <a:defRPr sz="1194"/>
            </a:lvl8pPr>
            <a:lvl9pPr>
              <a:defRPr sz="1194" baseline="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08715" y="3142806"/>
            <a:ext cx="5418134" cy="33239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791" b="1">
                <a:solidFill>
                  <a:schemeClr val="accent1"/>
                </a:solidFill>
              </a:defRPr>
            </a:lvl1pPr>
            <a:lvl2pPr marL="454928" indent="0">
              <a:buNone/>
              <a:defRPr sz="1990" b="1"/>
            </a:lvl2pPr>
            <a:lvl3pPr marL="909856" indent="0">
              <a:buNone/>
              <a:defRPr sz="1791" b="1"/>
            </a:lvl3pPr>
            <a:lvl4pPr marL="1364783" indent="0">
              <a:buNone/>
              <a:defRPr sz="1592" b="1"/>
            </a:lvl4pPr>
            <a:lvl5pPr marL="1819711" indent="0">
              <a:buNone/>
              <a:defRPr sz="1592" b="1"/>
            </a:lvl5pPr>
            <a:lvl6pPr marL="2274639" indent="0">
              <a:buNone/>
              <a:defRPr sz="1592" b="1"/>
            </a:lvl6pPr>
            <a:lvl7pPr marL="2729566" indent="0">
              <a:buNone/>
              <a:defRPr sz="1592" b="1"/>
            </a:lvl7pPr>
            <a:lvl8pPr marL="3184495" indent="0">
              <a:buNone/>
              <a:defRPr sz="1592" b="1"/>
            </a:lvl8pPr>
            <a:lvl9pPr marL="3639422" indent="0">
              <a:buNone/>
              <a:defRPr sz="1592" b="1"/>
            </a:lvl9pPr>
          </a:lstStyle>
          <a:p>
            <a:pPr lvl="0"/>
            <a:r>
              <a:rPr lang="es-ES"/>
              <a:t>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08714" y="3475204"/>
            <a:ext cx="5418136" cy="20429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91"/>
            </a:lvl1pPr>
            <a:lvl2pPr>
              <a:defRPr sz="1592"/>
            </a:lvl2pPr>
            <a:lvl3pPr>
              <a:defRPr sz="1394"/>
            </a:lvl3pPr>
            <a:lvl4pPr>
              <a:defRPr sz="1194"/>
            </a:lvl4pPr>
            <a:lvl5pPr>
              <a:defRPr sz="1194"/>
            </a:lvl5pPr>
            <a:lvl6pPr>
              <a:defRPr sz="1194"/>
            </a:lvl6pPr>
            <a:lvl7pPr>
              <a:defRPr sz="1194"/>
            </a:lvl7pPr>
            <a:lvl8pPr>
              <a:defRPr sz="1194" baseline="0"/>
            </a:lvl8pPr>
            <a:lvl9pPr>
              <a:defRPr sz="1194" baseline="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099427" y="6408006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t>05/10/2025</a:t>
            </a:fld>
            <a:endParaRPr lang="es-E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319589" y="6408006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1385652" y="6408006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t>‹#›</a:t>
            </a:fld>
            <a:endParaRPr lang="es-ES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1" y="1477756"/>
            <a:ext cx="11087099" cy="6093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190"/>
            </a:lvl1pPr>
            <a:lvl5pPr>
              <a:defRPr/>
            </a:lvl5pPr>
          </a:lstStyle>
          <a:p>
            <a:pPr lvl="0"/>
            <a:r>
              <a:rPr lang="es-ES"/>
              <a:t>Add subtitle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4" hasCustomPrompt="1"/>
          </p:nvPr>
        </p:nvSpPr>
        <p:spPr bwMode="ltGray">
          <a:xfrm>
            <a:off x="539751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9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8658" indent="0">
              <a:buNone/>
              <a:defRPr/>
            </a:lvl3pPr>
            <a:lvl4pPr marL="537316" indent="0">
              <a:buNone/>
              <a:defRPr/>
            </a:lvl4pPr>
            <a:lvl5pPr marL="805974" indent="0">
              <a:buNone/>
              <a:defRPr/>
            </a:lvl5pPr>
          </a:lstStyle>
          <a:p>
            <a:pPr lvl="0"/>
            <a:r>
              <a:rPr lang="es-ES"/>
              <a:t>Click to add kicker or ‘so what’. Delete if not required.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539753" y="2358000"/>
            <a:ext cx="11087098" cy="72943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/>
            </a:lvl1pPr>
            <a:lvl2pPr marL="0" indent="0">
              <a:buNone/>
              <a:defRPr/>
            </a:lvl2pPr>
            <a:lvl3pPr marL="268658" indent="0">
              <a:buNone/>
              <a:defRPr/>
            </a:lvl3pPr>
            <a:lvl4pPr marL="537316" indent="0">
              <a:buNone/>
              <a:defRPr/>
            </a:lvl4pPr>
            <a:lvl5pPr marL="805974" indent="0">
              <a:buNone/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573149417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2" y="950400"/>
            <a:ext cx="11087100" cy="498598"/>
          </a:xfrm>
          <a:prstGeom prst="rect">
            <a:avLst/>
          </a:prstGeom>
        </p:spPr>
        <p:txBody>
          <a:bodyPr/>
          <a:lstStyle/>
          <a:p>
            <a:r>
              <a:rPr lang="es-ES"/>
              <a:t>Add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099427" y="6408006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t>05/10/2025</a:t>
            </a:fld>
            <a:endParaRPr lang="es-E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319589" y="6408006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385652" y="6408006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t>‹#›</a:t>
            </a:fld>
            <a:endParaRPr lang="es-ES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539751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9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8658" indent="0">
              <a:buNone/>
              <a:defRPr/>
            </a:lvl3pPr>
            <a:lvl4pPr marL="537316" indent="0">
              <a:buNone/>
              <a:defRPr/>
            </a:lvl4pPr>
            <a:lvl5pPr marL="805974" indent="0">
              <a:buNone/>
              <a:defRPr/>
            </a:lvl5pPr>
          </a:lstStyle>
          <a:p>
            <a:pPr lvl="0"/>
            <a:r>
              <a:rPr lang="es-ES"/>
              <a:t>Click to add kicker or ‘so what’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327369014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EAA6ED-8684-4742-B3EE-2E49C6AD3FD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95994" y="1600201"/>
            <a:ext cx="11000014" cy="36576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A4585DF-D1CE-4D14-B6A9-EAB47DA347EF}"/>
              </a:ext>
            </a:extLst>
          </p:cNvPr>
          <p:cNvSpPr/>
          <p:nvPr userDrawn="1"/>
        </p:nvSpPr>
        <p:spPr>
          <a:xfrm>
            <a:off x="2" y="1"/>
            <a:ext cx="12192000" cy="240030"/>
          </a:xfrm>
          <a:prstGeom prst="rect">
            <a:avLst/>
          </a:prstGeom>
          <a:solidFill>
            <a:schemeClr val="accent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5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AB592402-8BA5-4467-8B83-6D6CD20EAB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5244" y="287530"/>
            <a:ext cx="1571226" cy="238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6899231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099427" y="6408006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t>05/10/2025</a:t>
            </a:fld>
            <a:endParaRPr lang="es-E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319589" y="6408006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385652" y="6408006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t>‹#›</a:t>
            </a:fld>
            <a:endParaRPr lang="es-ES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539751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9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8658" indent="0">
              <a:buNone/>
              <a:defRPr/>
            </a:lvl3pPr>
            <a:lvl4pPr marL="537316" indent="0">
              <a:buNone/>
              <a:defRPr/>
            </a:lvl4pPr>
            <a:lvl5pPr marL="805974" indent="0">
              <a:buNone/>
              <a:defRPr/>
            </a:lvl5pPr>
          </a:lstStyle>
          <a:p>
            <a:pPr lvl="0"/>
            <a:r>
              <a:rPr lang="es-ES"/>
              <a:t>Click to add kicker or ‘so what’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2875339539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, Subtitle, Content and Narrow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11068" y="1006480"/>
            <a:ext cx="3515782" cy="45116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91"/>
            </a:lvl1pPr>
            <a:lvl2pPr>
              <a:defRPr sz="1592" baseline="0"/>
            </a:lvl2pPr>
            <a:lvl3pPr>
              <a:defRPr sz="1394"/>
            </a:lvl3pPr>
            <a:lvl4pPr>
              <a:defRPr sz="1194"/>
            </a:lvl4pPr>
            <a:lvl5pPr>
              <a:defRPr sz="1194"/>
            </a:lvl5pPr>
            <a:lvl6pPr>
              <a:defRPr sz="1194"/>
            </a:lvl6pPr>
            <a:lvl7pPr>
              <a:defRPr sz="1194"/>
            </a:lvl7pPr>
            <a:lvl8pPr>
              <a:defRPr sz="1194"/>
            </a:lvl8pPr>
            <a:lvl9pPr>
              <a:defRPr sz="1194" baseline="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099427" y="6408006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t>05/10/2025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319589" y="6408006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385652" y="6408006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t>‹#›</a:t>
            </a:fld>
            <a:endParaRPr lang="es-ES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39753" y="950208"/>
            <a:ext cx="7307261" cy="49859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s-ES"/>
              <a:t>Add tit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539752" y="2358002"/>
            <a:ext cx="7307263" cy="316014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2" y="1477756"/>
            <a:ext cx="7307263" cy="6093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190"/>
            </a:lvl1pPr>
            <a:lvl5pPr>
              <a:defRPr/>
            </a:lvl5pPr>
          </a:lstStyle>
          <a:p>
            <a:pPr lvl="0"/>
            <a:r>
              <a:rPr lang="es-ES"/>
              <a:t>Add subtitle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5" hasCustomPrompt="1"/>
          </p:nvPr>
        </p:nvSpPr>
        <p:spPr bwMode="ltGray">
          <a:xfrm>
            <a:off x="539751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9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8658" indent="0">
              <a:buNone/>
              <a:defRPr/>
            </a:lvl3pPr>
            <a:lvl4pPr marL="537316" indent="0">
              <a:buNone/>
              <a:defRPr/>
            </a:lvl4pPr>
            <a:lvl5pPr marL="805974" indent="0">
              <a:buNone/>
              <a:defRPr/>
            </a:lvl5pPr>
          </a:lstStyle>
          <a:p>
            <a:pPr lvl="0"/>
            <a:r>
              <a:rPr lang="es-ES"/>
              <a:t>Click to add kicker or ‘so what’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3826169906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, Subtitle, Content and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099427" y="6408006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t>05/10/2025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319589" y="6408006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385652" y="6408006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t>‹#›</a:t>
            </a:fld>
            <a:endParaRPr lang="es-ES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39753" y="950208"/>
            <a:ext cx="7307261" cy="49859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s-ES"/>
              <a:t>Add tit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539752" y="2358001"/>
            <a:ext cx="7307263" cy="31601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grpSp>
        <p:nvGrpSpPr>
          <p:cNvPr id="2" name="Group 1"/>
          <p:cNvGrpSpPr/>
          <p:nvPr userDrawn="1"/>
        </p:nvGrpSpPr>
        <p:grpSpPr bwMode="ltGray">
          <a:xfrm>
            <a:off x="8111068" y="2102136"/>
            <a:ext cx="3515782" cy="360000"/>
            <a:chOff x="6083300" y="2351692"/>
            <a:chExt cx="2520000" cy="360000"/>
          </a:xfrm>
        </p:grpSpPr>
        <p:sp>
          <p:nvSpPr>
            <p:cNvPr id="11" name="Snip Single Corner Rectangle 10"/>
            <p:cNvSpPr/>
            <p:nvPr userDrawn="1"/>
          </p:nvSpPr>
          <p:spPr bwMode="ltGray">
            <a:xfrm flipH="1">
              <a:off x="6083300" y="2351692"/>
              <a:ext cx="2520000" cy="360000"/>
            </a:xfrm>
            <a:prstGeom prst="snip1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1"/>
            </a:p>
          </p:txBody>
        </p:sp>
        <p:sp>
          <p:nvSpPr>
            <p:cNvPr id="12" name="Right Triangle 11"/>
            <p:cNvSpPr/>
            <p:nvPr userDrawn="1"/>
          </p:nvSpPr>
          <p:spPr bwMode="ltGray">
            <a:xfrm flipH="1">
              <a:off x="6083300" y="2351692"/>
              <a:ext cx="129018" cy="180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791"/>
            </a:p>
          </p:txBody>
        </p:sp>
      </p:grp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 bwMode="ltGray">
          <a:xfrm>
            <a:off x="8111068" y="2360300"/>
            <a:ext cx="3515782" cy="1815470"/>
          </a:xfrm>
          <a:prstGeom prst="rect">
            <a:avLst/>
          </a:prstGeom>
          <a:solidFill>
            <a:schemeClr val="accent1"/>
          </a:solidFill>
        </p:spPr>
        <p:txBody>
          <a:bodyPr wrap="square" lIns="216000" rIns="216000" bIns="216000">
            <a:spAutoFit/>
          </a:bodyPr>
          <a:lstStyle>
            <a:lvl1pPr>
              <a:buNone/>
              <a:defRPr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8658" indent="0">
              <a:buNone/>
              <a:defRPr/>
            </a:lvl3pPr>
            <a:lvl4pPr marL="537316" indent="0">
              <a:buNone/>
              <a:defRPr/>
            </a:lvl4pPr>
            <a:lvl5pPr marL="805974" indent="0">
              <a:buNone/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1477756"/>
            <a:ext cx="7307262" cy="6093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190"/>
            </a:lvl1pPr>
            <a:lvl5pPr>
              <a:defRPr/>
            </a:lvl5pPr>
          </a:lstStyle>
          <a:p>
            <a:pPr lvl="0"/>
            <a:r>
              <a:rPr lang="es-ES"/>
              <a:t>Add subtit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6" hasCustomPrompt="1"/>
          </p:nvPr>
        </p:nvSpPr>
        <p:spPr bwMode="ltGray">
          <a:xfrm>
            <a:off x="539751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9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8658" indent="0">
              <a:buNone/>
              <a:defRPr/>
            </a:lvl3pPr>
            <a:lvl4pPr marL="537316" indent="0">
              <a:buNone/>
              <a:defRPr/>
            </a:lvl4pPr>
            <a:lvl5pPr marL="805974" indent="0">
              <a:buNone/>
              <a:defRPr/>
            </a:lvl5pPr>
          </a:lstStyle>
          <a:p>
            <a:pPr lvl="0"/>
            <a:r>
              <a:rPr lang="es-ES"/>
              <a:t>Click to add kicker or ‘so what’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2493020673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, Subtitle, Content and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9590" y="1006480"/>
            <a:ext cx="7307261" cy="45116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91"/>
            </a:lvl1pPr>
            <a:lvl2pPr>
              <a:defRPr sz="1791" baseline="0"/>
            </a:lvl2pPr>
            <a:lvl3pPr>
              <a:defRPr sz="1394"/>
            </a:lvl3pPr>
            <a:lvl4pPr>
              <a:defRPr sz="1194"/>
            </a:lvl4pPr>
            <a:lvl5pPr>
              <a:defRPr sz="1194"/>
            </a:lvl5pPr>
            <a:lvl6pPr>
              <a:defRPr sz="1194"/>
            </a:lvl6pPr>
            <a:lvl7pPr>
              <a:defRPr sz="1194"/>
            </a:lvl7pPr>
            <a:lvl8pPr>
              <a:defRPr sz="1194"/>
            </a:lvl8pPr>
            <a:lvl9pPr>
              <a:defRPr sz="1194" baseline="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099427" y="6408006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t>05/10/2025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319589" y="6408006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385652" y="6408006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t>‹#›</a:t>
            </a:fld>
            <a:endParaRPr lang="es-ES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39753" y="950209"/>
            <a:ext cx="3527424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s-ES"/>
              <a:t>Add tit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539750" y="2868998"/>
            <a:ext cx="3527425" cy="264915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1988296"/>
            <a:ext cx="3527425" cy="6093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190"/>
            </a:lvl1pPr>
            <a:lvl5pPr>
              <a:defRPr/>
            </a:lvl5pPr>
          </a:lstStyle>
          <a:p>
            <a:pPr lvl="0"/>
            <a:r>
              <a:rPr lang="es-ES"/>
              <a:t>Add subtitle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5" hasCustomPrompt="1"/>
          </p:nvPr>
        </p:nvSpPr>
        <p:spPr bwMode="ltGray">
          <a:xfrm>
            <a:off x="539751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9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8658" indent="0">
              <a:buNone/>
              <a:defRPr/>
            </a:lvl3pPr>
            <a:lvl4pPr marL="537316" indent="0">
              <a:buNone/>
              <a:defRPr/>
            </a:lvl4pPr>
            <a:lvl5pPr marL="805974" indent="0">
              <a:buNone/>
              <a:defRPr/>
            </a:lvl5pPr>
          </a:lstStyle>
          <a:p>
            <a:pPr lvl="0"/>
            <a:r>
              <a:rPr lang="es-ES"/>
              <a:t>Click to add kicker or ‘so what’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1389646508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, Subtitle and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753" y="3142801"/>
            <a:ext cx="3527424" cy="23753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91"/>
            </a:lvl1pPr>
            <a:lvl2pPr>
              <a:defRPr sz="1592" baseline="0"/>
            </a:lvl2pPr>
            <a:lvl3pPr>
              <a:defRPr sz="1394"/>
            </a:lvl3pPr>
            <a:lvl4pPr>
              <a:defRPr sz="1194"/>
            </a:lvl4pPr>
            <a:lvl5pPr>
              <a:defRPr sz="1194"/>
            </a:lvl5pPr>
            <a:lvl6pPr>
              <a:defRPr sz="1194"/>
            </a:lvl6pPr>
            <a:lvl7pPr>
              <a:defRPr sz="1194"/>
            </a:lvl7pPr>
            <a:lvl8pPr>
              <a:defRPr sz="1194"/>
            </a:lvl8pPr>
            <a:lvl9pPr>
              <a:defRPr sz="1194" baseline="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099427" y="6408006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t>05/10/2025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319589" y="6408006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385652" y="6408006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t>‹#›</a:t>
            </a:fld>
            <a:endParaRPr lang="es-ES"/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539753" y="2358000"/>
            <a:ext cx="11087098" cy="72943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/>
            </a:lvl1pPr>
            <a:lvl2pPr marL="0" indent="0">
              <a:buNone/>
              <a:defRPr/>
            </a:lvl2pPr>
            <a:lvl3pPr marL="268658" indent="0">
              <a:buNone/>
              <a:defRPr/>
            </a:lvl3pPr>
            <a:lvl4pPr marL="537316" indent="0">
              <a:buNone/>
              <a:defRPr/>
            </a:lvl4pPr>
            <a:lvl5pPr marL="805974" indent="0">
              <a:buNone/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319591" y="3142801"/>
            <a:ext cx="3527424" cy="23753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91"/>
            </a:lvl1pPr>
            <a:lvl2pPr>
              <a:defRPr sz="1592" baseline="0"/>
            </a:lvl2pPr>
            <a:lvl3pPr>
              <a:defRPr sz="1394"/>
            </a:lvl3pPr>
            <a:lvl4pPr>
              <a:defRPr sz="1194"/>
            </a:lvl4pPr>
            <a:lvl5pPr>
              <a:defRPr sz="1194"/>
            </a:lvl5pPr>
            <a:lvl6pPr>
              <a:defRPr sz="1194"/>
            </a:lvl6pPr>
            <a:lvl7pPr>
              <a:defRPr sz="1194"/>
            </a:lvl7pPr>
            <a:lvl8pPr>
              <a:defRPr sz="1194"/>
            </a:lvl8pPr>
            <a:lvl9pPr>
              <a:defRPr sz="1194" baseline="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6"/>
          </p:nvPr>
        </p:nvSpPr>
        <p:spPr>
          <a:xfrm>
            <a:off x="8099428" y="3142801"/>
            <a:ext cx="3527424" cy="23753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91"/>
            </a:lvl1pPr>
            <a:lvl2pPr>
              <a:defRPr sz="1592" baseline="0"/>
            </a:lvl2pPr>
            <a:lvl3pPr>
              <a:defRPr sz="1394"/>
            </a:lvl3pPr>
            <a:lvl4pPr>
              <a:defRPr sz="1194"/>
            </a:lvl4pPr>
            <a:lvl5pPr>
              <a:defRPr sz="1194"/>
            </a:lvl5pPr>
            <a:lvl6pPr>
              <a:defRPr sz="1194"/>
            </a:lvl6pPr>
            <a:lvl7pPr>
              <a:defRPr sz="1194"/>
            </a:lvl7pPr>
            <a:lvl8pPr>
              <a:defRPr sz="1194"/>
            </a:lvl8pPr>
            <a:lvl9pPr>
              <a:defRPr sz="1194" baseline="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1" y="1477756"/>
            <a:ext cx="11087099" cy="6093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190"/>
            </a:lvl1pPr>
            <a:lvl5pPr>
              <a:defRPr/>
            </a:lvl5pPr>
          </a:lstStyle>
          <a:p>
            <a:pPr lvl="0"/>
            <a:r>
              <a:rPr lang="es-ES"/>
              <a:t>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2" y="950400"/>
            <a:ext cx="11087100" cy="498598"/>
          </a:xfrm>
          <a:prstGeom prst="rect">
            <a:avLst/>
          </a:prstGeom>
        </p:spPr>
        <p:txBody>
          <a:bodyPr/>
          <a:lstStyle/>
          <a:p>
            <a:r>
              <a:rPr lang="es-ES"/>
              <a:t>Add title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7" hasCustomPrompt="1"/>
          </p:nvPr>
        </p:nvSpPr>
        <p:spPr bwMode="ltGray">
          <a:xfrm>
            <a:off x="539751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9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8658" indent="0">
              <a:buNone/>
              <a:defRPr/>
            </a:lvl3pPr>
            <a:lvl4pPr marL="537316" indent="0">
              <a:buNone/>
              <a:defRPr/>
            </a:lvl4pPr>
            <a:lvl5pPr marL="805974" indent="0">
              <a:buNone/>
              <a:defRPr/>
            </a:lvl5pPr>
          </a:lstStyle>
          <a:p>
            <a:pPr lvl="0"/>
            <a:r>
              <a:rPr lang="es-ES"/>
              <a:t>Click to add kicker or ‘so what’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1103904309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099427" y="6408006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pPr/>
              <a:t>05/10/2025</a:t>
            </a:fld>
            <a:endParaRPr lang="es-E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319589" y="6408006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385652" y="6602369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6" name="dc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673228" y="1477756"/>
            <a:ext cx="9953625" cy="609398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190" cap="all" baseline="0">
                <a:solidFill>
                  <a:schemeClr val="accent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/>
              <a:t>%DT:TITLE%</a:t>
            </a:r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1673227" y="2358000"/>
            <a:ext cx="900000" cy="936000"/>
          </a:xfrm>
          <a:prstGeom prst="rect">
            <a:avLst/>
          </a:prstGeom>
        </p:spPr>
        <p:txBody>
          <a:bodyPr anchor="ctr" anchorCtr="0"/>
          <a:lstStyle>
            <a:lvl1pPr algn="ctr">
              <a:buNone/>
              <a:defRPr sz="996"/>
            </a:lvl1pPr>
          </a:lstStyle>
          <a:p>
            <a:r>
              <a:rPr lang="es-ES"/>
              <a:t> 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1673227" y="3670200"/>
            <a:ext cx="900000" cy="9360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ctr">
              <a:buNone/>
              <a:defRPr sz="996"/>
            </a:lvl1pPr>
          </a:lstStyle>
          <a:p>
            <a:r>
              <a:rPr lang="es-ES"/>
              <a:t> </a:t>
            </a:r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9" hasCustomPrompt="1"/>
          </p:nvPr>
        </p:nvSpPr>
        <p:spPr>
          <a:xfrm>
            <a:off x="1673227" y="4982400"/>
            <a:ext cx="900000" cy="9360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ctr">
              <a:buNone/>
              <a:defRPr sz="996" baseline="0"/>
            </a:lvl1pPr>
          </a:lstStyle>
          <a:p>
            <a:r>
              <a:rPr lang="es-ES"/>
              <a:t> 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20" hasCustomPrompt="1"/>
          </p:nvPr>
        </p:nvSpPr>
        <p:spPr>
          <a:xfrm>
            <a:off x="2772001" y="2358005"/>
            <a:ext cx="8854851" cy="166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194" b="1" i="0" cap="all" baseline="0"/>
            </a:lvl1pPr>
            <a:lvl2pPr marL="0" indent="0">
              <a:buNone/>
              <a:defRPr/>
            </a:lvl2pPr>
          </a:lstStyle>
          <a:p>
            <a:pPr lvl="0"/>
            <a:r>
              <a:rPr lang="es-ES"/>
              <a:t>Firstname surname</a:t>
            </a:r>
          </a:p>
        </p:txBody>
      </p:sp>
      <p:sp>
        <p:nvSpPr>
          <p:cNvPr id="11" name="Text Placeholder 18"/>
          <p:cNvSpPr>
            <a:spLocks noGrp="1"/>
          </p:cNvSpPr>
          <p:nvPr>
            <p:ph type="body" sz="quarter" idx="21" hasCustomPrompt="1"/>
          </p:nvPr>
        </p:nvSpPr>
        <p:spPr>
          <a:xfrm>
            <a:off x="2772001" y="2559601"/>
            <a:ext cx="1295174" cy="73337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buNone/>
              <a:defRPr sz="996" b="0" i="0" cap="none" baseline="0"/>
            </a:lvl1pPr>
            <a:lvl2pPr marL="0" indent="0">
              <a:buNone/>
              <a:defRPr/>
            </a:lvl2pPr>
          </a:lstStyle>
          <a:p>
            <a:pPr lvl="0"/>
            <a:r>
              <a:rPr lang="es-ES"/>
              <a:t>Role</a:t>
            </a:r>
          </a:p>
        </p:txBody>
      </p:sp>
      <p:sp>
        <p:nvSpPr>
          <p:cNvPr id="14" name="dcContact1"/>
          <p:cNvSpPr>
            <a:spLocks noGrp="1"/>
          </p:cNvSpPr>
          <p:nvPr>
            <p:ph type="body" sz="quarter" idx="22" hasCustomPrompt="1"/>
          </p:nvPr>
        </p:nvSpPr>
        <p:spPr>
          <a:xfrm>
            <a:off x="4319589" y="2610000"/>
            <a:ext cx="3527425" cy="7128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marR="0" indent="0" algn="l" defTabSz="9098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79105" algn="l"/>
              </a:tabLst>
              <a:defRPr sz="896" b="0" i="0" cap="none" baseline="0"/>
            </a:lvl1pPr>
            <a:lvl2pPr marL="0" indent="0">
              <a:buNone/>
              <a:defRPr/>
            </a:lvl2pPr>
          </a:lstStyle>
          <a:p>
            <a:pPr lvl="0"/>
            <a:r>
              <a:rPr lang="es-ES"/>
              <a:t>%DT[5]:T%	+xx (0)xx xxxx xxxx</a:t>
            </a:r>
          </a:p>
          <a:p>
            <a:pPr lvl="0"/>
            <a:r>
              <a:rPr lang="es-ES"/>
              <a:t>%DT[5]:M%	+xx (0)xx xxxx xxxx</a:t>
            </a:r>
          </a:p>
          <a:p>
            <a:pPr lvl="0"/>
            <a:r>
              <a:rPr lang="es-ES"/>
              <a:t>%DT[5]:E%	firstname.lastname@arcadis.com</a:t>
            </a:r>
          </a:p>
        </p:txBody>
      </p:sp>
      <p:sp>
        <p:nvSpPr>
          <p:cNvPr id="15" name="dcLocation1"/>
          <p:cNvSpPr>
            <a:spLocks noGrp="1"/>
          </p:cNvSpPr>
          <p:nvPr>
            <p:ph type="body" sz="quarter" idx="23" hasCustomPrompt="1"/>
          </p:nvPr>
        </p:nvSpPr>
        <p:spPr>
          <a:xfrm>
            <a:off x="8099428" y="2610000"/>
            <a:ext cx="3513473" cy="7128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marR="0" indent="0" algn="l" defTabSz="9098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79105" algn="l"/>
              </a:tabLst>
              <a:defRPr sz="896" b="0" i="0" cap="none" baseline="0"/>
            </a:lvl1pPr>
            <a:lvl2pPr marL="0" indent="0">
              <a:buNone/>
              <a:defRPr/>
            </a:lvl2pPr>
          </a:lstStyle>
          <a:p>
            <a:pPr lvl="0"/>
            <a:r>
              <a:rPr lang="es-ES"/>
              <a:t>%DT[5]:Arcadis%</a:t>
            </a:r>
          </a:p>
          <a:p>
            <a:pPr lvl="0"/>
            <a:r>
              <a:rPr lang="es-ES"/>
              <a:t>Address Line 1</a:t>
            </a:r>
          </a:p>
          <a:p>
            <a:pPr lvl="0"/>
            <a:r>
              <a:rPr lang="es-ES"/>
              <a:t>Address Line 2</a:t>
            </a:r>
          </a:p>
          <a:p>
            <a:pPr lvl="0"/>
            <a:r>
              <a:rPr lang="es-ES"/>
              <a:t>Address Line 3</a:t>
            </a:r>
          </a:p>
        </p:txBody>
      </p:sp>
      <p:sp>
        <p:nvSpPr>
          <p:cNvPr id="16" name="Text Placeholder 18"/>
          <p:cNvSpPr>
            <a:spLocks noGrp="1"/>
          </p:cNvSpPr>
          <p:nvPr>
            <p:ph type="body" sz="quarter" idx="24" hasCustomPrompt="1"/>
          </p:nvPr>
        </p:nvSpPr>
        <p:spPr>
          <a:xfrm>
            <a:off x="2772001" y="3650404"/>
            <a:ext cx="8854851" cy="166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194" b="1" i="0" cap="all" baseline="0"/>
            </a:lvl1pPr>
            <a:lvl2pPr marL="0" indent="0">
              <a:buNone/>
              <a:defRPr/>
            </a:lvl2pPr>
          </a:lstStyle>
          <a:p>
            <a:pPr lvl="0"/>
            <a:r>
              <a:rPr lang="es-ES"/>
              <a:t>Firstname surname</a:t>
            </a:r>
          </a:p>
        </p:txBody>
      </p:sp>
      <p:sp>
        <p:nvSpPr>
          <p:cNvPr id="17" name="Text Placeholder 18"/>
          <p:cNvSpPr>
            <a:spLocks noGrp="1"/>
          </p:cNvSpPr>
          <p:nvPr>
            <p:ph type="body" sz="quarter" idx="25" hasCustomPrompt="1"/>
          </p:nvPr>
        </p:nvSpPr>
        <p:spPr>
          <a:xfrm>
            <a:off x="2772001" y="3852001"/>
            <a:ext cx="1295174" cy="75225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buNone/>
              <a:defRPr sz="996" b="0" i="0" cap="none" baseline="0"/>
            </a:lvl1pPr>
            <a:lvl2pPr marL="0" indent="0">
              <a:buNone/>
              <a:defRPr/>
            </a:lvl2pPr>
          </a:lstStyle>
          <a:p>
            <a:pPr lvl="0"/>
            <a:r>
              <a:rPr lang="es-ES"/>
              <a:t>Role</a:t>
            </a:r>
          </a:p>
        </p:txBody>
      </p:sp>
      <p:sp>
        <p:nvSpPr>
          <p:cNvPr id="18" name="dcContact1"/>
          <p:cNvSpPr>
            <a:spLocks noGrp="1"/>
          </p:cNvSpPr>
          <p:nvPr>
            <p:ph type="body" sz="quarter" idx="26" hasCustomPrompt="1"/>
          </p:nvPr>
        </p:nvSpPr>
        <p:spPr>
          <a:xfrm>
            <a:off x="4319589" y="3919067"/>
            <a:ext cx="3527425" cy="7128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marR="0" indent="0" algn="l" defTabSz="9098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79105" algn="l"/>
              </a:tabLst>
              <a:defRPr sz="896" b="0" i="0" cap="none" baseline="0"/>
            </a:lvl1pPr>
            <a:lvl2pPr marL="0" indent="0">
              <a:buNone/>
              <a:defRPr/>
            </a:lvl2pPr>
          </a:lstStyle>
          <a:p>
            <a:pPr lvl="0"/>
            <a:r>
              <a:rPr lang="es-ES"/>
              <a:t>%DT[5]:T%	+xx (0)xx xxxx xxxx</a:t>
            </a:r>
          </a:p>
          <a:p>
            <a:pPr lvl="0"/>
            <a:r>
              <a:rPr lang="es-ES"/>
              <a:t>%DT[5]:M%	+xx (0)xx xxxx xxxx</a:t>
            </a:r>
          </a:p>
          <a:p>
            <a:pPr lvl="0"/>
            <a:r>
              <a:rPr lang="es-ES"/>
              <a:t>%DT[5]:E%	firstname.lastname@arcadis.com</a:t>
            </a:r>
          </a:p>
        </p:txBody>
      </p:sp>
      <p:sp>
        <p:nvSpPr>
          <p:cNvPr id="19" name="dcLocation1"/>
          <p:cNvSpPr>
            <a:spLocks noGrp="1"/>
          </p:cNvSpPr>
          <p:nvPr>
            <p:ph type="body" sz="quarter" idx="27" hasCustomPrompt="1"/>
          </p:nvPr>
        </p:nvSpPr>
        <p:spPr>
          <a:xfrm>
            <a:off x="8099428" y="3920400"/>
            <a:ext cx="3513473" cy="7128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marR="0" indent="0" algn="l" defTabSz="9098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79105" algn="l"/>
              </a:tabLst>
              <a:defRPr sz="896" b="0" i="0" cap="none" baseline="0"/>
            </a:lvl1pPr>
            <a:lvl2pPr marL="0" indent="0">
              <a:buNone/>
              <a:defRPr/>
            </a:lvl2pPr>
          </a:lstStyle>
          <a:p>
            <a:pPr lvl="0"/>
            <a:r>
              <a:rPr lang="es-ES"/>
              <a:t>%DT[5]:Arcadis%</a:t>
            </a:r>
          </a:p>
          <a:p>
            <a:pPr lvl="0"/>
            <a:r>
              <a:rPr lang="es-ES"/>
              <a:t>Address Line 1</a:t>
            </a:r>
          </a:p>
          <a:p>
            <a:pPr lvl="0"/>
            <a:r>
              <a:rPr lang="es-ES"/>
              <a:t>Address Line 2</a:t>
            </a:r>
          </a:p>
          <a:p>
            <a:pPr lvl="0"/>
            <a:r>
              <a:rPr lang="es-ES"/>
              <a:t>Address Line 3</a:t>
            </a:r>
          </a:p>
        </p:txBody>
      </p:sp>
      <p:sp>
        <p:nvSpPr>
          <p:cNvPr id="20" name="Text Placeholder 18"/>
          <p:cNvSpPr>
            <a:spLocks noGrp="1"/>
          </p:cNvSpPr>
          <p:nvPr>
            <p:ph type="body" sz="quarter" idx="28" hasCustomPrompt="1"/>
          </p:nvPr>
        </p:nvSpPr>
        <p:spPr>
          <a:xfrm>
            <a:off x="2772001" y="4964405"/>
            <a:ext cx="8854851" cy="166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194" b="1" i="0" cap="all" baseline="0"/>
            </a:lvl1pPr>
            <a:lvl2pPr marL="0" indent="0">
              <a:buNone/>
              <a:defRPr/>
            </a:lvl2pPr>
          </a:lstStyle>
          <a:p>
            <a:pPr lvl="0"/>
            <a:r>
              <a:rPr lang="es-ES"/>
              <a:t>Firstname surname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29" hasCustomPrompt="1"/>
          </p:nvPr>
        </p:nvSpPr>
        <p:spPr>
          <a:xfrm>
            <a:off x="2772001" y="5166002"/>
            <a:ext cx="1295174" cy="75111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buNone/>
              <a:defRPr sz="996" b="0" i="0" cap="none" baseline="0"/>
            </a:lvl1pPr>
            <a:lvl2pPr marL="0" indent="0">
              <a:buNone/>
              <a:defRPr/>
            </a:lvl2pPr>
          </a:lstStyle>
          <a:p>
            <a:pPr lvl="0"/>
            <a:r>
              <a:rPr lang="es-ES"/>
              <a:t>Role</a:t>
            </a:r>
          </a:p>
        </p:txBody>
      </p:sp>
      <p:sp>
        <p:nvSpPr>
          <p:cNvPr id="22" name="dcContact1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9" y="5230686"/>
            <a:ext cx="3527425" cy="7128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marR="0" indent="0" algn="l" defTabSz="9098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79105" algn="l"/>
              </a:tabLst>
              <a:defRPr sz="896" b="0" i="0" cap="none" baseline="0"/>
            </a:lvl1pPr>
            <a:lvl2pPr marL="0" indent="0">
              <a:buNone/>
              <a:defRPr/>
            </a:lvl2pPr>
          </a:lstStyle>
          <a:p>
            <a:pPr lvl="0"/>
            <a:r>
              <a:rPr lang="es-ES"/>
              <a:t>%DT[5]:T%	+xx (0)xx xxxx xxxx</a:t>
            </a:r>
          </a:p>
          <a:p>
            <a:pPr lvl="0"/>
            <a:r>
              <a:rPr lang="es-ES"/>
              <a:t>%DT[5]:M%	+xx (0)xx xxxx xxxx</a:t>
            </a:r>
          </a:p>
          <a:p>
            <a:pPr lvl="0"/>
            <a:r>
              <a:rPr lang="es-ES"/>
              <a:t>%DT[5]:E%	firstname.lastname@arcadis.com</a:t>
            </a:r>
          </a:p>
        </p:txBody>
      </p:sp>
      <p:sp>
        <p:nvSpPr>
          <p:cNvPr id="23" name="dcLocation1"/>
          <p:cNvSpPr>
            <a:spLocks noGrp="1"/>
          </p:cNvSpPr>
          <p:nvPr>
            <p:ph type="body" sz="quarter" idx="31" hasCustomPrompt="1"/>
          </p:nvPr>
        </p:nvSpPr>
        <p:spPr>
          <a:xfrm>
            <a:off x="8099428" y="5230800"/>
            <a:ext cx="3513473" cy="7128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marR="0" indent="0" algn="l" defTabSz="9098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79105" algn="l"/>
              </a:tabLst>
              <a:defRPr sz="896" b="0" i="0" cap="none" baseline="0"/>
            </a:lvl1pPr>
            <a:lvl2pPr marL="0" indent="0">
              <a:buNone/>
              <a:defRPr/>
            </a:lvl2pPr>
          </a:lstStyle>
          <a:p>
            <a:pPr lvl="0"/>
            <a:r>
              <a:rPr lang="es-ES"/>
              <a:t>%DT[5]:Arcadis%</a:t>
            </a:r>
          </a:p>
          <a:p>
            <a:pPr lvl="0"/>
            <a:r>
              <a:rPr lang="es-ES"/>
              <a:t>Address Line 1</a:t>
            </a:r>
          </a:p>
          <a:p>
            <a:pPr lvl="0"/>
            <a:r>
              <a:rPr lang="es-ES"/>
              <a:t>Address Line 2</a:t>
            </a:r>
          </a:p>
          <a:p>
            <a:pPr lvl="0"/>
            <a:r>
              <a:rPr lang="es-ES"/>
              <a:t>Address Line 3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32" hasCustomPrompt="1"/>
          </p:nvPr>
        </p:nvSpPr>
        <p:spPr>
          <a:xfrm>
            <a:off x="1674000" y="3481200"/>
            <a:ext cx="9954000" cy="0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/>
          <a:lstStyle>
            <a:lvl1pPr>
              <a:buNone/>
              <a:defRPr/>
            </a:lvl1pPr>
            <a:lvl2pPr marL="0" indent="0">
              <a:buNone/>
              <a:defRPr/>
            </a:lvl2pPr>
            <a:lvl3pPr marL="268658" indent="0">
              <a:buNone/>
              <a:defRPr/>
            </a:lvl3pPr>
            <a:lvl4pPr marL="537316" indent="0">
              <a:buNone/>
              <a:defRPr/>
            </a:lvl4pPr>
            <a:lvl5pPr marL="805974" indent="0">
              <a:buNone/>
              <a:defRPr/>
            </a:lvl5pPr>
          </a:lstStyle>
          <a:p>
            <a:pPr lvl="0"/>
            <a:r>
              <a:rPr lang="es-ES"/>
              <a:t> 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33" hasCustomPrompt="1"/>
          </p:nvPr>
        </p:nvSpPr>
        <p:spPr>
          <a:xfrm>
            <a:off x="1674000" y="4795200"/>
            <a:ext cx="9954000" cy="0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/>
          <a:lstStyle>
            <a:lvl1pPr>
              <a:buNone/>
              <a:defRPr/>
            </a:lvl1pPr>
            <a:lvl2pPr marL="0" indent="0">
              <a:buNone/>
              <a:defRPr/>
            </a:lvl2pPr>
            <a:lvl3pPr marL="268658" indent="0">
              <a:buNone/>
              <a:defRPr/>
            </a:lvl3pPr>
            <a:lvl4pPr marL="537316" indent="0">
              <a:buNone/>
              <a:defRPr/>
            </a:lvl4pPr>
            <a:lvl5pPr marL="805974" indent="0">
              <a:buNone/>
              <a:defRPr/>
            </a:lvl5pPr>
          </a:lstStyle>
          <a:p>
            <a:pPr lvl="0"/>
            <a:r>
              <a:rPr lang="es-ES"/>
              <a:t> 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id="{A07373C5-72F8-48D5-8CF0-9897B810C668}"/>
              </a:ext>
            </a:extLst>
          </p:cNvPr>
          <p:cNvCxnSpPr>
            <a:cxnSpLocks/>
          </p:cNvCxnSpPr>
          <p:nvPr userDrawn="1"/>
        </p:nvCxnSpPr>
        <p:spPr>
          <a:xfrm>
            <a:off x="1451144" y="6529985"/>
            <a:ext cx="1074085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0055426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roject Exa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099427" y="6408006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pPr/>
              <a:t>05/10/2025</a:t>
            </a:fld>
            <a:endParaRPr lang="es-E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319589" y="6408006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15" name="dcLeft"/>
          <p:cNvSpPr>
            <a:spLocks noGrp="1"/>
          </p:cNvSpPr>
          <p:nvPr>
            <p:ph type="body" sz="quarter" idx="25" hasCustomPrompt="1"/>
          </p:nvPr>
        </p:nvSpPr>
        <p:spPr>
          <a:xfrm>
            <a:off x="539753" y="2609855"/>
            <a:ext cx="1385888" cy="3307899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0"/>
              </a:spcAft>
              <a:defRPr sz="996" cap="all" baseline="0"/>
            </a:lvl1pPr>
            <a:lvl2pPr marL="0" indent="0">
              <a:spcBef>
                <a:spcPts val="200"/>
              </a:spcBef>
              <a:buNone/>
              <a:defRPr sz="896">
                <a:solidFill>
                  <a:schemeClr val="accent1"/>
                </a:solidFill>
              </a:defRPr>
            </a:lvl2pPr>
            <a:lvl3pPr marL="0" marR="0" indent="-143284" algn="l" defTabSz="909856" rtl="0" eaLnBrk="1" fontAlgn="auto" latinLnBrk="0" hangingPunct="1">
              <a:lnSpc>
                <a:spcPct val="90000"/>
              </a:lnSpc>
              <a:spcBef>
                <a:spcPts val="298"/>
              </a:spcBef>
              <a:spcAft>
                <a:spcPts val="598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896">
                <a:solidFill>
                  <a:schemeClr val="accent1"/>
                </a:solidFill>
              </a:defRPr>
            </a:lvl3pPr>
            <a:lvl4pPr marL="805974" indent="-268658">
              <a:buFont typeface="Arial" panose="020B0604020202020204" pitchFamily="34" charset="0"/>
              <a:buChar char="-"/>
              <a:defRPr sz="896"/>
            </a:lvl4pPr>
            <a:lvl5pPr marL="143284" indent="-143284">
              <a:spcBef>
                <a:spcPts val="200"/>
              </a:spcBef>
              <a:buFont typeface="Arial" panose="020B0604020202020204" pitchFamily="34" charset="0"/>
              <a:buChar char="•"/>
              <a:defRPr sz="896"/>
            </a:lvl5pPr>
            <a:lvl6pPr marL="143284" indent="-143284">
              <a:spcBef>
                <a:spcPts val="200"/>
              </a:spcBef>
              <a:buFont typeface="Arial" panose="020B0604020202020204" pitchFamily="34" charset="0"/>
              <a:buChar char="•"/>
              <a:defRPr sz="896"/>
            </a:lvl6pPr>
            <a:lvl7pPr marL="143284" indent="-143284">
              <a:spcBef>
                <a:spcPts val="200"/>
              </a:spcBef>
              <a:buFont typeface="Arial" panose="020B0604020202020204" pitchFamily="34" charset="0"/>
              <a:buChar char="•"/>
              <a:defRPr sz="896" baseline="0"/>
            </a:lvl7pPr>
            <a:lvl8pPr marL="143284" indent="-143284">
              <a:spcBef>
                <a:spcPts val="200"/>
              </a:spcBef>
              <a:buFont typeface="Arial" panose="020B0604020202020204" pitchFamily="34" charset="0"/>
              <a:buChar char="•"/>
              <a:defRPr sz="896" baseline="0"/>
            </a:lvl8pPr>
            <a:lvl9pPr marL="143284" indent="-143284">
              <a:spcBef>
                <a:spcPts val="200"/>
              </a:spcBef>
              <a:buFont typeface="Arial" panose="020B0604020202020204" pitchFamily="34" charset="0"/>
              <a:buChar char="•"/>
              <a:defRPr sz="896" baseline="0"/>
            </a:lvl9pPr>
          </a:lstStyle>
          <a:p>
            <a:pPr lvl="0"/>
            <a:r>
              <a:rPr lang="es-ES"/>
              <a:t>%DT:client%</a:t>
            </a:r>
          </a:p>
          <a:p>
            <a:pPr lvl="1"/>
            <a:r>
              <a:rPr lang="es-ES"/>
              <a:t>%DT:ClientName%</a:t>
            </a:r>
          </a:p>
          <a:p>
            <a:pPr lvl="0"/>
            <a:r>
              <a:rPr lang="es-ES"/>
              <a:t>%DT:Overallvalue%</a:t>
            </a:r>
          </a:p>
          <a:p>
            <a:pPr lvl="1"/>
            <a:r>
              <a:rPr lang="es-ES"/>
              <a:t>%DT:Amount%</a:t>
            </a:r>
          </a:p>
          <a:p>
            <a:pPr lvl="0"/>
            <a:r>
              <a:rPr lang="es-ES"/>
              <a:t>%DT:Productsservices%</a:t>
            </a:r>
          </a:p>
          <a:p>
            <a:pPr lvl="2"/>
            <a:r>
              <a:rPr lang="es-ES"/>
              <a:t>%DT:ProductService1%</a:t>
            </a:r>
          </a:p>
          <a:p>
            <a:pPr marL="0" marR="0" lvl="2" indent="-143284" algn="l" defTabSz="909856" rtl="0" eaLnBrk="1" fontAlgn="auto" latinLnBrk="0" hangingPunct="1">
              <a:lnSpc>
                <a:spcPct val="90000"/>
              </a:lnSpc>
              <a:spcBef>
                <a:spcPts val="298"/>
              </a:spcBef>
              <a:spcAft>
                <a:spcPts val="598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/>
              <a:t>%DT:ProductService2%</a:t>
            </a:r>
          </a:p>
          <a:p>
            <a:pPr marL="0" marR="0" lvl="2" indent="-143284" algn="l" defTabSz="909856" rtl="0" eaLnBrk="1" fontAlgn="auto" latinLnBrk="0" hangingPunct="1">
              <a:lnSpc>
                <a:spcPct val="90000"/>
              </a:lnSpc>
              <a:spcBef>
                <a:spcPts val="298"/>
              </a:spcBef>
              <a:spcAft>
                <a:spcPts val="598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/>
              <a:t>%DT:ProductService3%</a:t>
            </a:r>
          </a:p>
          <a:p>
            <a:pPr marL="0" marR="0" lvl="2" indent="-143284" algn="l" defTabSz="909856" rtl="0" eaLnBrk="1" fontAlgn="auto" latinLnBrk="0" hangingPunct="1">
              <a:lnSpc>
                <a:spcPct val="90000"/>
              </a:lnSpc>
              <a:spcBef>
                <a:spcPts val="298"/>
              </a:spcBef>
              <a:spcAft>
                <a:spcPts val="598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/>
              <a:t>%DT:ProductService4%</a:t>
            </a:r>
          </a:p>
          <a:p>
            <a:pPr lvl="0"/>
            <a:r>
              <a:rPr lang="es-ES"/>
              <a:t>%DT:ProjectDates%</a:t>
            </a:r>
          </a:p>
          <a:p>
            <a:pPr lvl="1"/>
            <a:r>
              <a:rPr lang="es-ES"/>
              <a:t>%DT:StartEndDates%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2" hasCustomPrompt="1"/>
          </p:nvPr>
        </p:nvSpPr>
        <p:spPr bwMode="ltGray">
          <a:xfrm flipH="1">
            <a:off x="538663" y="1006475"/>
            <a:ext cx="8316413" cy="1332000"/>
          </a:xfrm>
          <a:prstGeom prst="snip1Rect">
            <a:avLst>
              <a:gd name="adj" fmla="val 21836"/>
            </a:avLst>
          </a:prstGeom>
          <a:solidFill>
            <a:schemeClr val="accent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s-ES"/>
              <a:t> </a:t>
            </a:r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33"/>
          </p:nvPr>
        </p:nvSpPr>
        <p:spPr>
          <a:xfrm>
            <a:off x="8855078" y="1006475"/>
            <a:ext cx="2771775" cy="1332000"/>
          </a:xfrm>
          <a:prstGeom prst="rect">
            <a:avLst/>
          </a:prstGeo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</a:p>
        </p:txBody>
      </p:sp>
      <p:sp>
        <p:nvSpPr>
          <p:cNvPr id="18" name="dcBody"/>
          <p:cNvSpPr>
            <a:spLocks noGrp="1"/>
          </p:cNvSpPr>
          <p:nvPr>
            <p:ph type="body" sz="half" idx="2" hasCustomPrompt="1"/>
          </p:nvPr>
        </p:nvSpPr>
        <p:spPr>
          <a:xfrm>
            <a:off x="2176463" y="3103786"/>
            <a:ext cx="9450386" cy="2813969"/>
          </a:xfrm>
          <a:prstGeom prst="rect">
            <a:avLst/>
          </a:prstGeom>
        </p:spPr>
        <p:txBody>
          <a:bodyPr numCol="2" spcCol="252000">
            <a:normAutofit/>
          </a:bodyPr>
          <a:lstStyle>
            <a:lvl1pPr>
              <a:spcBef>
                <a:spcPts val="200"/>
              </a:spcBef>
              <a:spcAft>
                <a:spcPts val="398"/>
              </a:spcAft>
              <a:defRPr sz="1194" b="1">
                <a:solidFill>
                  <a:schemeClr val="accent1"/>
                </a:solidFill>
              </a:defRPr>
            </a:lvl1pPr>
            <a:lvl2pPr marL="0" indent="0">
              <a:spcBef>
                <a:spcPts val="200"/>
              </a:spcBef>
              <a:spcAft>
                <a:spcPts val="398"/>
              </a:spcAft>
              <a:buFont typeface="Arial" panose="020B0604020202020204" pitchFamily="34" charset="0"/>
              <a:buChar char="​"/>
              <a:defRPr sz="996"/>
            </a:lvl2pPr>
            <a:lvl3pPr marL="268658" indent="-26865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996"/>
            </a:lvl3pPr>
            <a:lvl4pPr marL="537316" indent="-26865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996"/>
            </a:lvl4pPr>
            <a:lvl5pPr marL="805974" indent="-26865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996"/>
            </a:lvl5pPr>
            <a:lvl6pPr marL="1074633" indent="-26865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996"/>
            </a:lvl6pPr>
            <a:lvl7pPr marL="1343290" indent="-26865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996"/>
            </a:lvl7pPr>
            <a:lvl8pPr marL="1611949" indent="-26865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996"/>
            </a:lvl8pPr>
            <a:lvl9pPr marL="1880607" indent="-26865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996" baseline="0"/>
            </a:lvl9pPr>
          </a:lstStyle>
          <a:p>
            <a:pPr lvl="0"/>
            <a:r>
              <a:rPr lang="es-ES"/>
              <a:t>%DT:OurRole%</a:t>
            </a:r>
          </a:p>
          <a:p>
            <a:pPr lvl="1"/>
            <a:r>
              <a:rPr lang="es-ES"/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lvl="1"/>
            <a:r>
              <a:rPr lang="es-ES"/>
              <a:t>Lorem ipsum dolor sit amet, consectetuer adipiscing elit. Maecenas porttitor congue massa. Fusce posuere, magna sed pulvinar ultricies, purus lectus malesuada libero, sit amet commodo magna eros quis urna.Third level</a:t>
            </a:r>
          </a:p>
          <a:p>
            <a:pPr lvl="0"/>
            <a:r>
              <a:rPr lang="es-ES"/>
              <a:t>%DT:KeyChallenges%</a:t>
            </a:r>
          </a:p>
          <a:p>
            <a:pPr lvl="1"/>
            <a:r>
              <a:rPr lang="es-ES"/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lvl="1"/>
            <a:r>
              <a:rPr lang="es-ES"/>
              <a:t>Lorem ipsum dolor sit amet, consectetuer adipiscing elit. Maecenas porttitor congue massa. </a:t>
            </a:r>
          </a:p>
          <a:p>
            <a:pPr lvl="0"/>
            <a:endParaRPr lang="es-ES"/>
          </a:p>
          <a:p>
            <a:pPr lvl="0"/>
            <a:endParaRPr lang="es-ES"/>
          </a:p>
          <a:p>
            <a:pPr lvl="0"/>
            <a:r>
              <a:rPr lang="es-ES"/>
              <a:t>%DT:InnovationBestPractice%</a:t>
            </a:r>
          </a:p>
          <a:p>
            <a:pPr lvl="1"/>
            <a:r>
              <a:rPr lang="es-ES"/>
              <a:t>Lorem ipsum dolor sit amet, consectetuer adipiscing elit. Maecenas porttitor congue massa. Fusce posuere, magna sed pulvinar ultricies, purus lectus malesuada libero, sit amet commodo magna eros quis urna</a:t>
            </a:r>
          </a:p>
          <a:p>
            <a:pPr lvl="0"/>
            <a:r>
              <a:rPr lang="es-ES"/>
              <a:t>%DT:WhatWeAreProudOf%</a:t>
            </a:r>
          </a:p>
          <a:p>
            <a:pPr lvl="1"/>
            <a:r>
              <a:rPr lang="es-ES"/>
              <a:t>Lorem ipsum dolor sit amet, consectetuer adipiscing elit. Maecenas porttitor congue massa. Fusce posuere, magna sed pulvinar ultricies, purus lectus malesuada libero, sit amet commodo magna eros quis urna.</a:t>
            </a:r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14" hasCustomPrompt="1"/>
          </p:nvPr>
        </p:nvSpPr>
        <p:spPr>
          <a:xfrm flipH="1">
            <a:off x="539750" y="1006475"/>
            <a:ext cx="288000" cy="288000"/>
          </a:xfrm>
          <a:prstGeom prst="rtTriangle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s-ES"/>
              <a:t> </a:t>
            </a:r>
          </a:p>
        </p:txBody>
      </p:sp>
      <p:sp>
        <p:nvSpPr>
          <p:cNvPr id="20" name="Title 11"/>
          <p:cNvSpPr>
            <a:spLocks noGrp="1"/>
          </p:cNvSpPr>
          <p:nvPr>
            <p:ph type="title" hasCustomPrompt="1"/>
          </p:nvPr>
        </p:nvSpPr>
        <p:spPr>
          <a:xfrm>
            <a:off x="864002" y="1294475"/>
            <a:ext cx="7738662" cy="498598"/>
          </a:xfrm>
          <a:prstGeom prst="rect">
            <a:avLst/>
          </a:prstGeom>
        </p:spPr>
        <p:txBody>
          <a:bodyPr/>
          <a:lstStyle>
            <a:lvl1pPr>
              <a:defRPr sz="1791" b="0" cap="all" baseline="0">
                <a:solidFill>
                  <a:schemeClr val="bg1"/>
                </a:solidFill>
              </a:defRPr>
            </a:lvl1pPr>
          </a:lstStyle>
          <a:p>
            <a:r>
              <a:rPr lang="es-ES"/>
              <a:t>Add title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864001" y="1894319"/>
            <a:ext cx="7738664" cy="221599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92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/>
              <a:t>Add subtitle</a:t>
            </a:r>
          </a:p>
        </p:txBody>
      </p:sp>
      <p:sp>
        <p:nvSpPr>
          <p:cNvPr id="26" name="dcProductDescription"/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2177226" y="2610000"/>
            <a:ext cx="9451232" cy="388800"/>
          </a:xfrm>
          <a:prstGeom prst="rect">
            <a:avLst/>
          </a:prstGeom>
        </p:spPr>
        <p:txBody>
          <a:bodyPr/>
          <a:lstStyle>
            <a:lvl1pPr>
              <a:buNone/>
              <a:defRPr sz="1394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%DT:Introduction%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36" hasCustomPrompt="1"/>
          </p:nvPr>
        </p:nvSpPr>
        <p:spPr>
          <a:xfrm>
            <a:off x="7030800" y="5162400"/>
            <a:ext cx="4597200" cy="360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buNone/>
              <a:defRPr>
                <a:solidFill>
                  <a:schemeClr val="accent3"/>
                </a:solidFill>
              </a:defRPr>
            </a:lvl1pPr>
            <a:lvl2pPr marL="0" indent="0">
              <a:buNone/>
              <a:defRPr/>
            </a:lvl2pPr>
            <a:lvl3pPr marL="268658" indent="0">
              <a:buNone/>
              <a:defRPr/>
            </a:lvl3pPr>
            <a:lvl4pPr marL="537316" indent="0">
              <a:buNone/>
              <a:defRPr/>
            </a:lvl4pPr>
            <a:lvl5pPr marL="805974" indent="0">
              <a:buNone/>
              <a:defRPr/>
            </a:lvl5pPr>
          </a:lstStyle>
          <a:p>
            <a:pPr lvl="0"/>
            <a:r>
              <a:rPr lang="es-ES"/>
              <a:t> </a:t>
            </a:r>
          </a:p>
        </p:txBody>
      </p:sp>
      <p:sp>
        <p:nvSpPr>
          <p:cNvPr id="25" name="dcRelevance"/>
          <p:cNvSpPr>
            <a:spLocks noGrp="1"/>
          </p:cNvSpPr>
          <p:nvPr userDrawn="1">
            <p:ph type="body" sz="quarter" idx="15" hasCustomPrompt="1"/>
          </p:nvPr>
        </p:nvSpPr>
        <p:spPr bwMode="ltGray">
          <a:xfrm>
            <a:off x="7028955" y="5419333"/>
            <a:ext cx="4597896" cy="567564"/>
          </a:xfrm>
          <a:prstGeom prst="rect">
            <a:avLst/>
          </a:prstGeom>
          <a:solidFill>
            <a:schemeClr val="accent3"/>
          </a:solidFill>
        </p:spPr>
        <p:txBody>
          <a:bodyPr wrap="square" lIns="216000" rIns="216000" bIns="21600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buNone/>
              <a:defRPr sz="1194" b="1" cap="all" baseline="0"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996"/>
            </a:lvl2pPr>
            <a:lvl3pPr marL="268658" indent="0">
              <a:buNone/>
              <a:defRPr/>
            </a:lvl3pPr>
            <a:lvl4pPr marL="537316" indent="0">
              <a:buNone/>
              <a:defRPr/>
            </a:lvl4pPr>
            <a:lvl5pPr marL="805974" indent="0">
              <a:buNone/>
              <a:defRPr/>
            </a:lvl5pPr>
          </a:lstStyle>
          <a:p>
            <a:pPr lvl="0"/>
            <a:r>
              <a:rPr lang="es-ES"/>
              <a:t>%DT: RelevanceToThisOpportunity%</a:t>
            </a:r>
          </a:p>
          <a:p>
            <a:pPr lvl="1"/>
            <a:r>
              <a:rPr lang="es-ES"/>
              <a:t>%DT:RelevanceToThisOpportunityContent%</a:t>
            </a:r>
          </a:p>
        </p:txBody>
      </p:sp>
      <p:sp>
        <p:nvSpPr>
          <p:cNvPr id="22" name="Slide Number Placeholder 4">
            <a:extLst>
              <a:ext uri="{FF2B5EF4-FFF2-40B4-BE49-F238E27FC236}">
                <a16:creationId xmlns:a16="http://schemas.microsoft.com/office/drawing/2014/main" id="{96AAB6BC-E6A7-4070-BAB6-800D22E657C7}"/>
              </a:ext>
            </a:extLst>
          </p:cNvPr>
          <p:cNvSpPr txBox="1">
            <a:spLocks/>
          </p:cNvSpPr>
          <p:nvPr userDrawn="1"/>
        </p:nvSpPr>
        <p:spPr>
          <a:xfrm>
            <a:off x="11385652" y="6602369"/>
            <a:ext cx="241200" cy="1384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C1CACA2-8807-444A-80EF-366DD6953B54}" type="slidenum">
              <a:rPr lang="es-ES" sz="896" smtClean="0"/>
              <a:pPr/>
              <a:t>‹#›</a:t>
            </a:fld>
            <a:endParaRPr lang="es-ES" sz="896"/>
          </a:p>
        </p:txBody>
      </p:sp>
      <p:cxnSp>
        <p:nvCxnSpPr>
          <p:cNvPr id="23" name="Conector recto 22">
            <a:extLst>
              <a:ext uri="{FF2B5EF4-FFF2-40B4-BE49-F238E27FC236}">
                <a16:creationId xmlns:a16="http://schemas.microsoft.com/office/drawing/2014/main" id="{00F6FAD8-A4A8-4DAD-9921-481132B2E0ED}"/>
              </a:ext>
            </a:extLst>
          </p:cNvPr>
          <p:cNvCxnSpPr>
            <a:cxnSpLocks/>
          </p:cNvCxnSpPr>
          <p:nvPr userDrawn="1"/>
        </p:nvCxnSpPr>
        <p:spPr>
          <a:xfrm>
            <a:off x="1451144" y="6529985"/>
            <a:ext cx="1074085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8634775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099427" y="6408006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pPr/>
              <a:t>05/10/2025</a:t>
            </a:fld>
            <a:endParaRPr lang="es-E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319589" y="6408006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6" name="dcLeft"/>
          <p:cNvSpPr>
            <a:spLocks noGrp="1"/>
          </p:cNvSpPr>
          <p:nvPr>
            <p:ph type="body" sz="quarter" idx="25" hasCustomPrompt="1"/>
          </p:nvPr>
        </p:nvSpPr>
        <p:spPr>
          <a:xfrm>
            <a:off x="539753" y="2302479"/>
            <a:ext cx="1385888" cy="3615275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0"/>
              </a:spcAft>
              <a:defRPr sz="996" cap="all" baseline="0"/>
            </a:lvl1pPr>
            <a:lvl2pPr marL="0" indent="0">
              <a:spcBef>
                <a:spcPts val="200"/>
              </a:spcBef>
              <a:buNone/>
              <a:defRPr sz="896">
                <a:solidFill>
                  <a:schemeClr val="accent1"/>
                </a:solidFill>
              </a:defRPr>
            </a:lvl2pPr>
            <a:lvl3pPr marL="0" marR="0" indent="-143284" algn="l" defTabSz="909856" rtl="0" eaLnBrk="1" fontAlgn="auto" latinLnBrk="0" hangingPunct="1">
              <a:lnSpc>
                <a:spcPct val="90000"/>
              </a:lnSpc>
              <a:spcBef>
                <a:spcPts val="298"/>
              </a:spcBef>
              <a:spcAft>
                <a:spcPts val="598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896">
                <a:solidFill>
                  <a:schemeClr val="accent1"/>
                </a:solidFill>
              </a:defRPr>
            </a:lvl3pPr>
            <a:lvl4pPr marL="805974" indent="-268658">
              <a:buFont typeface="Arial" panose="020B0604020202020204" pitchFamily="34" charset="0"/>
              <a:buChar char="-"/>
              <a:defRPr sz="896"/>
            </a:lvl4pPr>
            <a:lvl5pPr marL="143284" indent="-143284">
              <a:spcBef>
                <a:spcPts val="200"/>
              </a:spcBef>
              <a:buFont typeface="Arial" panose="020B0604020202020204" pitchFamily="34" charset="0"/>
              <a:buChar char="•"/>
              <a:defRPr sz="896"/>
            </a:lvl5pPr>
            <a:lvl6pPr marL="143284" indent="-143284">
              <a:spcBef>
                <a:spcPts val="200"/>
              </a:spcBef>
              <a:buFont typeface="Arial" panose="020B0604020202020204" pitchFamily="34" charset="0"/>
              <a:buChar char="•"/>
              <a:defRPr sz="896"/>
            </a:lvl6pPr>
            <a:lvl7pPr marL="143284" indent="-143284">
              <a:spcBef>
                <a:spcPts val="200"/>
              </a:spcBef>
              <a:buFont typeface="Arial" panose="020B0604020202020204" pitchFamily="34" charset="0"/>
              <a:buChar char="•"/>
              <a:defRPr sz="896" baseline="0"/>
            </a:lvl7pPr>
            <a:lvl8pPr marL="143284" indent="-143284">
              <a:spcBef>
                <a:spcPts val="200"/>
              </a:spcBef>
              <a:buFont typeface="Arial" panose="020B0604020202020204" pitchFamily="34" charset="0"/>
              <a:buChar char="•"/>
              <a:defRPr sz="896" baseline="0"/>
            </a:lvl8pPr>
            <a:lvl9pPr marL="143284" indent="-143284">
              <a:spcBef>
                <a:spcPts val="200"/>
              </a:spcBef>
              <a:buFont typeface="Arial" panose="020B0604020202020204" pitchFamily="34" charset="0"/>
              <a:buChar char="•"/>
              <a:defRPr sz="896" baseline="0"/>
            </a:lvl9pPr>
          </a:lstStyle>
          <a:p>
            <a:pPr lvl="0"/>
            <a:r>
              <a:rPr lang="es-ES"/>
              <a:t>%DT:AreasOfExpertise%</a:t>
            </a:r>
          </a:p>
          <a:p>
            <a:pPr lvl="1"/>
            <a:r>
              <a:rPr lang="es-ES"/>
              <a:t>%DT:Skill1%</a:t>
            </a:r>
          </a:p>
          <a:p>
            <a:pPr lvl="1"/>
            <a:r>
              <a:rPr lang="es-ES"/>
              <a:t>%DT:Skill2%</a:t>
            </a:r>
          </a:p>
          <a:p>
            <a:pPr lvl="1"/>
            <a:r>
              <a:rPr lang="es-ES"/>
              <a:t>%DT:Skill3%</a:t>
            </a:r>
          </a:p>
          <a:p>
            <a:pPr lvl="1"/>
            <a:r>
              <a:rPr lang="es-ES"/>
              <a:t>%DT:Skill4%</a:t>
            </a:r>
          </a:p>
          <a:p>
            <a:pPr lvl="0"/>
            <a:r>
              <a:rPr lang="es-ES"/>
              <a:t>%DT: Qualifications%</a:t>
            </a:r>
          </a:p>
          <a:p>
            <a:pPr lvl="1"/>
            <a:r>
              <a:rPr lang="es-ES"/>
              <a:t>%DT:Qualification1%</a:t>
            </a:r>
          </a:p>
          <a:p>
            <a:pPr lvl="1"/>
            <a:r>
              <a:rPr lang="es-ES"/>
              <a:t>%DT:Qualification2%</a:t>
            </a:r>
          </a:p>
          <a:p>
            <a:pPr lvl="1"/>
            <a:r>
              <a:rPr lang="es-ES"/>
              <a:t>%DT:Qualification3%</a:t>
            </a:r>
          </a:p>
          <a:p>
            <a:pPr lvl="0"/>
            <a:r>
              <a:rPr lang="es-ES"/>
              <a:t>%DT:Position%</a:t>
            </a:r>
          </a:p>
          <a:p>
            <a:pPr lvl="2"/>
            <a:r>
              <a:rPr lang="es-ES"/>
              <a:t>%DT:PositionHere%</a:t>
            </a:r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32" hasCustomPrompt="1"/>
          </p:nvPr>
        </p:nvSpPr>
        <p:spPr bwMode="ltGray">
          <a:xfrm flipH="1">
            <a:off x="538661" y="1006475"/>
            <a:ext cx="9199064" cy="1008000"/>
          </a:xfrm>
          <a:prstGeom prst="snip1Rect">
            <a:avLst>
              <a:gd name="adj" fmla="val 29152"/>
            </a:avLst>
          </a:prstGeom>
          <a:solidFill>
            <a:schemeClr val="accent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s-ES"/>
              <a:t> 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33"/>
          </p:nvPr>
        </p:nvSpPr>
        <p:spPr>
          <a:xfrm>
            <a:off x="9988552" y="1006475"/>
            <a:ext cx="1638299" cy="1008000"/>
          </a:xfrm>
          <a:prstGeom prst="rect">
            <a:avLst/>
          </a:prstGeo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</a:p>
        </p:txBody>
      </p:sp>
      <p:sp>
        <p:nvSpPr>
          <p:cNvPr id="9" name="Text Placeholder 14"/>
          <p:cNvSpPr>
            <a:spLocks noGrp="1"/>
          </p:cNvSpPr>
          <p:nvPr>
            <p:ph type="body" sz="quarter" idx="14" hasCustomPrompt="1"/>
          </p:nvPr>
        </p:nvSpPr>
        <p:spPr>
          <a:xfrm flipH="1">
            <a:off x="534985" y="1006475"/>
            <a:ext cx="288000" cy="288000"/>
          </a:xfrm>
          <a:prstGeom prst="rtTriangle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s-ES"/>
              <a:t> </a:t>
            </a:r>
          </a:p>
        </p:txBody>
      </p:sp>
      <p:sp>
        <p:nvSpPr>
          <p:cNvPr id="10" name="Title 11"/>
          <p:cNvSpPr>
            <a:spLocks noGrp="1"/>
          </p:cNvSpPr>
          <p:nvPr>
            <p:ph type="title" hasCustomPrompt="1"/>
          </p:nvPr>
        </p:nvSpPr>
        <p:spPr>
          <a:xfrm>
            <a:off x="864002" y="1294480"/>
            <a:ext cx="8661663" cy="24929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791" b="1" cap="all" baseline="0">
                <a:solidFill>
                  <a:schemeClr val="bg1"/>
                </a:solidFill>
              </a:defRPr>
            </a:lvl1pPr>
          </a:lstStyle>
          <a:p>
            <a:r>
              <a:rPr lang="es-ES"/>
              <a:t>Firstname Surnam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864001" y="1641603"/>
            <a:ext cx="8661665" cy="221599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394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/>
              <a:t>Description or Subtitle</a:t>
            </a:r>
          </a:p>
        </p:txBody>
      </p:sp>
      <p:sp>
        <p:nvSpPr>
          <p:cNvPr id="12" name="dcProductDescription"/>
          <p:cNvSpPr>
            <a:spLocks noGrp="1"/>
          </p:cNvSpPr>
          <p:nvPr>
            <p:ph type="body" sz="quarter" idx="35" hasCustomPrompt="1"/>
          </p:nvPr>
        </p:nvSpPr>
        <p:spPr>
          <a:xfrm>
            <a:off x="2176463" y="2304000"/>
            <a:ext cx="9450386" cy="388800"/>
          </a:xfrm>
          <a:prstGeom prst="rect">
            <a:avLst/>
          </a:prstGeom>
        </p:spPr>
        <p:txBody>
          <a:bodyPr/>
          <a:lstStyle>
            <a:lvl1pPr>
              <a:buNone/>
              <a:defRPr sz="1394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%DT:Introduction%</a:t>
            </a:r>
          </a:p>
        </p:txBody>
      </p:sp>
      <p:sp>
        <p:nvSpPr>
          <p:cNvPr id="13" name="dcBody"/>
          <p:cNvSpPr>
            <a:spLocks noGrp="1"/>
          </p:cNvSpPr>
          <p:nvPr>
            <p:ph type="body" sz="half" idx="2" hasCustomPrompt="1"/>
          </p:nvPr>
        </p:nvSpPr>
        <p:spPr>
          <a:xfrm>
            <a:off x="2176463" y="2811601"/>
            <a:ext cx="9450386" cy="3106150"/>
          </a:xfrm>
          <a:prstGeom prst="rect">
            <a:avLst/>
          </a:prstGeom>
        </p:spPr>
        <p:txBody>
          <a:bodyPr numCol="2" spcCol="252000">
            <a:normAutofit/>
          </a:bodyPr>
          <a:lstStyle>
            <a:lvl1pPr>
              <a:spcBef>
                <a:spcPts val="200"/>
              </a:spcBef>
              <a:spcAft>
                <a:spcPts val="398"/>
              </a:spcAft>
              <a:buNone/>
              <a:defRPr sz="996" b="1">
                <a:solidFill>
                  <a:schemeClr val="tx1"/>
                </a:solidFill>
              </a:defRPr>
            </a:lvl1pPr>
            <a:lvl2pPr marL="0" indent="0">
              <a:spcBef>
                <a:spcPts val="1194"/>
              </a:spcBef>
              <a:spcAft>
                <a:spcPts val="398"/>
              </a:spcAft>
              <a:buFont typeface="Arial" panose="020B0604020202020204" pitchFamily="34" charset="0"/>
              <a:buChar char="​"/>
              <a:defRPr sz="1394" b="0">
                <a:solidFill>
                  <a:schemeClr val="tx1"/>
                </a:solidFill>
              </a:defRPr>
            </a:lvl2pPr>
            <a:lvl3pPr marL="0" indent="0">
              <a:spcBef>
                <a:spcPts val="1194"/>
              </a:spcBef>
              <a:spcAft>
                <a:spcPts val="398"/>
              </a:spcAft>
              <a:buFont typeface="Arial" panose="020B0604020202020204" pitchFamily="34" charset="0"/>
              <a:buChar char="​"/>
              <a:defRPr sz="1194" b="1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398"/>
              </a:spcAft>
              <a:buFont typeface="Arial" panose="020B0604020202020204" pitchFamily="34" charset="0"/>
              <a:buChar char="​"/>
              <a:defRPr sz="1044"/>
            </a:lvl4pPr>
            <a:lvl5pPr marL="0" indent="0">
              <a:spcBef>
                <a:spcPts val="200"/>
              </a:spcBef>
              <a:spcAft>
                <a:spcPts val="398"/>
              </a:spcAft>
              <a:buFont typeface="Arial" panose="020B0604020202020204" pitchFamily="34" charset="0"/>
              <a:buChar char="​"/>
              <a:defRPr sz="996"/>
            </a:lvl5pPr>
            <a:lvl6pPr marL="268658" indent="-26865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996"/>
            </a:lvl6pPr>
            <a:lvl7pPr marL="537316" indent="-26865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996"/>
            </a:lvl7pPr>
            <a:lvl8pPr marL="805974" indent="-26865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996"/>
            </a:lvl8pPr>
            <a:lvl9pPr marL="1074633" indent="-26865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996" baseline="0"/>
            </a:lvl9pPr>
          </a:lstStyle>
          <a:p>
            <a:pPr lvl="0"/>
            <a:r>
              <a:rPr lang="es-ES"/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lvl="2"/>
            <a:r>
              <a:rPr lang="es-ES"/>
              <a:t>%DT: SuitabilityToTheRole%</a:t>
            </a:r>
          </a:p>
          <a:p>
            <a:pPr lvl="4"/>
            <a:r>
              <a:rPr lang="es-ES"/>
              <a:t>Lorem ipsum dolor sit amet, consectetuer adipiscing elit. Maecenas porttitor congue massa. Fusce posuere, magna sed pulvinar ultricies, purus lectus malesuada libero, sit amet commodo magna eros quis urna.Third level</a:t>
            </a:r>
          </a:p>
          <a:p>
            <a:pPr lvl="2"/>
            <a:r>
              <a:rPr lang="es-ES"/>
              <a:t>%DT: RelevanceOfExperience%</a:t>
            </a:r>
          </a:p>
          <a:p>
            <a:pPr lvl="4"/>
            <a:r>
              <a:rPr lang="es-ES"/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lvl="1"/>
            <a:endParaRPr lang="es-ES"/>
          </a:p>
          <a:p>
            <a:pPr lvl="1"/>
            <a:endParaRPr lang="es-ES"/>
          </a:p>
          <a:p>
            <a:pPr lvl="1"/>
            <a:r>
              <a:rPr lang="es-ES"/>
              <a:t>%DT:ProjectExperience%</a:t>
            </a:r>
          </a:p>
          <a:p>
            <a:pPr lvl="2"/>
            <a:r>
              <a:rPr lang="es-ES"/>
              <a:t>%DT:ProjectTitle%</a:t>
            </a:r>
          </a:p>
          <a:p>
            <a:pPr lvl="3"/>
            <a:r>
              <a:rPr lang="es-ES"/>
              <a:t>%DT:ClientNameDateFee%</a:t>
            </a:r>
          </a:p>
          <a:p>
            <a:pPr lvl="4"/>
            <a:r>
              <a:rPr lang="es-ES"/>
              <a:t>Lorem ipsum dolor sit amet, consectetuer adipiscing elit. Maecenas porttitor congue massa.</a:t>
            </a:r>
          </a:p>
          <a:p>
            <a:pPr lvl="2"/>
            <a:r>
              <a:rPr lang="es-ES"/>
              <a:t>%DT:ProjectTitle%</a:t>
            </a:r>
          </a:p>
          <a:p>
            <a:pPr lvl="3"/>
            <a:r>
              <a:rPr lang="es-ES"/>
              <a:t>%DT:ClientNameDateFee%</a:t>
            </a:r>
          </a:p>
          <a:p>
            <a:pPr lvl="4"/>
            <a:r>
              <a:rPr lang="es-ES"/>
              <a:t>Lorem ipsum dolor sit amet, consectetuer adipiscing elit. Maecenas porttitor congue massa.</a:t>
            </a:r>
          </a:p>
        </p:txBody>
      </p:sp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2070E854-3CC1-40F3-809F-1701D700979F}"/>
              </a:ext>
            </a:extLst>
          </p:cNvPr>
          <p:cNvSpPr txBox="1">
            <a:spLocks/>
          </p:cNvSpPr>
          <p:nvPr userDrawn="1"/>
        </p:nvSpPr>
        <p:spPr>
          <a:xfrm>
            <a:off x="11385652" y="6602369"/>
            <a:ext cx="241200" cy="1384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C1CACA2-8807-444A-80EF-366DD6953B54}" type="slidenum">
              <a:rPr lang="es-ES" sz="896" smtClean="0"/>
              <a:pPr/>
              <a:t>‹#›</a:t>
            </a:fld>
            <a:endParaRPr lang="es-ES" sz="896"/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905F495C-A051-4748-BD61-72E5573491B1}"/>
              </a:ext>
            </a:extLst>
          </p:cNvPr>
          <p:cNvCxnSpPr>
            <a:cxnSpLocks/>
          </p:cNvCxnSpPr>
          <p:nvPr userDrawn="1"/>
        </p:nvCxnSpPr>
        <p:spPr>
          <a:xfrm>
            <a:off x="1451144" y="6529985"/>
            <a:ext cx="1074085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0405934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111068" y="6408006"/>
            <a:ext cx="2899423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n-US" smtClean="0"/>
              <a:t>10/5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319589" y="6408006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149782" y="6408006"/>
            <a:ext cx="320439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719669" y="5614663"/>
            <a:ext cx="10750551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9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8658" indent="0">
              <a:buNone/>
              <a:defRPr/>
            </a:lvl3pPr>
            <a:lvl4pPr marL="537316" indent="0">
              <a:buNone/>
              <a:defRPr/>
            </a:lvl4pPr>
            <a:lvl5pPr marL="805974" indent="0">
              <a:buNone/>
              <a:defRPr/>
            </a:lvl5pPr>
          </a:lstStyle>
          <a:p>
            <a:pPr lvl="0"/>
            <a:r>
              <a:rPr lang="en-US"/>
              <a:t>Click to add kicker or ‘so what’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1388953464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AF43ADC-C920-4075-B458-FD54945B61DD}"/>
              </a:ext>
            </a:extLst>
          </p:cNvPr>
          <p:cNvSpPr/>
          <p:nvPr userDrawn="1"/>
        </p:nvSpPr>
        <p:spPr>
          <a:xfrm>
            <a:off x="0" y="1"/>
            <a:ext cx="12192000" cy="5341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5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C5D7FA4E-11D1-1B28-828D-6F8B7E64DD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5244" y="287533"/>
            <a:ext cx="1571226" cy="238893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id="{F7396361-9FC0-6417-9431-116A8E052B2A}"/>
              </a:ext>
            </a:extLst>
          </p:cNvPr>
          <p:cNvSpPr/>
          <p:nvPr userDrawn="1"/>
        </p:nvSpPr>
        <p:spPr>
          <a:xfrm>
            <a:off x="10248902" y="200027"/>
            <a:ext cx="1724025" cy="3341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5" err="1"/>
          </a:p>
        </p:txBody>
      </p:sp>
    </p:spTree>
    <p:extLst>
      <p:ext uri="{BB962C8B-B14F-4D97-AF65-F5344CB8AC3E}">
        <p14:creationId xmlns:p14="http://schemas.microsoft.com/office/powerpoint/2010/main" val="2788072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609601" y="683836"/>
            <a:ext cx="4965127" cy="1107996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3590"/>
            </a:lvl1pPr>
          </a:lstStyle>
          <a:p>
            <a:pPr lvl="0"/>
            <a:r>
              <a:rPr lang="en-US"/>
              <a:t>Click to edit Master </a:t>
            </a:r>
            <a:br>
              <a:rPr lang="en-US"/>
            </a:br>
            <a:r>
              <a:rPr lang="en-US"/>
              <a:t>text styles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CCD3313-C047-41AF-98EB-C882E5526AA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1"/>
            <a:ext cx="6096001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82642951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 descr="Un par de personas de pie sobre superficie terrosa&#10;&#10;Descripción generada automáticamente con confianza baja">
            <a:extLst>
              <a:ext uri="{FF2B5EF4-FFF2-40B4-BE49-F238E27FC236}">
                <a16:creationId xmlns:a16="http://schemas.microsoft.com/office/drawing/2014/main" id="{19E47CBA-99F3-4FE3-B094-553CF332E9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10094" y="0"/>
            <a:ext cx="12302095" cy="6858000"/>
          </a:xfrm>
          <a:prstGeom prst="rect">
            <a:avLst/>
          </a:prstGeom>
        </p:spPr>
      </p:pic>
      <p:sp>
        <p:nvSpPr>
          <p:cNvPr id="26" name="Holder 2">
            <a:extLst>
              <a:ext uri="{FF2B5EF4-FFF2-40B4-BE49-F238E27FC236}">
                <a16:creationId xmlns:a16="http://schemas.microsoft.com/office/drawing/2014/main" id="{00C0DDD5-47A9-4CDB-A6FB-AD19E7BB28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2" y="4298968"/>
            <a:ext cx="10972801" cy="684355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marR="0" indent="0" defTabSz="8449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36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defTabSz="8449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  <a:endParaRPr/>
          </a:p>
        </p:txBody>
      </p:sp>
      <p:sp>
        <p:nvSpPr>
          <p:cNvPr id="28" name="Holder 3">
            <a:extLst>
              <a:ext uri="{FF2B5EF4-FFF2-40B4-BE49-F238E27FC236}">
                <a16:creationId xmlns:a16="http://schemas.microsoft.com/office/drawing/2014/main" id="{1C70029D-B661-46B0-BEFA-8C91BA3715DE}"/>
              </a:ext>
            </a:extLst>
          </p:cNvPr>
          <p:cNvSpPr>
            <a:spLocks noGrp="1"/>
          </p:cNvSpPr>
          <p:nvPr>
            <p:ph type="subTitle" idx="4" hasCustomPrompt="1"/>
          </p:nvPr>
        </p:nvSpPr>
        <p:spPr>
          <a:xfrm>
            <a:off x="609602" y="4993233"/>
            <a:ext cx="10972801" cy="43451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>
              <a:defRPr sz="1847" b="0">
                <a:solidFill>
                  <a:schemeClr val="bg1"/>
                </a:solidFill>
              </a:defRPr>
            </a:lvl1pPr>
          </a:lstStyle>
          <a:p>
            <a:r>
              <a:rPr lang="en-US"/>
              <a:t>Subtitle</a:t>
            </a:r>
            <a:endParaRPr/>
          </a:p>
        </p:txBody>
      </p:sp>
      <p:sp>
        <p:nvSpPr>
          <p:cNvPr id="30" name="Content Placeholder 29">
            <a:extLst>
              <a:ext uri="{FF2B5EF4-FFF2-40B4-BE49-F238E27FC236}">
                <a16:creationId xmlns:a16="http://schemas.microsoft.com/office/drawing/2014/main" id="{CAC44F31-277C-4471-BECD-5A7DECA930DD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09963" y="5908346"/>
            <a:ext cx="10972076" cy="199606"/>
          </a:xfrm>
          <a:prstGeom prst="rect">
            <a:avLst/>
          </a:prstGeom>
        </p:spPr>
        <p:txBody>
          <a:bodyPr/>
          <a:lstStyle>
            <a:lvl1pPr>
              <a:defRPr sz="1294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8" name="Imagen 7" descr="Patrón de fondo&#10;&#10;Descripción generada automáticamente con confianza baja">
            <a:extLst>
              <a:ext uri="{FF2B5EF4-FFF2-40B4-BE49-F238E27FC236}">
                <a16:creationId xmlns:a16="http://schemas.microsoft.com/office/drawing/2014/main" id="{444071D4-3DF2-45B0-8943-8D4A6357D61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8448" y="267078"/>
            <a:ext cx="2559484" cy="317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52661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9602" y="509962"/>
            <a:ext cx="10972801" cy="451214"/>
          </a:xfrm>
          <a:prstGeom prst="rect">
            <a:avLst/>
          </a:prstGeom>
        </p:spPr>
        <p:txBody>
          <a:bodyPr lIns="0" tIns="0" rIns="0" bIns="0"/>
          <a:lstStyle>
            <a:lvl1pPr>
              <a:defRPr sz="2925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4772FB21-8375-4FA7-AA13-6A4C9FF167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5244" y="287532"/>
            <a:ext cx="1571226" cy="238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1890273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3">
            <a:extLst>
              <a:ext uri="{FF2B5EF4-FFF2-40B4-BE49-F238E27FC236}">
                <a16:creationId xmlns:a16="http://schemas.microsoft.com/office/drawing/2014/main" id="{9B6FA1BE-42AB-456A-A7BC-E485EE8A65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5244" y="287532"/>
            <a:ext cx="1571226" cy="238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8990432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EAA6ED-8684-4742-B3EE-2E49C6AD3FD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95994" y="1600200"/>
            <a:ext cx="11000014" cy="36576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A4585DF-D1CE-4D14-B6A9-EAB47DA347EF}"/>
              </a:ext>
            </a:extLst>
          </p:cNvPr>
          <p:cNvSpPr/>
          <p:nvPr userDrawn="1"/>
        </p:nvSpPr>
        <p:spPr>
          <a:xfrm>
            <a:off x="1" y="0"/>
            <a:ext cx="12192000" cy="240030"/>
          </a:xfrm>
          <a:prstGeom prst="rect">
            <a:avLst/>
          </a:prstGeom>
          <a:solidFill>
            <a:schemeClr val="accent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5"/>
          </a:p>
        </p:txBody>
      </p:sp>
    </p:spTree>
    <p:extLst>
      <p:ext uri="{BB962C8B-B14F-4D97-AF65-F5344CB8AC3E}">
        <p14:creationId xmlns:p14="http://schemas.microsoft.com/office/powerpoint/2010/main" val="826024133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609600" y="683839"/>
            <a:ext cx="4965127" cy="902427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2925"/>
            </a:lvl1pPr>
          </a:lstStyle>
          <a:p>
            <a:pPr lvl="0"/>
            <a:r>
              <a:rPr lang="en-US"/>
              <a:t>Click to edit Master </a:t>
            </a:r>
            <a:br>
              <a:rPr lang="en-US"/>
            </a:br>
            <a:r>
              <a:rPr lang="en-US"/>
              <a:t>text styles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CCD3313-C047-41AF-98EB-C882E5526AA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1" y="0"/>
            <a:ext cx="6096001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657367756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C78308D-2D6E-4706-BD9B-326E1C39864A}"/>
              </a:ext>
            </a:extLst>
          </p:cNvPr>
          <p:cNvSpPr/>
          <p:nvPr userDrawn="1"/>
        </p:nvSpPr>
        <p:spPr>
          <a:xfrm>
            <a:off x="11239145" y="6572235"/>
            <a:ext cx="827785" cy="225767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en-AU" sz="865" b="1" i="0">
                <a:solidFill>
                  <a:schemeClr val="bg1">
                    <a:lumMod val="75000"/>
                  </a:schemeClr>
                </a:solidFill>
                <a:latin typeface="FS Elliot Pro Thin" panose="02000503030000020004" pitchFamily="50" charset="0"/>
              </a:rPr>
              <a:t>© Arcadis 2023 </a:t>
            </a:r>
          </a:p>
        </p:txBody>
      </p:sp>
    </p:spTree>
    <p:extLst>
      <p:ext uri="{BB962C8B-B14F-4D97-AF65-F5344CB8AC3E}">
        <p14:creationId xmlns:p14="http://schemas.microsoft.com/office/powerpoint/2010/main" val="1068753768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436BC58-32E9-40A8-8839-EF8A1B1120C9}"/>
              </a:ext>
            </a:extLst>
          </p:cNvPr>
          <p:cNvSpPr/>
          <p:nvPr userDrawn="1"/>
        </p:nvSpPr>
        <p:spPr>
          <a:xfrm>
            <a:off x="11239146" y="6572232"/>
            <a:ext cx="827785" cy="200952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en-AU" sz="704" b="1" i="0">
                <a:solidFill>
                  <a:schemeClr val="bg1">
                    <a:lumMod val="75000"/>
                  </a:schemeClr>
                </a:solidFill>
                <a:latin typeface="FS Elliot Pro Thin" panose="02000503030000020004" pitchFamily="50" charset="0"/>
              </a:rPr>
              <a:t>© Arcadis 2023 </a:t>
            </a:r>
          </a:p>
        </p:txBody>
      </p:sp>
      <p:pic>
        <p:nvPicPr>
          <p:cNvPr id="6" name="Imagen 3">
            <a:extLst>
              <a:ext uri="{FF2B5EF4-FFF2-40B4-BE49-F238E27FC236}">
                <a16:creationId xmlns:a16="http://schemas.microsoft.com/office/drawing/2014/main" id="{9B6FA1BE-42AB-456A-A7BC-E485EE8A65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3801" y="255003"/>
            <a:ext cx="1571226" cy="238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8952218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losing Slide with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132E485-D736-4DCB-95B5-1F51A5B069C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6200" y="457202"/>
            <a:ext cx="1498600" cy="228631"/>
          </a:xfrm>
          <a:prstGeom prst="rect">
            <a:avLst/>
          </a:prstGeom>
        </p:spPr>
      </p:pic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99BBA926-2F06-4BAA-803E-52ECFB7751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09700" y="2119032"/>
            <a:ext cx="2628900" cy="1658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Last</a:t>
            </a: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EDFC0252-57A3-46DD-9427-F2791D0270E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09700" y="2463779"/>
            <a:ext cx="2628900" cy="1658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75B3955F-7CDE-468A-AFD1-FBD8C68E0E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1" y="2651966"/>
            <a:ext cx="723899" cy="307135"/>
          </a:xfrm>
          <a:prstGeom prst="rect">
            <a:avLst/>
          </a:prstGeom>
          <a:noFill/>
        </p:spPr>
        <p:txBody>
          <a:bodyPr anchor="b"/>
          <a:lstStyle>
            <a:lvl1pPr algn="ctr">
              <a:defRPr sz="9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an imag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88CAFCB-962C-446A-85AD-1C20E120FC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371601"/>
            <a:ext cx="3581400" cy="457199"/>
          </a:xfrm>
        </p:spPr>
        <p:txBody>
          <a:bodyPr>
            <a:normAutofit/>
          </a:bodyPr>
          <a:lstStyle>
            <a:lvl1pPr>
              <a:defRPr sz="2095"/>
            </a:lvl1pPr>
          </a:lstStyle>
          <a:p>
            <a:r>
              <a:rPr lang="en-US"/>
              <a:t>Contact Us</a:t>
            </a:r>
            <a:endParaRPr lang="en-PH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9AF3F018-2B2A-4D9F-BF18-FADB2BE121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409700" y="2793286"/>
            <a:ext cx="2628900" cy="1658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name@arcadis.com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8D788D96-85C2-4AA3-9798-7A6DCCE7CAA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409700" y="3482261"/>
            <a:ext cx="2628900" cy="1658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Last</a:t>
            </a:r>
          </a:p>
        </p:txBody>
      </p:sp>
      <p:sp>
        <p:nvSpPr>
          <p:cNvPr id="15" name="Text Placeholder 16">
            <a:extLst>
              <a:ext uri="{FF2B5EF4-FFF2-40B4-BE49-F238E27FC236}">
                <a16:creationId xmlns:a16="http://schemas.microsoft.com/office/drawing/2014/main" id="{4EE1C37F-6B8B-402C-90C4-8EB95105D3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09700" y="3817896"/>
            <a:ext cx="2628900" cy="1658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A0FAD612-061C-456B-8750-9FBD298633F7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7201" y="4025132"/>
            <a:ext cx="723899" cy="307135"/>
          </a:xfrm>
          <a:prstGeom prst="rect">
            <a:avLst/>
          </a:prstGeom>
          <a:noFill/>
        </p:spPr>
        <p:txBody>
          <a:bodyPr anchor="b"/>
          <a:lstStyle>
            <a:lvl1pPr algn="ctr">
              <a:defRPr sz="9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an image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72B3707-2853-497B-9202-A64DFDF842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409700" y="4162346"/>
            <a:ext cx="2628900" cy="1658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name@arcadis.com</a:t>
            </a:r>
          </a:p>
        </p:txBody>
      </p:sp>
    </p:spTree>
    <p:extLst>
      <p:ext uri="{BB962C8B-B14F-4D97-AF65-F5344CB8AC3E}">
        <p14:creationId xmlns:p14="http://schemas.microsoft.com/office/powerpoint/2010/main" val="3824716330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>
            <a:extLst>
              <a:ext uri="{FF2B5EF4-FFF2-40B4-BE49-F238E27FC236}">
                <a16:creationId xmlns:a16="http://schemas.microsoft.com/office/drawing/2014/main" id="{BD904FB4-960E-4A27-8E20-A2170B24363C}"/>
              </a:ext>
            </a:extLst>
          </p:cNvPr>
          <p:cNvSpPr/>
          <p:nvPr userDrawn="1"/>
        </p:nvSpPr>
        <p:spPr>
          <a:xfrm>
            <a:off x="10987626" y="6572233"/>
            <a:ext cx="1079303" cy="225767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en-AU" sz="867" b="1" i="0">
                <a:solidFill>
                  <a:schemeClr val="bg1">
                    <a:lumMod val="75000"/>
                  </a:schemeClr>
                </a:solidFill>
                <a:latin typeface="FS Elliot Pro Thin" panose="02000503030000020004" pitchFamily="50" charset="0"/>
              </a:rPr>
              <a:t>© Arcadis 2023 </a:t>
            </a:r>
          </a:p>
        </p:txBody>
      </p:sp>
    </p:spTree>
    <p:extLst>
      <p:ext uri="{BB962C8B-B14F-4D97-AF65-F5344CB8AC3E}">
        <p14:creationId xmlns:p14="http://schemas.microsoft.com/office/powerpoint/2010/main" val="3442098455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6D392959-AA0A-446C-ABF5-A4AF1C9F58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5244" y="287530"/>
            <a:ext cx="1571226" cy="238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86770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CB3510-D3BC-421D-95FD-DA7DD527DF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597" y="1122363"/>
            <a:ext cx="9142807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B42B0E6-AE88-4784-BCF2-7CB1EC55C28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597" y="3602038"/>
            <a:ext cx="9142807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03423378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6" descr="A picture containing drawing&#10;&#10;Description automatically generated">
            <a:extLst>
              <a:ext uri="{FF2B5EF4-FFF2-40B4-BE49-F238E27FC236}">
                <a16:creationId xmlns:a16="http://schemas.microsoft.com/office/drawing/2014/main" id="{77338C28-6149-4F76-BFEE-C4372A905F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53493" y="204584"/>
            <a:ext cx="1690949" cy="303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640168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Image-led reverse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36FC3B7-CE63-45A8-AF2C-CCB25DA9F1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743200"/>
            <a:ext cx="11277600" cy="685800"/>
          </a:xfrm>
          <a:prstGeom prst="rect">
            <a:avLst/>
          </a:prstGeom>
        </p:spPr>
        <p:txBody>
          <a:bodyPr lIns="228600" tIns="0" rIns="0" bIns="0"/>
          <a:lstStyle>
            <a:lvl1pPr>
              <a:spcBef>
                <a:spcPts val="600"/>
              </a:spcBef>
              <a:spcAft>
                <a:spcPts val="1200"/>
              </a:spcAft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mage-led divider title</a:t>
            </a:r>
          </a:p>
        </p:txBody>
      </p:sp>
    </p:spTree>
    <p:extLst>
      <p:ext uri="{BB962C8B-B14F-4D97-AF65-F5344CB8AC3E}">
        <p14:creationId xmlns:p14="http://schemas.microsoft.com/office/powerpoint/2010/main" val="1187795370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F0A481-AFC3-4B48-A5A1-24BC5FA605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3857430567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5F5C152-64E0-4959-AA3F-AE38857786E6}"/>
              </a:ext>
            </a:extLst>
          </p:cNvPr>
          <p:cNvCxnSpPr>
            <a:cxnSpLocks/>
          </p:cNvCxnSpPr>
          <p:nvPr userDrawn="1"/>
        </p:nvCxnSpPr>
        <p:spPr>
          <a:xfrm>
            <a:off x="457993" y="0"/>
            <a:ext cx="0" cy="6858000"/>
          </a:xfrm>
          <a:prstGeom prst="line">
            <a:avLst/>
          </a:prstGeom>
          <a:ln w="6350" cmpd="sng">
            <a:solidFill>
              <a:schemeClr val="tx2">
                <a:lumMod val="20000"/>
                <a:lumOff val="80000"/>
              </a:schemeClr>
            </a:solidFill>
            <a:headEnd type="none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ubtitle 17">
            <a:extLst>
              <a:ext uri="{FF2B5EF4-FFF2-40B4-BE49-F238E27FC236}">
                <a16:creationId xmlns:a16="http://schemas.microsoft.com/office/drawing/2014/main" id="{D55CED77-34F8-4619-8184-56DBEAD3D3E5}"/>
              </a:ext>
            </a:extLst>
          </p:cNvPr>
          <p:cNvSpPr txBox="1">
            <a:spLocks/>
          </p:cNvSpPr>
          <p:nvPr userDrawn="1"/>
        </p:nvSpPr>
        <p:spPr>
          <a:xfrm rot="16200000">
            <a:off x="-2200538" y="3310115"/>
            <a:ext cx="4859071" cy="237769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69875" indent="-269875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268288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9875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8080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8288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35" b="1">
                <a:solidFill>
                  <a:schemeClr val="accent1"/>
                </a:solidFill>
                <a:latin typeface="Arial" panose="020B0604020202020204" pitchFamily="34" charset="0"/>
              </a:rPr>
              <a:t>ARCADIS | </a:t>
            </a:r>
            <a:r>
              <a:rPr lang="en-US" sz="635" b="1" kern="120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+mn-cs"/>
              </a:rPr>
              <a:t>Consultancy Services for Developing a HKIE – Time to Change Roadmap</a:t>
            </a:r>
            <a:endParaRPr lang="en-GB" sz="635" b="1" kern="1200">
              <a:solidFill>
                <a:schemeClr val="bg2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2" name="Freeform: Shape 11">
            <a:hlinkClick r:id="" action="ppaction://noaction"/>
            <a:extLst>
              <a:ext uri="{FF2B5EF4-FFF2-40B4-BE49-F238E27FC236}">
                <a16:creationId xmlns:a16="http://schemas.microsoft.com/office/drawing/2014/main" id="{78F8ABBE-79F7-463D-9AD9-89BE8FD073D0}"/>
              </a:ext>
            </a:extLst>
          </p:cNvPr>
          <p:cNvSpPr>
            <a:spLocks/>
          </p:cNvSpPr>
          <p:nvPr userDrawn="1"/>
        </p:nvSpPr>
        <p:spPr bwMode="auto">
          <a:xfrm>
            <a:off x="116866" y="194376"/>
            <a:ext cx="224266" cy="155536"/>
          </a:xfrm>
          <a:custGeom>
            <a:avLst/>
            <a:gdLst>
              <a:gd name="connsiteX0" fmla="*/ 12195 w 268288"/>
              <a:gd name="connsiteY0" fmla="*/ 147637 h 171450"/>
              <a:gd name="connsiteX1" fmla="*/ 256093 w 268288"/>
              <a:gd name="connsiteY1" fmla="*/ 147637 h 171450"/>
              <a:gd name="connsiteX2" fmla="*/ 268288 w 268288"/>
              <a:gd name="connsiteY2" fmla="*/ 159544 h 171450"/>
              <a:gd name="connsiteX3" fmla="*/ 256093 w 268288"/>
              <a:gd name="connsiteY3" fmla="*/ 171450 h 171450"/>
              <a:gd name="connsiteX4" fmla="*/ 12195 w 268288"/>
              <a:gd name="connsiteY4" fmla="*/ 171450 h 171450"/>
              <a:gd name="connsiteX5" fmla="*/ 0 w 268288"/>
              <a:gd name="connsiteY5" fmla="*/ 159544 h 171450"/>
              <a:gd name="connsiteX6" fmla="*/ 12195 w 268288"/>
              <a:gd name="connsiteY6" fmla="*/ 147637 h 171450"/>
              <a:gd name="connsiteX7" fmla="*/ 12195 w 268288"/>
              <a:gd name="connsiteY7" fmla="*/ 73025 h 171450"/>
              <a:gd name="connsiteX8" fmla="*/ 256093 w 268288"/>
              <a:gd name="connsiteY8" fmla="*/ 73025 h 171450"/>
              <a:gd name="connsiteX9" fmla="*/ 268288 w 268288"/>
              <a:gd name="connsiteY9" fmla="*/ 85725 h 171450"/>
              <a:gd name="connsiteX10" fmla="*/ 256093 w 268288"/>
              <a:gd name="connsiteY10" fmla="*/ 98425 h 171450"/>
              <a:gd name="connsiteX11" fmla="*/ 12195 w 268288"/>
              <a:gd name="connsiteY11" fmla="*/ 98425 h 171450"/>
              <a:gd name="connsiteX12" fmla="*/ 0 w 268288"/>
              <a:gd name="connsiteY12" fmla="*/ 85725 h 171450"/>
              <a:gd name="connsiteX13" fmla="*/ 12195 w 268288"/>
              <a:gd name="connsiteY13" fmla="*/ 73025 h 171450"/>
              <a:gd name="connsiteX14" fmla="*/ 12195 w 268288"/>
              <a:gd name="connsiteY14" fmla="*/ 0 h 171450"/>
              <a:gd name="connsiteX15" fmla="*/ 256093 w 268288"/>
              <a:gd name="connsiteY15" fmla="*/ 0 h 171450"/>
              <a:gd name="connsiteX16" fmla="*/ 268288 w 268288"/>
              <a:gd name="connsiteY16" fmla="*/ 12700 h 171450"/>
              <a:gd name="connsiteX17" fmla="*/ 256093 w 268288"/>
              <a:gd name="connsiteY17" fmla="*/ 25400 h 171450"/>
              <a:gd name="connsiteX18" fmla="*/ 12195 w 268288"/>
              <a:gd name="connsiteY18" fmla="*/ 25400 h 171450"/>
              <a:gd name="connsiteX19" fmla="*/ 0 w 268288"/>
              <a:gd name="connsiteY19" fmla="*/ 12700 h 171450"/>
              <a:gd name="connsiteX20" fmla="*/ 12195 w 268288"/>
              <a:gd name="connsiteY20" fmla="*/ 0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68288" h="171450">
                <a:moveTo>
                  <a:pt x="12195" y="147637"/>
                </a:moveTo>
                <a:cubicBezTo>
                  <a:pt x="12195" y="147637"/>
                  <a:pt x="12195" y="147637"/>
                  <a:pt x="256093" y="147637"/>
                </a:cubicBezTo>
                <a:cubicBezTo>
                  <a:pt x="262191" y="147637"/>
                  <a:pt x="268288" y="153590"/>
                  <a:pt x="268288" y="159544"/>
                </a:cubicBezTo>
                <a:cubicBezTo>
                  <a:pt x="268288" y="165497"/>
                  <a:pt x="262191" y="171450"/>
                  <a:pt x="256093" y="171450"/>
                </a:cubicBezTo>
                <a:cubicBezTo>
                  <a:pt x="256093" y="171450"/>
                  <a:pt x="256093" y="171450"/>
                  <a:pt x="12195" y="171450"/>
                </a:cubicBezTo>
                <a:cubicBezTo>
                  <a:pt x="6097" y="171450"/>
                  <a:pt x="0" y="165497"/>
                  <a:pt x="0" y="159544"/>
                </a:cubicBezTo>
                <a:cubicBezTo>
                  <a:pt x="0" y="153590"/>
                  <a:pt x="6097" y="147637"/>
                  <a:pt x="12195" y="147637"/>
                </a:cubicBezTo>
                <a:close/>
                <a:moveTo>
                  <a:pt x="12195" y="73025"/>
                </a:moveTo>
                <a:cubicBezTo>
                  <a:pt x="12195" y="73025"/>
                  <a:pt x="12195" y="73025"/>
                  <a:pt x="256093" y="73025"/>
                </a:cubicBezTo>
                <a:cubicBezTo>
                  <a:pt x="262191" y="73025"/>
                  <a:pt x="268288" y="79375"/>
                  <a:pt x="268288" y="85725"/>
                </a:cubicBezTo>
                <a:cubicBezTo>
                  <a:pt x="268288" y="92075"/>
                  <a:pt x="262191" y="98425"/>
                  <a:pt x="256093" y="98425"/>
                </a:cubicBezTo>
                <a:cubicBezTo>
                  <a:pt x="256093" y="98425"/>
                  <a:pt x="256093" y="98425"/>
                  <a:pt x="12195" y="98425"/>
                </a:cubicBezTo>
                <a:cubicBezTo>
                  <a:pt x="6097" y="98425"/>
                  <a:pt x="0" y="92075"/>
                  <a:pt x="0" y="85725"/>
                </a:cubicBezTo>
                <a:cubicBezTo>
                  <a:pt x="0" y="79375"/>
                  <a:pt x="6097" y="73025"/>
                  <a:pt x="12195" y="73025"/>
                </a:cubicBezTo>
                <a:close/>
                <a:moveTo>
                  <a:pt x="12195" y="0"/>
                </a:moveTo>
                <a:cubicBezTo>
                  <a:pt x="12195" y="0"/>
                  <a:pt x="12195" y="0"/>
                  <a:pt x="256093" y="0"/>
                </a:cubicBezTo>
                <a:cubicBezTo>
                  <a:pt x="262191" y="0"/>
                  <a:pt x="268288" y="6350"/>
                  <a:pt x="268288" y="12700"/>
                </a:cubicBezTo>
                <a:cubicBezTo>
                  <a:pt x="268288" y="19050"/>
                  <a:pt x="262191" y="25400"/>
                  <a:pt x="256093" y="25400"/>
                </a:cubicBezTo>
                <a:cubicBezTo>
                  <a:pt x="256093" y="25400"/>
                  <a:pt x="256093" y="25400"/>
                  <a:pt x="12195" y="25400"/>
                </a:cubicBezTo>
                <a:cubicBezTo>
                  <a:pt x="6097" y="25400"/>
                  <a:pt x="0" y="19050"/>
                  <a:pt x="0" y="12700"/>
                </a:cubicBezTo>
                <a:cubicBezTo>
                  <a:pt x="0" y="6350"/>
                  <a:pt x="6097" y="0"/>
                  <a:pt x="12195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2953" tIns="41476" rIns="82953" bIns="41476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613"/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2EAC628A-32FD-4E1C-B5F0-38816BD89668}"/>
              </a:ext>
            </a:extLst>
          </p:cNvPr>
          <p:cNvSpPr txBox="1">
            <a:spLocks/>
          </p:cNvSpPr>
          <p:nvPr userDrawn="1"/>
        </p:nvSpPr>
        <p:spPr>
          <a:xfrm>
            <a:off x="1" y="6468966"/>
            <a:ext cx="457993" cy="389035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03C551C-83BB-4568-94F6-AC8A8312A04A}" type="slidenum">
              <a:rPr lang="en-GB" sz="1089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</a:rPr>
              <a:pPr algn="ctr"/>
              <a:t>‹#›</a:t>
            </a:fld>
            <a:endParaRPr lang="en-GB" sz="1089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1050159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0FC3EA-F2F9-4615-BA54-122843695924}" type="datetimeFigureOut">
              <a:rPr lang="en-US" smtClean="0"/>
              <a:t>10/5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59F3CA-3345-49CD-B89D-85309C4A7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3083243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fin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81055322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746942" y="698283"/>
            <a:ext cx="1199749" cy="3552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309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914400" y="3840480"/>
            <a:ext cx="4267200" cy="986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41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5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09967246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52907" y="504408"/>
            <a:ext cx="8406441" cy="355354"/>
          </a:xfrm>
        </p:spPr>
        <p:txBody>
          <a:bodyPr lIns="0" tIns="0" rIns="0" bIns="0"/>
          <a:lstStyle>
            <a:lvl1pPr>
              <a:defRPr sz="2309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8834284" y="2338776"/>
            <a:ext cx="2687665" cy="98617"/>
          </a:xfrm>
        </p:spPr>
        <p:txBody>
          <a:bodyPr lIns="0" tIns="0" rIns="0" bIns="0"/>
          <a:lstStyle>
            <a:lvl1pPr>
              <a:defRPr sz="641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5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95496477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52907" y="504408"/>
            <a:ext cx="8406441" cy="355354"/>
          </a:xfrm>
        </p:spPr>
        <p:txBody>
          <a:bodyPr lIns="0" tIns="0" rIns="0" bIns="0"/>
          <a:lstStyle>
            <a:lvl1pPr>
              <a:defRPr sz="2309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304800" y="1577340"/>
            <a:ext cx="2651759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3139440" y="1577340"/>
            <a:ext cx="2651759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5/2025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89962464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52907" y="504408"/>
            <a:ext cx="8406441" cy="355354"/>
          </a:xfrm>
        </p:spPr>
        <p:txBody>
          <a:bodyPr lIns="0" tIns="0" rIns="0" bIns="0"/>
          <a:lstStyle>
            <a:lvl1pPr>
              <a:defRPr sz="2309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5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2828049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9600" y="407178"/>
            <a:ext cx="10972801" cy="553998"/>
          </a:xfrm>
          <a:prstGeom prst="rect">
            <a:avLst/>
          </a:prstGeom>
        </p:spPr>
        <p:txBody>
          <a:bodyPr lIns="0" tIns="0" rIns="0" bIns="0"/>
          <a:lstStyle>
            <a:lvl1pPr>
              <a:defRPr sz="3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4772FB21-8375-4FA7-AA13-6A4C9FF167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5243" y="287529"/>
            <a:ext cx="1571226" cy="238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2306876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5/20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57222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lor tint block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C43E271-585A-4BE6-84C9-3787B822945E}"/>
              </a:ext>
            </a:extLst>
          </p:cNvPr>
          <p:cNvSpPr/>
          <p:nvPr userDrawn="1"/>
        </p:nvSpPr>
        <p:spPr>
          <a:xfrm>
            <a:off x="0" y="0"/>
            <a:ext cx="4038600" cy="6857999"/>
          </a:xfrm>
          <a:prstGeom prst="rect">
            <a:avLst/>
          </a:prstGeom>
          <a:solidFill>
            <a:srgbClr val="E7E6E6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81AFEDCA-5DFA-4012-BB79-36C20DA068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1835726"/>
            <a:ext cx="3366654" cy="1593273"/>
          </a:xfrm>
        </p:spPr>
        <p:txBody>
          <a:bodyPr rIns="90000">
            <a:noAutofit/>
          </a:bodyPr>
          <a:lstStyle>
            <a:lvl1pPr>
              <a:lnSpc>
                <a:spcPct val="900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  <a:endParaRPr lang="en-PH"/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F68EE003-0251-496B-8C8B-76B18E7545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3657600"/>
            <a:ext cx="3366655" cy="1600200"/>
          </a:xfrm>
          <a:prstGeom prst="rect">
            <a:avLst/>
          </a:prstGeom>
        </p:spPr>
        <p:txBody>
          <a:bodyPr lIns="0" tIns="0" rIns="90000" bIns="0"/>
          <a:lstStyle>
            <a:lvl1pPr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4FCD446E-D362-46C5-91D6-8B0C743A3773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267200" y="914400"/>
            <a:ext cx="7467600" cy="45720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11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diagram</a:t>
            </a:r>
            <a:endParaRPr lang="en-PH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428C9DA-F3D9-FB47-BFD9-EAA7267167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6200" y="457200"/>
            <a:ext cx="1498600" cy="228631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BE8CDA-8FDF-FC4C-85C2-674EB9DCF65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© Arcadis 2023</a:t>
            </a:r>
          </a:p>
        </p:txBody>
      </p:sp>
      <p:sp>
        <p:nvSpPr>
          <p:cNvPr id="2" name="Date Placeholder 20">
            <a:extLst>
              <a:ext uri="{FF2B5EF4-FFF2-40B4-BE49-F238E27FC236}">
                <a16:creationId xmlns:a16="http://schemas.microsoft.com/office/drawing/2014/main" id="{822462C6-1C1E-0E8C-138C-CEF3EA7F4A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67800" y="6446837"/>
            <a:ext cx="17145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2"/>
                </a:solidFill>
              </a:defRPr>
            </a:lvl1pPr>
          </a:lstStyle>
          <a:p>
            <a:fld id="{F31E42D4-B472-4D33-8D3D-6F0C0E7887EA}" type="datetime3">
              <a:rPr lang="en-US" smtClean="0"/>
              <a:t>5 October 2025</a:t>
            </a:fld>
            <a:endParaRPr lang="en-US"/>
          </a:p>
        </p:txBody>
      </p:sp>
      <p:sp>
        <p:nvSpPr>
          <p:cNvPr id="6" name="Slide Number Placeholder 22">
            <a:extLst>
              <a:ext uri="{FF2B5EF4-FFF2-40B4-BE49-F238E27FC236}">
                <a16:creationId xmlns:a16="http://schemas.microsoft.com/office/drawing/2014/main" id="{B1A0E097-1D38-7524-E691-7C4E782E3A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10900" y="6446837"/>
            <a:ext cx="7239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2FE63AA4-120D-435A-A130-F49443AF7C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4158171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losing Slide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19D3C3DF-07C9-476C-AC69-B1DC18183ED0}"/>
              </a:ext>
            </a:extLst>
          </p:cNvPr>
          <p:cNvSpPr txBox="1"/>
          <p:nvPr userDrawn="1"/>
        </p:nvSpPr>
        <p:spPr>
          <a:xfrm>
            <a:off x="9067800" y="6191781"/>
            <a:ext cx="2667000" cy="16619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lvl="0" indent="0" algn="r" defTabSz="986912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None/>
            </a:pPr>
            <a:r>
              <a:rPr lang="en-US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Arcadis.</a:t>
            </a:r>
            <a:r>
              <a:rPr lang="en-US" sz="1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mproving quality of life.</a:t>
            </a:r>
            <a:endParaRPr lang="en-PH" sz="12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BD6AAE4-B26B-A842-873E-E36FB8E080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rcadis 2023</a:t>
            </a:r>
            <a:endParaRPr lang="en-US" dirty="0"/>
          </a:p>
        </p:txBody>
      </p:sp>
      <p:sp>
        <p:nvSpPr>
          <p:cNvPr id="4" name="Title 13">
            <a:extLst>
              <a:ext uri="{FF2B5EF4-FFF2-40B4-BE49-F238E27FC236}">
                <a16:creationId xmlns:a16="http://schemas.microsoft.com/office/drawing/2014/main" id="{72041726-037E-2874-23D9-9E409C2CDA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292928"/>
            <a:ext cx="11277600" cy="159327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5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Thank you</a:t>
            </a:r>
          </a:p>
        </p:txBody>
      </p:sp>
      <p:pic>
        <p:nvPicPr>
          <p:cNvPr id="2" name="Picture 1" descr="&#10;">
            <a:extLst>
              <a:ext uri="{FF2B5EF4-FFF2-40B4-BE49-F238E27FC236}">
                <a16:creationId xmlns:a16="http://schemas.microsoft.com/office/drawing/2014/main" id="{C858F818-0C17-1927-CEEA-9624D0A303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6200" y="457201"/>
            <a:ext cx="1496045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7465688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91E2E6-68F9-4B47-93D3-947FED19C9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wo column content slide title</a:t>
            </a:r>
            <a:endParaRPr lang="en-PH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98B0F4A-603D-4EE9-86E7-F8ECA1A3CF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309018"/>
            <a:ext cx="5524500" cy="4091782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540000" indent="-27000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 sz="1400"/>
            </a:lvl2pPr>
          </a:lstStyle>
          <a:p>
            <a:pPr lvl="0"/>
            <a:r>
              <a:rPr lang="en-US"/>
              <a:t>Standard bullet 14</a:t>
            </a:r>
          </a:p>
          <a:p>
            <a:pPr lvl="1"/>
            <a:r>
              <a:rPr lang="en-US"/>
              <a:t>Second level standard bullet 14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AD203639-DCA9-4BBA-A1F3-753BF58A052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1842292"/>
            <a:ext cx="5524500" cy="2381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23" name="Text Placeholder 16">
            <a:extLst>
              <a:ext uri="{FF2B5EF4-FFF2-40B4-BE49-F238E27FC236}">
                <a16:creationId xmlns:a16="http://schemas.microsoft.com/office/drawing/2014/main" id="{998836C9-68B5-4657-982E-52E03AACC2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10300" y="2309017"/>
            <a:ext cx="5524500" cy="4091781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540000" indent="-27000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 sz="1400"/>
            </a:lvl2pPr>
          </a:lstStyle>
          <a:p>
            <a:pPr lvl="0"/>
            <a:r>
              <a:rPr lang="en-US"/>
              <a:t>Standard bullet 14</a:t>
            </a:r>
          </a:p>
          <a:p>
            <a:pPr lvl="1"/>
            <a:r>
              <a:rPr lang="en-US"/>
              <a:t>Second level standard bullet 14</a:t>
            </a:r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id="{A6A9F80A-32AD-4602-AD0E-143DE6B70B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10300" y="1842292"/>
            <a:ext cx="5524500" cy="2381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3D83EFEE-1A28-4845-BE8D-F727C55AD7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6200" y="457200"/>
            <a:ext cx="1498600" cy="228631"/>
          </a:xfrm>
          <a:prstGeom prst="rect">
            <a:avLst/>
          </a:prstGeom>
        </p:spPr>
      </p:pic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823D34D-2555-464C-A2D4-5150F9D7317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457200" y="6446837"/>
            <a:ext cx="16764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Arcadis 2023</a:t>
            </a:r>
          </a:p>
        </p:txBody>
      </p:sp>
      <p:sp>
        <p:nvSpPr>
          <p:cNvPr id="3" name="Date Placeholder 20">
            <a:extLst>
              <a:ext uri="{FF2B5EF4-FFF2-40B4-BE49-F238E27FC236}">
                <a16:creationId xmlns:a16="http://schemas.microsoft.com/office/drawing/2014/main" id="{6C3C2E4A-9C3E-9C1B-508D-6330F85FC19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67800" y="6446837"/>
            <a:ext cx="17145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2"/>
                </a:solidFill>
              </a:defRPr>
            </a:lvl1pPr>
          </a:lstStyle>
          <a:p>
            <a:fld id="{F31E42D4-B472-4D33-8D3D-6F0C0E7887EA}" type="datetime3">
              <a:rPr lang="en-US" smtClean="0"/>
              <a:t>5 October 2025</a:t>
            </a:fld>
            <a:endParaRPr lang="en-US"/>
          </a:p>
        </p:txBody>
      </p:sp>
      <p:sp>
        <p:nvSpPr>
          <p:cNvPr id="4" name="Slide Number Placeholder 22">
            <a:extLst>
              <a:ext uri="{FF2B5EF4-FFF2-40B4-BE49-F238E27FC236}">
                <a16:creationId xmlns:a16="http://schemas.microsoft.com/office/drawing/2014/main" id="{976ABA20-C98B-DDC9-9392-EB4B78E1C2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10900" y="6446837"/>
            <a:ext cx="7239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2FE63AA4-120D-435A-A130-F49443AF7C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12272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BC696C-952D-09A1-4D2D-6DD143D0AF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3DAC08F-5DCE-7A40-A4BD-D1FC0CD460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B46687-EA8B-0982-F725-83D7D72BAA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9E6998-4F97-43B6-BBBD-13B639CB68CB}" type="datetimeFigureOut">
              <a:rPr lang="en-GB" smtClean="0"/>
              <a:t>05/10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641EC8-AE14-B17A-9DFC-5C35EAA60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804417-2C58-3D8B-3004-6017FAF6AA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8BEEBA-8336-472A-B2C2-53CAB14DC1F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5461284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022A52-A438-0008-88DE-39E98BFF0B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BA32A2-CA6E-EF2F-A58F-8C82681C4A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1F9840-504E-9992-59D9-6A945464A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9E6998-4F97-43B6-BBBD-13B639CB68CB}" type="datetimeFigureOut">
              <a:rPr lang="en-GB" smtClean="0"/>
              <a:t>05/10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A163C5-6466-29F9-3A26-73ABB02EB0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C3A3F5-B67D-A9B5-3923-A7A04E10E1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8BEEBA-8336-472A-B2C2-53CAB14DC1F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488370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48DADE-CF6A-F8D0-7EF1-79B52D4656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93DA1D9-79D0-E0CD-4A34-DCCD9E3EA5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E8600E-4C0D-C85A-E552-71C3FB51D8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9E6998-4F97-43B6-BBBD-13B639CB68CB}" type="datetimeFigureOut">
              <a:rPr lang="en-GB" smtClean="0"/>
              <a:t>05/10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52E255-99A7-54E2-702E-0E1DA1EA2A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A29839-6BBB-6865-2D98-2917E4C030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8BEEBA-8336-472A-B2C2-53CAB14DC1F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8783787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223A9E-96CD-4950-D4CC-2A59E511F9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654304-1BED-188E-F255-54C0BA2872B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F579779-EB66-B1AF-5B26-C2E40B0FA5B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26EFB9B-8430-0557-41DF-12AECC1BAA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9E6998-4F97-43B6-BBBD-13B639CB68CB}" type="datetimeFigureOut">
              <a:rPr lang="en-GB" smtClean="0"/>
              <a:t>05/10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2C54DAF-7FF4-60A6-7F50-E81064D0D9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678BEA-8488-255C-8CDB-7809E753E6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8BEEBA-8336-472A-B2C2-53CAB14DC1F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885078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3506FC-2EAD-18EE-7F76-626C275ECC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124C95-D22B-B797-EBB7-A22BCF110D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D87D14-827C-8A22-6193-69532B93B98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78196C-D45A-390E-C8E4-24097381603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2FF5E8D-378F-10B3-44AB-25ED06CEDA1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336A0A-3690-0657-34D4-BD233E9850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9E6998-4F97-43B6-BBBD-13B639CB68CB}" type="datetimeFigureOut">
              <a:rPr lang="en-GB" smtClean="0"/>
              <a:t>05/10/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C10DC8D-96F5-86E0-B032-0F4E1B422E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C82B9A2-84FF-28EB-4784-5274613029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8BEEBA-8336-472A-B2C2-53CAB14DC1F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6795923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E93E65-8522-1F1E-6283-EE7311EFD8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F3D242C-5EAC-D309-220D-07BEEA512C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9E6998-4F97-43B6-BBBD-13B639CB68CB}" type="datetimeFigureOut">
              <a:rPr lang="en-GB" smtClean="0"/>
              <a:t>05/10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3EC15DA-BDD2-C320-5AF2-BA087B4149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9BA7C5-AFFA-27AB-8600-4B57EC2510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8BEEBA-8336-472A-B2C2-53CAB14DC1F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626027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6D392959-AA0A-446C-ABF5-A4AF1C9F58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5243" y="287529"/>
            <a:ext cx="1571226" cy="238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5707796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CDDA6C2-3680-E77F-0AAD-8F1CA5DE06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9E6998-4F97-43B6-BBBD-13B639CB68CB}" type="datetimeFigureOut">
              <a:rPr lang="en-GB" smtClean="0"/>
              <a:t>05/10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62B00E1-A890-B639-DAFE-4900398E7B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DAB2E9-82CA-C2B9-38EB-B142974C3A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8BEEBA-8336-472A-B2C2-53CAB14DC1F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3124742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4A8334-2B3C-F421-E593-1760501C29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5F9AA4-5D7B-3DBE-B690-307C92A52C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894C5A-4A5C-AFBF-CB7A-0A913B11211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5B07708-F4AE-34A2-B745-D58EC4AEBE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9E6998-4F97-43B6-BBBD-13B639CB68CB}" type="datetimeFigureOut">
              <a:rPr lang="en-GB" smtClean="0"/>
              <a:t>05/10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2FAC88E-04B5-A342-F286-80B8EDC4D0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E9EF41-7F7E-FB1C-07EE-83A4A777E9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8BEEBA-8336-472A-B2C2-53CAB14DC1F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0464161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6492BC-9D2D-6D07-0859-BFFA2F2FF5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2A77685-47E4-9DF5-F384-2AC45DED55E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ADD9E7-F45E-B8DE-1F23-E776DA31F60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76A70E1-A13F-AEF8-F1E3-5424720811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9E6998-4F97-43B6-BBBD-13B639CB68CB}" type="datetimeFigureOut">
              <a:rPr lang="en-GB" smtClean="0"/>
              <a:t>05/10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177FE4-C68B-E581-3FF6-16804745BC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5FE3A62-E332-C6B7-61D3-E876E2A72F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8BEEBA-8336-472A-B2C2-53CAB14DC1F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1811956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B89F1F-5C20-BD55-A6F6-7F794694F0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104DBA7-BED9-75E6-F44C-958B1018127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B3440E-5A22-68EF-C4E3-FF8E0F6F98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9E6998-4F97-43B6-BBBD-13B639CB68CB}" type="datetimeFigureOut">
              <a:rPr lang="en-GB" smtClean="0"/>
              <a:t>05/10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CFEEE7-9A42-321A-0444-64E4F3CC1F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6B15EE-F643-50F0-ED03-5642EF8E17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8BEEBA-8336-472A-B2C2-53CAB14DC1F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1617218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7972011-CE0F-AB8A-7BD5-686F392E7F5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48FFFEC-4BA9-AFAB-58AB-D1A5D4EBA9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38576B7-DCFE-036C-97AC-5AA0D59BAF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9E6998-4F97-43B6-BBBD-13B639CB68CB}" type="datetimeFigureOut">
              <a:rPr lang="en-GB" smtClean="0"/>
              <a:t>05/10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B0D0AF-7A1E-031A-8A0A-FEF49E8FBD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DD52AE-318A-321E-15B8-81E41ED9E4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8BEEBA-8336-472A-B2C2-53CAB14DC1F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7193486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6E7A677-451E-4572-B02E-6D99DF9053B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6200" y="457200"/>
            <a:ext cx="1498600" cy="228631"/>
          </a:xfrm>
          <a:prstGeom prst="rect">
            <a:avLst/>
          </a:prstGeom>
        </p:spPr>
      </p:pic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36FC3B7-CE63-45A8-AF2C-CCB25DA9F1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286000"/>
            <a:ext cx="11277600" cy="1371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0"/>
              </a:spcAft>
              <a:defRPr sz="5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Presentation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E5723794-4E50-48A6-BA6C-7CDB91BB63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4103370"/>
            <a:ext cx="112776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600"/>
              </a:spcBef>
              <a:spcAft>
                <a:spcPts val="1200"/>
              </a:spcAft>
              <a:defRPr sz="21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60CA5305-0A60-41DB-809C-6E372BA944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4572000"/>
            <a:ext cx="112776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600"/>
              </a:spcBef>
              <a:spcAft>
                <a:spcPts val="1200"/>
              </a:spcAft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916180461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F0A481-AFC3-4B48-A5A1-24BC5FA605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  <a:endParaRPr lang="en-PH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514831D-50B6-45FD-858A-076E5021FB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E42D4-B472-4D33-8D3D-6F0C0E7887EA}" type="datetime3">
              <a:rPr lang="en-US" smtClean="0"/>
              <a:t>5 October 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269FDED-66EB-4FC3-8D66-FDC7FA759C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rcadis 20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9847767-2113-42C2-896C-F0DEFDF4C6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E63AA4-120D-435A-A130-F49443AF7CB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678EC24-1B0B-4063-90EF-2B01EE915F3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6200" y="457200"/>
            <a:ext cx="1498600" cy="228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760624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ivider - Image-led reverse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7254DC9E-75F9-4E4C-BA7B-8298E4C7AEA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insert an image &gt; Right Click &gt; Send to Back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36FC3B7-CE63-45A8-AF2C-CCB25DA9F1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743200"/>
            <a:ext cx="11277600" cy="6858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600"/>
              </a:spcBef>
              <a:spcAft>
                <a:spcPts val="1200"/>
              </a:spcAft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mage-led divider title</a:t>
            </a:r>
          </a:p>
        </p:txBody>
      </p:sp>
    </p:spTree>
    <p:extLst>
      <p:ext uri="{BB962C8B-B14F-4D97-AF65-F5344CB8AC3E}">
        <p14:creationId xmlns:p14="http://schemas.microsoft.com/office/powerpoint/2010/main" val="1899033287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column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91E2E6-68F9-4B47-93D3-947FED19C9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ingle column content slide title</a:t>
            </a:r>
            <a:endParaRPr lang="en-PH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98B0F4A-603D-4EE9-86E7-F8ECA1A3CF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828768"/>
            <a:ext cx="11277600" cy="4572032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540000" indent="-27000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en-US"/>
              <a:t>Standard Text 16</a:t>
            </a:r>
          </a:p>
          <a:p>
            <a:pPr lvl="0"/>
            <a:r>
              <a:rPr lang="en-US"/>
              <a:t>Standard bullet 16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3D83EFEE-1A28-4845-BE8D-F727C55AD7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6200" y="457200"/>
            <a:ext cx="1498600" cy="228631"/>
          </a:xfrm>
          <a:prstGeom prst="rect">
            <a:avLst/>
          </a:prstGeom>
        </p:spPr>
      </p:pic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C452237-5305-334E-8771-34C6D9E2589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7342B68-D062-423E-B3DE-73904E68CA66}" type="datetime3">
              <a:rPr lang="en-US" smtClean="0"/>
              <a:t>5 October 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AED97EB-122E-AB42-BCD8-3BFB1560AC1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© Arcadis 2023 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D8102CE-B5EE-0D4E-823E-CC8F8D5C20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FE63AA4-120D-435A-A130-F49443AF7C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2003300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 - Image-l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2B95FE4-F082-4D42-AA27-BEF50E823B3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 tIns="91440" bIns="91440" anchor="b"/>
          <a:lstStyle>
            <a:lvl1pPr algn="r">
              <a:defRPr sz="1100">
                <a:solidFill>
                  <a:schemeClr val="bg2"/>
                </a:solidFill>
              </a:defRPr>
            </a:lvl1pPr>
          </a:lstStyle>
          <a:p>
            <a:r>
              <a:rPr lang="en-US" sz="1000"/>
              <a:t>Click on the icon to insert an image &gt; Right Click &gt; Send to Back</a:t>
            </a:r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36FC3B7-CE63-45A8-AF2C-CCB25DA9F1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286000"/>
            <a:ext cx="11277600" cy="1371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600"/>
              </a:spcBef>
              <a:spcAft>
                <a:spcPts val="1200"/>
              </a:spcAft>
              <a:defRPr sz="5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Image-led cover title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E5723794-4E50-48A6-BA6C-7CDB91BB63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4103370"/>
            <a:ext cx="112776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600"/>
              </a:spcBef>
              <a:spcAft>
                <a:spcPts val="1200"/>
              </a:spcAft>
              <a:defRPr sz="21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60CA5305-0A60-41DB-809C-6E372BA944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4572000"/>
            <a:ext cx="112776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600"/>
              </a:spcBef>
              <a:spcAft>
                <a:spcPts val="1200"/>
              </a:spcAft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" name="Footer Placeholder 21">
            <a:extLst>
              <a:ext uri="{FF2B5EF4-FFF2-40B4-BE49-F238E27FC236}">
                <a16:creationId xmlns:a16="http://schemas.microsoft.com/office/drawing/2014/main" id="{503FAF79-3C0A-5A57-152A-0E926D47AB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199" y="6446837"/>
            <a:ext cx="506541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4">
            <a:extLst>
              <a:ext uri="{FF2B5EF4-FFF2-40B4-BE49-F238E27FC236}">
                <a16:creationId xmlns:a16="http://schemas.microsoft.com/office/drawing/2014/main" id="{E575BC81-8D6B-9F55-6DF5-5DB68AC5CA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10900" y="6446837"/>
            <a:ext cx="723900" cy="36512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2FE63AA4-120D-435A-A130-F49443AF7C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062933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97638843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C294B6CA-68F4-4F29-B1B2-5880C39BEB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057400"/>
            <a:ext cx="4571999" cy="27432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Title</a:t>
            </a:r>
            <a:endParaRPr lang="en-PH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7C602180-74AB-4C47-90BF-1DB0B4AE12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57800" y="2057400"/>
            <a:ext cx="6477000" cy="2743200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0399C13-96FF-4DD8-94E9-6E6C21066F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6200" y="457200"/>
            <a:ext cx="1498600" cy="228631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1BF05E6-A4E7-5244-A763-BC92E44ABCD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CF74765-2552-4943-A27A-F293BDB6EFD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02A115E-6F8C-F647-B88E-181597403E4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FE63AA4-120D-435A-A130-F49443AF7C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5887775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hree imag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12C63D43-69CB-4811-B72D-5F3DCB51568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57200" y="1828800"/>
            <a:ext cx="3581401" cy="45720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insert imag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34B9CBD-AF1F-4C24-B1D3-A7A9BEC7E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1"/>
            <a:ext cx="11277600" cy="685799"/>
          </a:xfrm>
        </p:spPr>
        <p:txBody>
          <a:bodyPr/>
          <a:lstStyle/>
          <a:p>
            <a:r>
              <a:rPr lang="en-US"/>
              <a:t>Three image slide title</a:t>
            </a:r>
            <a:endParaRPr lang="en-PH"/>
          </a:p>
        </p:txBody>
      </p:sp>
      <p:sp>
        <p:nvSpPr>
          <p:cNvPr id="10" name="Date Placeholder 2">
            <a:extLst>
              <a:ext uri="{FF2B5EF4-FFF2-40B4-BE49-F238E27FC236}">
                <a16:creationId xmlns:a16="http://schemas.microsoft.com/office/drawing/2014/main" id="{9ADB8E11-AF01-4EEB-8E7C-CFE5ACF71C9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67801" y="6446838"/>
            <a:ext cx="1714500" cy="365125"/>
          </a:xfrm>
        </p:spPr>
        <p:txBody>
          <a:bodyPr/>
          <a:lstStyle/>
          <a:p>
            <a:fld id="{F31E42D4-B472-4D33-8D3D-6F0C0E7887EA}" type="datetime3">
              <a:rPr lang="en-US" smtClean="0"/>
              <a:t>5 October 2025</a:t>
            </a:fld>
            <a:endParaRPr lang="en-US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BFB8E6AE-CE09-47D7-920B-FDC64A53DE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1" y="6446838"/>
            <a:ext cx="1676400" cy="365125"/>
          </a:xfrm>
        </p:spPr>
        <p:txBody>
          <a:bodyPr/>
          <a:lstStyle/>
          <a:p>
            <a:r>
              <a:rPr lang="en-US"/>
              <a:t>© Arcadis 2020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A0F11B9D-7BF2-45D1-ABB7-7D17F89B67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0900" y="6446838"/>
            <a:ext cx="723900" cy="365125"/>
          </a:xfrm>
        </p:spPr>
        <p:txBody>
          <a:bodyPr/>
          <a:lstStyle/>
          <a:p>
            <a:fld id="{2FE63AA4-120D-435A-A130-F49443AF7CB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8BD6C6B-CE11-4D0F-9437-0FE85603524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6200" y="457201"/>
            <a:ext cx="1498601" cy="228631"/>
          </a:xfrm>
          <a:prstGeom prst="rect">
            <a:avLst/>
          </a:prstGeom>
        </p:spPr>
      </p:pic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9FF410F7-E40B-DF41-B357-09FB5BA627F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67201" y="1828800"/>
            <a:ext cx="3619500" cy="45720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insert image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66C40E00-B15B-E042-A7AA-E28675055E5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15301" y="1828800"/>
            <a:ext cx="3619500" cy="45720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insert image</a:t>
            </a:r>
          </a:p>
        </p:txBody>
      </p:sp>
    </p:spTree>
    <p:extLst>
      <p:ext uri="{BB962C8B-B14F-4D97-AF65-F5344CB8AC3E}">
        <p14:creationId xmlns:p14="http://schemas.microsoft.com/office/powerpoint/2010/main" val="1529790619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lor tint block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C43E271-585A-4BE6-84C9-3787B822945E}"/>
              </a:ext>
            </a:extLst>
          </p:cNvPr>
          <p:cNvSpPr/>
          <p:nvPr userDrawn="1"/>
        </p:nvSpPr>
        <p:spPr>
          <a:xfrm>
            <a:off x="0" y="0"/>
            <a:ext cx="4038600" cy="6857999"/>
          </a:xfrm>
          <a:prstGeom prst="rect">
            <a:avLst/>
          </a:prstGeom>
          <a:solidFill>
            <a:srgbClr val="E7E6E6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Date Placeholder 2">
            <a:extLst>
              <a:ext uri="{FF2B5EF4-FFF2-40B4-BE49-F238E27FC236}">
                <a16:creationId xmlns:a16="http://schemas.microsoft.com/office/drawing/2014/main" id="{F7EFBD7E-84AE-4193-97A7-6053CA8057A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67800" y="6446837"/>
            <a:ext cx="1714500" cy="365125"/>
          </a:xfrm>
        </p:spPr>
        <p:txBody>
          <a:bodyPr/>
          <a:lstStyle>
            <a:lvl1pPr>
              <a:defRPr>
                <a:solidFill>
                  <a:srgbClr val="C2C1C1"/>
                </a:solidFill>
              </a:defRPr>
            </a:lvl1pPr>
          </a:lstStyle>
          <a:p>
            <a:fld id="{728B004E-4B0B-4DF1-AA0F-92C7B3BE2D33}" type="datetime3">
              <a:rPr lang="en-US" smtClean="0"/>
              <a:t>5 October 2025</a:t>
            </a:fld>
            <a:endParaRPr lang="en-US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06ED1264-F351-4CA8-9D38-F5167E4E7F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446837"/>
            <a:ext cx="1676400" cy="365125"/>
          </a:xfrm>
        </p:spPr>
        <p:txBody>
          <a:bodyPr/>
          <a:lstStyle>
            <a:lvl1pPr>
              <a:defRPr>
                <a:solidFill>
                  <a:srgbClr val="C2C1C1"/>
                </a:solidFill>
              </a:defRPr>
            </a:lvl1pPr>
          </a:lstStyle>
          <a:p>
            <a:r>
              <a:rPr lang="en-US"/>
              <a:t>© Arcadis 2022</a:t>
            </a:r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574CAA3B-8EAA-4562-9B16-819D52DA0A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0900" y="6446837"/>
            <a:ext cx="7239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FE63AA4-120D-435A-A130-F49443AF7CB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81AFEDCA-5DFA-4012-BB79-36C20DA068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1835726"/>
            <a:ext cx="3366654" cy="1593273"/>
          </a:xfrm>
        </p:spPr>
        <p:txBody>
          <a:bodyPr rIns="90000">
            <a:noAutofit/>
          </a:bodyPr>
          <a:lstStyle>
            <a:lvl1pPr>
              <a:lnSpc>
                <a:spcPct val="90000"/>
              </a:lnSpc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F68EE003-0251-496B-8C8B-76B18E7545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3657600"/>
            <a:ext cx="3366655" cy="1600200"/>
          </a:xfrm>
          <a:prstGeom prst="rect">
            <a:avLst/>
          </a:prstGeom>
        </p:spPr>
        <p:txBody>
          <a:bodyPr lIns="0" tIns="0" rIns="90000" bIns="0"/>
          <a:lstStyle>
            <a:lvl1pPr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4FCD446E-D362-46C5-91D6-8B0C743A3773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267200" y="914400"/>
            <a:ext cx="7467600" cy="45720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11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diagram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428C9DA-F3D9-FB47-BFD9-EAA7267167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6200" y="457200"/>
            <a:ext cx="1498600" cy="228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79533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EAA6ED-8684-4742-B3EE-2E49C6AD3FD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95993" y="1600200"/>
            <a:ext cx="11000014" cy="36576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A4585DF-D1CE-4D14-B6A9-EAB47DA347EF}"/>
              </a:ext>
            </a:extLst>
          </p:cNvPr>
          <p:cNvSpPr/>
          <p:nvPr userDrawn="1"/>
        </p:nvSpPr>
        <p:spPr>
          <a:xfrm>
            <a:off x="1" y="0"/>
            <a:ext cx="12192000" cy="240030"/>
          </a:xfrm>
          <a:prstGeom prst="rect">
            <a:avLst/>
          </a:prstGeom>
          <a:solidFill>
            <a:schemeClr val="accent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77656375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609600" y="683836"/>
            <a:ext cx="4965127" cy="1107996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3600"/>
            </a:lvl1pPr>
          </a:lstStyle>
          <a:p>
            <a:pPr lvl="0"/>
            <a:r>
              <a:rPr lang="en-US"/>
              <a:t>Click to edit Master </a:t>
            </a:r>
            <a:br>
              <a:rPr lang="en-US"/>
            </a:br>
            <a:r>
              <a:rPr lang="en-US"/>
              <a:t>text styles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CCD3313-C047-41AF-98EB-C882E5526AA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6096001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825417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Image-led reverse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36FC3B7-CE63-45A8-AF2C-CCB25DA9F1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743200"/>
            <a:ext cx="11277600" cy="685800"/>
          </a:xfrm>
          <a:prstGeom prst="rect">
            <a:avLst/>
          </a:prstGeom>
        </p:spPr>
        <p:txBody>
          <a:bodyPr lIns="228600" tIns="0" rIns="0" bIns="0"/>
          <a:lstStyle>
            <a:lvl1pPr>
              <a:spcBef>
                <a:spcPts val="600"/>
              </a:spcBef>
              <a:spcAft>
                <a:spcPts val="1200"/>
              </a:spcAft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mage-led divider title</a:t>
            </a:r>
          </a:p>
        </p:txBody>
      </p:sp>
    </p:spTree>
    <p:extLst>
      <p:ext uri="{BB962C8B-B14F-4D97-AF65-F5344CB8AC3E}">
        <p14:creationId xmlns:p14="http://schemas.microsoft.com/office/powerpoint/2010/main" val="102185580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0230057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8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800000"/>
            <a:ext cx="12192000" cy="50580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s-ES"/>
              <a:t> </a:t>
            </a:r>
          </a:p>
          <a:p>
            <a:r>
              <a:rPr lang="es-ES"/>
              <a:t> </a:t>
            </a:r>
          </a:p>
          <a:p>
            <a:endParaRPr lang="es-ES"/>
          </a:p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icon</a:t>
            </a:r>
            <a:r>
              <a:rPr lang="es-ES"/>
              <a:t> to </a:t>
            </a:r>
            <a:r>
              <a:rPr lang="es-ES" err="1"/>
              <a:t>add</a:t>
            </a:r>
            <a:r>
              <a:rPr lang="es-ES"/>
              <a:t> </a:t>
            </a:r>
            <a:r>
              <a:rPr lang="es-ES" err="1"/>
              <a:t>picture</a:t>
            </a:r>
            <a:endParaRPr lang="es-ES"/>
          </a:p>
          <a:p>
            <a:endParaRPr lang="es-E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3" hasCustomPrompt="1"/>
          </p:nvPr>
        </p:nvSpPr>
        <p:spPr bwMode="ltGray">
          <a:xfrm flipH="1">
            <a:off x="540000" y="2070000"/>
            <a:ext cx="11086850" cy="1620000"/>
          </a:xfrm>
          <a:prstGeom prst="snip1Rect">
            <a:avLst>
              <a:gd name="adj" fmla="val 17843"/>
            </a:avLst>
          </a:prstGeom>
          <a:solidFill>
            <a:schemeClr val="accent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s-ES"/>
              <a:t> 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4" hasCustomPrompt="1"/>
          </p:nvPr>
        </p:nvSpPr>
        <p:spPr>
          <a:xfrm flipH="1">
            <a:off x="540000" y="2070000"/>
            <a:ext cx="288000" cy="288000"/>
          </a:xfrm>
          <a:prstGeom prst="rtTriangle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s-ES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63998" y="2330912"/>
            <a:ext cx="9946800" cy="49859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90000"/>
              </a:lnSpc>
              <a:spcAft>
                <a:spcPts val="0"/>
              </a:spcAft>
              <a:defRPr sz="3564" b="1" cap="all" baseline="0">
                <a:solidFill>
                  <a:schemeClr val="bg1"/>
                </a:solidFill>
              </a:defRPr>
            </a:lvl1pPr>
          </a:lstStyle>
          <a:p>
            <a:r>
              <a:rPr lang="es-ES" err="1"/>
              <a:t>Add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63998" y="2825016"/>
            <a:ext cx="9946800" cy="6647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376">
                <a:solidFill>
                  <a:schemeClr val="bg1"/>
                </a:solidFill>
              </a:defRPr>
            </a:lvl1pPr>
            <a:lvl2pPr marL="4526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052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579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10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632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158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6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21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Add subtitle</a:t>
            </a:r>
          </a:p>
        </p:txBody>
      </p:sp>
      <p:pic>
        <p:nvPicPr>
          <p:cNvPr id="5" name="sLogo">
            <a:extLst>
              <a:ext uri="{FF2B5EF4-FFF2-40B4-BE49-F238E27FC236}">
                <a16:creationId xmlns:a16="http://schemas.microsoft.com/office/drawing/2014/main" id="{68486EC4-168A-402F-9CA3-705ED75AFD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8000" y="396000"/>
            <a:ext cx="3420000" cy="361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57970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preserve="1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754" y="1656001"/>
            <a:ext cx="11087100" cy="386732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099427" y="6408009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t>05/10/2025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19588" y="6408009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85654" y="6408009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t>‹#›</a:t>
            </a:fld>
            <a:endParaRPr lang="es-E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539750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8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7310" indent="0">
              <a:buNone/>
              <a:defRPr/>
            </a:lvl3pPr>
            <a:lvl4pPr marL="534620" indent="0">
              <a:buNone/>
              <a:defRPr/>
            </a:lvl4pPr>
            <a:lvl5pPr marL="801930" indent="0">
              <a:buNone/>
              <a:defRPr/>
            </a:lvl5pPr>
          </a:lstStyle>
          <a:p>
            <a:pPr lvl="0"/>
            <a:r>
              <a:rPr lang="es-ES"/>
              <a:t>Click to add kicker or ‘so what’. Delete if not required.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>
          <a:xfrm>
            <a:off x="539754" y="950400"/>
            <a:ext cx="11087100" cy="49859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s-ES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318004229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4" y="950400"/>
            <a:ext cx="11087100" cy="498598"/>
          </a:xfrm>
          <a:prstGeom prst="rect">
            <a:avLst/>
          </a:prstGeom>
        </p:spPr>
        <p:txBody>
          <a:bodyPr/>
          <a:lstStyle>
            <a:lvl1pPr>
              <a:defRPr b="0">
                <a:latin typeface="Arial Nova Light" panose="020B0304020202020204" pitchFamily="34" charset="0"/>
              </a:defRPr>
            </a:lvl1pPr>
          </a:lstStyle>
          <a:p>
            <a:r>
              <a:rPr lang="es-ES"/>
              <a:t>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749" y="2358900"/>
            <a:ext cx="11087099" cy="3159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 Nova Light" panose="020B0304020202020204" pitchFamily="34" charset="0"/>
              </a:defRPr>
            </a:lvl1pPr>
            <a:lvl2pPr>
              <a:defRPr>
                <a:latin typeface="Arial Nova Light" panose="020B0304020202020204" pitchFamily="34" charset="0"/>
              </a:defRPr>
            </a:lvl2pPr>
            <a:lvl3pPr>
              <a:defRPr>
                <a:latin typeface="Arial Nova Light" panose="020B0304020202020204" pitchFamily="34" charset="0"/>
              </a:defRPr>
            </a:lvl3pPr>
            <a:lvl4pPr>
              <a:defRPr>
                <a:latin typeface="Arial Nova Light" panose="020B0304020202020204" pitchFamily="34" charset="0"/>
              </a:defRPr>
            </a:lvl4pPr>
            <a:lvl5pPr>
              <a:defRPr>
                <a:latin typeface="Arial Nova Light" panose="020B0304020202020204" pitchFamily="34" charset="0"/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099427" y="6408009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t>05/10/2025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19588" y="6408009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85654" y="6408009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t>‹#›</a:t>
            </a:fld>
            <a:endParaRPr lang="es-ES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4" y="1477756"/>
            <a:ext cx="11087100" cy="6093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180">
                <a:latin typeface="Arial Nova Light" panose="020B0304020202020204" pitchFamily="34" charset="0"/>
              </a:defRPr>
            </a:lvl1pPr>
            <a:lvl5pPr>
              <a:defRPr/>
            </a:lvl5pPr>
          </a:lstStyle>
          <a:p>
            <a:pPr lvl="0"/>
            <a:r>
              <a:rPr lang="es-ES" err="1"/>
              <a:t>Add</a:t>
            </a:r>
            <a:r>
              <a:rPr lang="es-ES"/>
              <a:t> </a:t>
            </a:r>
            <a:r>
              <a:rPr lang="es-ES" err="1"/>
              <a:t>subtitle</a:t>
            </a:r>
            <a:endParaRPr lang="es-E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 bwMode="ltGray">
          <a:xfrm>
            <a:off x="539750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8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7310" indent="0">
              <a:buNone/>
              <a:defRPr/>
            </a:lvl3pPr>
            <a:lvl4pPr marL="534620" indent="0">
              <a:buNone/>
              <a:defRPr/>
            </a:lvl4pPr>
            <a:lvl5pPr marL="801930" indent="0">
              <a:buNone/>
              <a:defRPr/>
            </a:lvl5pPr>
          </a:lstStyle>
          <a:p>
            <a:pPr lvl="0"/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add</a:t>
            </a:r>
            <a:r>
              <a:rPr lang="es-ES"/>
              <a:t> </a:t>
            </a:r>
            <a:r>
              <a:rPr lang="es-ES" err="1"/>
              <a:t>kicker</a:t>
            </a:r>
            <a:r>
              <a:rPr lang="es-ES"/>
              <a:t> </a:t>
            </a:r>
            <a:r>
              <a:rPr lang="es-ES" err="1"/>
              <a:t>or</a:t>
            </a:r>
            <a:r>
              <a:rPr lang="es-ES"/>
              <a:t> ‘so </a:t>
            </a:r>
            <a:r>
              <a:rPr lang="es-ES" err="1"/>
              <a:t>what</a:t>
            </a:r>
            <a:r>
              <a:rPr lang="es-ES"/>
              <a:t>’. </a:t>
            </a:r>
            <a:r>
              <a:rPr lang="es-ES" err="1"/>
              <a:t>Delete</a:t>
            </a:r>
            <a:r>
              <a:rPr lang="es-ES"/>
              <a:t> </a:t>
            </a:r>
            <a:r>
              <a:rPr lang="es-ES" err="1"/>
              <a:t>if</a:t>
            </a:r>
            <a:r>
              <a:rPr lang="es-ES"/>
              <a:t> </a:t>
            </a:r>
            <a:r>
              <a:rPr lang="es-ES" err="1"/>
              <a:t>not</a:t>
            </a:r>
            <a:r>
              <a:rPr lang="es-ES"/>
              <a:t> </a:t>
            </a:r>
            <a:r>
              <a:rPr lang="es-ES" err="1"/>
              <a:t>required</a:t>
            </a:r>
            <a:r>
              <a:rPr lang="es-E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1897591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4" y="950400"/>
            <a:ext cx="11087100" cy="498598"/>
          </a:xfrm>
          <a:prstGeom prst="rect">
            <a:avLst/>
          </a:prstGeom>
        </p:spPr>
        <p:txBody>
          <a:bodyPr/>
          <a:lstStyle/>
          <a:p>
            <a:r>
              <a:rPr lang="es-ES" err="1"/>
              <a:t>Add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9754" y="1656001"/>
            <a:ext cx="5418137" cy="38621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83"/>
            </a:lvl1pPr>
            <a:lvl2pPr>
              <a:defRPr sz="1584"/>
            </a:lvl2pPr>
            <a:lvl3pPr>
              <a:defRPr sz="1388"/>
            </a:lvl3pPr>
            <a:lvl4pPr>
              <a:defRPr sz="1188"/>
            </a:lvl4pPr>
            <a:lvl5pPr>
              <a:defRPr sz="1188"/>
            </a:lvl5pPr>
            <a:lvl6pPr>
              <a:defRPr sz="1188"/>
            </a:lvl6pPr>
            <a:lvl7pPr>
              <a:defRPr sz="1188" baseline="0"/>
            </a:lvl7pPr>
            <a:lvl8pPr>
              <a:defRPr sz="1188" baseline="0"/>
            </a:lvl8pPr>
            <a:lvl9pPr>
              <a:defRPr sz="1188" baseline="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8713" y="1656001"/>
            <a:ext cx="5418136" cy="38621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83"/>
            </a:lvl1pPr>
            <a:lvl2pPr>
              <a:defRPr sz="1584"/>
            </a:lvl2pPr>
            <a:lvl3pPr>
              <a:defRPr sz="1388"/>
            </a:lvl3pPr>
            <a:lvl4pPr>
              <a:defRPr sz="1188"/>
            </a:lvl4pPr>
            <a:lvl5pPr>
              <a:defRPr sz="1188"/>
            </a:lvl5pPr>
            <a:lvl6pPr>
              <a:defRPr sz="1188"/>
            </a:lvl6pPr>
            <a:lvl7pPr>
              <a:defRPr sz="1188"/>
            </a:lvl7pPr>
            <a:lvl8pPr>
              <a:defRPr sz="1188"/>
            </a:lvl8pPr>
            <a:lvl9pPr>
              <a:defRPr sz="1188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099427" y="6408009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t>05/10/2025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319588" y="6408009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385654" y="6408009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t>‹#›</a:t>
            </a:fld>
            <a:endParaRPr lang="es-ES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539750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8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7310" indent="0">
              <a:buNone/>
              <a:defRPr/>
            </a:lvl3pPr>
            <a:lvl4pPr marL="534620" indent="0">
              <a:buNone/>
              <a:defRPr/>
            </a:lvl4pPr>
            <a:lvl5pPr marL="801930" indent="0">
              <a:buNone/>
              <a:defRPr/>
            </a:lvl5pPr>
          </a:lstStyle>
          <a:p>
            <a:pPr lvl="0"/>
            <a:r>
              <a:rPr lang="es-ES"/>
              <a:t>Click to add kicker or ‘so what’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379831992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ontent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4" y="950400"/>
            <a:ext cx="11087100" cy="49859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s-ES"/>
              <a:t>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9750" y="1540267"/>
            <a:ext cx="5418138" cy="33239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783" b="1">
                <a:solidFill>
                  <a:schemeClr val="accent1"/>
                </a:solidFill>
              </a:defRPr>
            </a:lvl1pPr>
            <a:lvl2pPr marL="452646" indent="0">
              <a:buNone/>
              <a:defRPr sz="1980" b="1"/>
            </a:lvl2pPr>
            <a:lvl3pPr marL="905290" indent="0">
              <a:buNone/>
              <a:defRPr sz="1783" b="1"/>
            </a:lvl3pPr>
            <a:lvl4pPr marL="1357936" indent="0">
              <a:buNone/>
              <a:defRPr sz="1584" b="1"/>
            </a:lvl4pPr>
            <a:lvl5pPr marL="1810580" indent="0">
              <a:buNone/>
              <a:defRPr sz="1584" b="1"/>
            </a:lvl5pPr>
            <a:lvl6pPr marL="2263226" indent="0">
              <a:buNone/>
              <a:defRPr sz="1584" b="1"/>
            </a:lvl6pPr>
            <a:lvl7pPr marL="2715870" indent="0">
              <a:buNone/>
              <a:defRPr sz="1584" b="1"/>
            </a:lvl7pPr>
            <a:lvl8pPr marL="3168516" indent="0">
              <a:buNone/>
              <a:defRPr sz="1584" b="1"/>
            </a:lvl8pPr>
            <a:lvl9pPr marL="3621161" indent="0">
              <a:buNone/>
              <a:defRPr sz="1584" b="1"/>
            </a:lvl9pPr>
          </a:lstStyle>
          <a:p>
            <a:pPr lvl="0"/>
            <a:r>
              <a:rPr lang="es-ES"/>
              <a:t>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9750" y="1872658"/>
            <a:ext cx="5418138" cy="364549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83"/>
            </a:lvl1pPr>
            <a:lvl2pPr>
              <a:defRPr sz="1584"/>
            </a:lvl2pPr>
            <a:lvl3pPr>
              <a:defRPr sz="1388"/>
            </a:lvl3pPr>
            <a:lvl4pPr>
              <a:defRPr sz="1188"/>
            </a:lvl4pPr>
            <a:lvl5pPr>
              <a:defRPr sz="1188"/>
            </a:lvl5pPr>
            <a:lvl6pPr>
              <a:defRPr sz="1188"/>
            </a:lvl6pPr>
            <a:lvl7pPr>
              <a:defRPr sz="1188"/>
            </a:lvl7pPr>
            <a:lvl8pPr>
              <a:defRPr sz="1188"/>
            </a:lvl8pPr>
            <a:lvl9pPr>
              <a:defRPr sz="1188" baseline="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08718" y="1541371"/>
            <a:ext cx="5418135" cy="33239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783" b="1">
                <a:solidFill>
                  <a:schemeClr val="accent1"/>
                </a:solidFill>
              </a:defRPr>
            </a:lvl1pPr>
            <a:lvl2pPr marL="452646" indent="0">
              <a:buNone/>
              <a:defRPr sz="1980" b="1"/>
            </a:lvl2pPr>
            <a:lvl3pPr marL="905290" indent="0">
              <a:buNone/>
              <a:defRPr sz="1783" b="1"/>
            </a:lvl3pPr>
            <a:lvl4pPr marL="1357936" indent="0">
              <a:buNone/>
              <a:defRPr sz="1584" b="1"/>
            </a:lvl4pPr>
            <a:lvl5pPr marL="1810580" indent="0">
              <a:buNone/>
              <a:defRPr sz="1584" b="1"/>
            </a:lvl5pPr>
            <a:lvl6pPr marL="2263226" indent="0">
              <a:buNone/>
              <a:defRPr sz="1584" b="1"/>
            </a:lvl6pPr>
            <a:lvl7pPr marL="2715870" indent="0">
              <a:buNone/>
              <a:defRPr sz="1584" b="1"/>
            </a:lvl7pPr>
            <a:lvl8pPr marL="3168516" indent="0">
              <a:buNone/>
              <a:defRPr sz="1584" b="1"/>
            </a:lvl8pPr>
            <a:lvl9pPr marL="3621161" indent="0">
              <a:buNone/>
              <a:defRPr sz="1584" b="1"/>
            </a:lvl9pPr>
          </a:lstStyle>
          <a:p>
            <a:pPr lvl="0"/>
            <a:r>
              <a:rPr lang="es-ES"/>
              <a:t>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08714" y="1872659"/>
            <a:ext cx="5418136" cy="364549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83"/>
            </a:lvl1pPr>
            <a:lvl2pPr>
              <a:defRPr sz="1584"/>
            </a:lvl2pPr>
            <a:lvl3pPr>
              <a:defRPr sz="1388"/>
            </a:lvl3pPr>
            <a:lvl4pPr>
              <a:defRPr sz="1188"/>
            </a:lvl4pPr>
            <a:lvl5pPr>
              <a:defRPr sz="1188"/>
            </a:lvl5pPr>
            <a:lvl6pPr>
              <a:defRPr sz="1188"/>
            </a:lvl6pPr>
            <a:lvl7pPr>
              <a:defRPr sz="1188"/>
            </a:lvl7pPr>
            <a:lvl8pPr>
              <a:defRPr sz="1188" baseline="0"/>
            </a:lvl8pPr>
            <a:lvl9pPr>
              <a:defRPr sz="1188" baseline="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099427" y="6408009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t>05/10/2025</a:t>
            </a:fld>
            <a:endParaRPr lang="es-E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319588" y="6408009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1385654" y="6408009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t>‹#›</a:t>
            </a:fld>
            <a:endParaRPr lang="es-E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539750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8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7310" indent="0">
              <a:buNone/>
              <a:defRPr/>
            </a:lvl3pPr>
            <a:lvl4pPr marL="534620" indent="0">
              <a:buNone/>
              <a:defRPr/>
            </a:lvl4pPr>
            <a:lvl5pPr marL="801930" indent="0">
              <a:buNone/>
              <a:defRPr/>
            </a:lvl5pPr>
          </a:lstStyle>
          <a:p>
            <a:pPr lvl="0"/>
            <a:r>
              <a:rPr lang="es-ES"/>
              <a:t>Click to add kicker or ‘so what’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388849975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2 Content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4" y="950400"/>
            <a:ext cx="11087100" cy="49859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s-ES"/>
              <a:t>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9750" y="2273872"/>
            <a:ext cx="5418138" cy="33239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783" b="1">
                <a:solidFill>
                  <a:schemeClr val="accent1"/>
                </a:solidFill>
              </a:defRPr>
            </a:lvl1pPr>
            <a:lvl2pPr marL="452646" indent="0">
              <a:buNone/>
              <a:defRPr sz="1980" b="1"/>
            </a:lvl2pPr>
            <a:lvl3pPr marL="905290" indent="0">
              <a:buNone/>
              <a:defRPr sz="1783" b="1"/>
            </a:lvl3pPr>
            <a:lvl4pPr marL="1357936" indent="0">
              <a:buNone/>
              <a:defRPr sz="1584" b="1"/>
            </a:lvl4pPr>
            <a:lvl5pPr marL="1810580" indent="0">
              <a:buNone/>
              <a:defRPr sz="1584" b="1"/>
            </a:lvl5pPr>
            <a:lvl6pPr marL="2263226" indent="0">
              <a:buNone/>
              <a:defRPr sz="1584" b="1"/>
            </a:lvl6pPr>
            <a:lvl7pPr marL="2715870" indent="0">
              <a:buNone/>
              <a:defRPr sz="1584" b="1"/>
            </a:lvl7pPr>
            <a:lvl8pPr marL="3168516" indent="0">
              <a:buNone/>
              <a:defRPr sz="1584" b="1"/>
            </a:lvl8pPr>
            <a:lvl9pPr marL="3621161" indent="0">
              <a:buNone/>
              <a:defRPr sz="1584" b="1"/>
            </a:lvl9pPr>
          </a:lstStyle>
          <a:p>
            <a:pPr lvl="0"/>
            <a:r>
              <a:rPr lang="es-ES"/>
              <a:t>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9750" y="2614745"/>
            <a:ext cx="5418138" cy="290341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83"/>
            </a:lvl1pPr>
            <a:lvl2pPr>
              <a:defRPr sz="1584"/>
            </a:lvl2pPr>
            <a:lvl3pPr>
              <a:defRPr sz="1388"/>
            </a:lvl3pPr>
            <a:lvl4pPr>
              <a:defRPr sz="1188"/>
            </a:lvl4pPr>
            <a:lvl5pPr>
              <a:defRPr sz="1188"/>
            </a:lvl5pPr>
            <a:lvl6pPr>
              <a:defRPr sz="1188"/>
            </a:lvl6pPr>
            <a:lvl7pPr>
              <a:defRPr sz="1188"/>
            </a:lvl7pPr>
            <a:lvl8pPr>
              <a:defRPr sz="1188"/>
            </a:lvl8pPr>
            <a:lvl9pPr>
              <a:defRPr sz="1188" baseline="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08717" y="2282351"/>
            <a:ext cx="5418137" cy="33239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783" b="1">
                <a:solidFill>
                  <a:schemeClr val="accent1"/>
                </a:solidFill>
              </a:defRPr>
            </a:lvl1pPr>
            <a:lvl2pPr marL="452646" indent="0">
              <a:buNone/>
              <a:defRPr sz="1980" b="1"/>
            </a:lvl2pPr>
            <a:lvl3pPr marL="905290" indent="0">
              <a:buNone/>
              <a:defRPr sz="1783" b="1"/>
            </a:lvl3pPr>
            <a:lvl4pPr marL="1357936" indent="0">
              <a:buNone/>
              <a:defRPr sz="1584" b="1"/>
            </a:lvl4pPr>
            <a:lvl5pPr marL="1810580" indent="0">
              <a:buNone/>
              <a:defRPr sz="1584" b="1"/>
            </a:lvl5pPr>
            <a:lvl6pPr marL="2263226" indent="0">
              <a:buNone/>
              <a:defRPr sz="1584" b="1"/>
            </a:lvl6pPr>
            <a:lvl7pPr marL="2715870" indent="0">
              <a:buNone/>
              <a:defRPr sz="1584" b="1"/>
            </a:lvl7pPr>
            <a:lvl8pPr marL="3168516" indent="0">
              <a:buNone/>
              <a:defRPr sz="1584" b="1"/>
            </a:lvl8pPr>
            <a:lvl9pPr marL="3621161" indent="0">
              <a:buNone/>
              <a:defRPr sz="1584" b="1"/>
            </a:lvl9pPr>
          </a:lstStyle>
          <a:p>
            <a:pPr lvl="0"/>
            <a:r>
              <a:rPr lang="es-ES"/>
              <a:t>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08717" y="2614746"/>
            <a:ext cx="5418135" cy="29034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83"/>
            </a:lvl1pPr>
            <a:lvl2pPr>
              <a:defRPr sz="1584"/>
            </a:lvl2pPr>
            <a:lvl3pPr>
              <a:defRPr sz="1388"/>
            </a:lvl3pPr>
            <a:lvl4pPr>
              <a:defRPr sz="1188"/>
            </a:lvl4pPr>
            <a:lvl5pPr>
              <a:defRPr sz="1188"/>
            </a:lvl5pPr>
            <a:lvl6pPr>
              <a:defRPr sz="1188"/>
            </a:lvl6pPr>
            <a:lvl7pPr>
              <a:defRPr sz="1188"/>
            </a:lvl7pPr>
            <a:lvl8pPr>
              <a:defRPr sz="1188" baseline="0"/>
            </a:lvl8pPr>
            <a:lvl9pPr>
              <a:defRPr sz="1188" baseline="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099427" y="6408009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t>05/10/2025</a:t>
            </a:fld>
            <a:endParaRPr lang="es-E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319588" y="6408009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1385654" y="6408009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t>‹#›</a:t>
            </a:fld>
            <a:endParaRPr lang="es-ES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4" y="1477756"/>
            <a:ext cx="11087098" cy="6093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180"/>
            </a:lvl1pPr>
            <a:lvl5pPr>
              <a:defRPr/>
            </a:lvl5pPr>
          </a:lstStyle>
          <a:p>
            <a:pPr lvl="0"/>
            <a:r>
              <a:rPr lang="es-ES"/>
              <a:t>Add subtitle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4" hasCustomPrompt="1"/>
          </p:nvPr>
        </p:nvSpPr>
        <p:spPr bwMode="ltGray">
          <a:xfrm>
            <a:off x="539750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8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7310" indent="0">
              <a:buNone/>
              <a:defRPr/>
            </a:lvl3pPr>
            <a:lvl4pPr marL="534620" indent="0">
              <a:buNone/>
              <a:defRPr/>
            </a:lvl4pPr>
            <a:lvl5pPr marL="801930" indent="0">
              <a:buNone/>
              <a:defRPr/>
            </a:lvl5pPr>
          </a:lstStyle>
          <a:p>
            <a:pPr lvl="0"/>
            <a:r>
              <a:rPr lang="es-ES"/>
              <a:t>Click to add kicker or ‘so what’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391684769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Basic Text, 2 Content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4" y="950400"/>
            <a:ext cx="11087100" cy="49859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s-ES"/>
              <a:t>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9750" y="3142809"/>
            <a:ext cx="5418138" cy="33239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783" b="1">
                <a:solidFill>
                  <a:schemeClr val="accent1"/>
                </a:solidFill>
              </a:defRPr>
            </a:lvl1pPr>
            <a:lvl2pPr marL="452646" indent="0">
              <a:buNone/>
              <a:defRPr sz="1980" b="1"/>
            </a:lvl2pPr>
            <a:lvl3pPr marL="905290" indent="0">
              <a:buNone/>
              <a:defRPr sz="1783" b="1"/>
            </a:lvl3pPr>
            <a:lvl4pPr marL="1357936" indent="0">
              <a:buNone/>
              <a:defRPr sz="1584" b="1"/>
            </a:lvl4pPr>
            <a:lvl5pPr marL="1810580" indent="0">
              <a:buNone/>
              <a:defRPr sz="1584" b="1"/>
            </a:lvl5pPr>
            <a:lvl6pPr marL="2263226" indent="0">
              <a:buNone/>
              <a:defRPr sz="1584" b="1"/>
            </a:lvl6pPr>
            <a:lvl7pPr marL="2715870" indent="0">
              <a:buNone/>
              <a:defRPr sz="1584" b="1"/>
            </a:lvl7pPr>
            <a:lvl8pPr marL="3168516" indent="0">
              <a:buNone/>
              <a:defRPr sz="1584" b="1"/>
            </a:lvl8pPr>
            <a:lvl9pPr marL="3621161" indent="0">
              <a:buNone/>
              <a:defRPr sz="1584" b="1"/>
            </a:lvl9pPr>
          </a:lstStyle>
          <a:p>
            <a:pPr lvl="0"/>
            <a:r>
              <a:rPr lang="es-ES"/>
              <a:t>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9750" y="3475208"/>
            <a:ext cx="5418138" cy="204295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83"/>
            </a:lvl1pPr>
            <a:lvl2pPr>
              <a:defRPr sz="1584"/>
            </a:lvl2pPr>
            <a:lvl3pPr>
              <a:defRPr sz="1388"/>
            </a:lvl3pPr>
            <a:lvl4pPr>
              <a:defRPr sz="1188"/>
            </a:lvl4pPr>
            <a:lvl5pPr>
              <a:defRPr sz="1188"/>
            </a:lvl5pPr>
            <a:lvl6pPr>
              <a:defRPr sz="1188"/>
            </a:lvl6pPr>
            <a:lvl7pPr>
              <a:defRPr sz="1188"/>
            </a:lvl7pPr>
            <a:lvl8pPr>
              <a:defRPr sz="1188"/>
            </a:lvl8pPr>
            <a:lvl9pPr>
              <a:defRPr sz="1188" baseline="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08715" y="3142809"/>
            <a:ext cx="5418134" cy="33239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783" b="1">
                <a:solidFill>
                  <a:schemeClr val="accent1"/>
                </a:solidFill>
              </a:defRPr>
            </a:lvl1pPr>
            <a:lvl2pPr marL="452646" indent="0">
              <a:buNone/>
              <a:defRPr sz="1980" b="1"/>
            </a:lvl2pPr>
            <a:lvl3pPr marL="905290" indent="0">
              <a:buNone/>
              <a:defRPr sz="1783" b="1"/>
            </a:lvl3pPr>
            <a:lvl4pPr marL="1357936" indent="0">
              <a:buNone/>
              <a:defRPr sz="1584" b="1"/>
            </a:lvl4pPr>
            <a:lvl5pPr marL="1810580" indent="0">
              <a:buNone/>
              <a:defRPr sz="1584" b="1"/>
            </a:lvl5pPr>
            <a:lvl6pPr marL="2263226" indent="0">
              <a:buNone/>
              <a:defRPr sz="1584" b="1"/>
            </a:lvl6pPr>
            <a:lvl7pPr marL="2715870" indent="0">
              <a:buNone/>
              <a:defRPr sz="1584" b="1"/>
            </a:lvl7pPr>
            <a:lvl8pPr marL="3168516" indent="0">
              <a:buNone/>
              <a:defRPr sz="1584" b="1"/>
            </a:lvl8pPr>
            <a:lvl9pPr marL="3621161" indent="0">
              <a:buNone/>
              <a:defRPr sz="1584" b="1"/>
            </a:lvl9pPr>
          </a:lstStyle>
          <a:p>
            <a:pPr lvl="0"/>
            <a:r>
              <a:rPr lang="es-ES"/>
              <a:t>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08714" y="3475208"/>
            <a:ext cx="5418136" cy="20429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83"/>
            </a:lvl1pPr>
            <a:lvl2pPr>
              <a:defRPr sz="1584"/>
            </a:lvl2pPr>
            <a:lvl3pPr>
              <a:defRPr sz="1388"/>
            </a:lvl3pPr>
            <a:lvl4pPr>
              <a:defRPr sz="1188"/>
            </a:lvl4pPr>
            <a:lvl5pPr>
              <a:defRPr sz="1188"/>
            </a:lvl5pPr>
            <a:lvl6pPr>
              <a:defRPr sz="1188"/>
            </a:lvl6pPr>
            <a:lvl7pPr>
              <a:defRPr sz="1188"/>
            </a:lvl7pPr>
            <a:lvl8pPr>
              <a:defRPr sz="1188" baseline="0"/>
            </a:lvl8pPr>
            <a:lvl9pPr>
              <a:defRPr sz="1188" baseline="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099427" y="6408009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t>05/10/2025</a:t>
            </a:fld>
            <a:endParaRPr lang="es-E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319588" y="6408009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1385654" y="6408009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t>‹#›</a:t>
            </a:fld>
            <a:endParaRPr lang="es-ES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1477756"/>
            <a:ext cx="11087099" cy="6093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180"/>
            </a:lvl1pPr>
            <a:lvl5pPr>
              <a:defRPr/>
            </a:lvl5pPr>
          </a:lstStyle>
          <a:p>
            <a:pPr lvl="0"/>
            <a:r>
              <a:rPr lang="es-ES"/>
              <a:t>Add subtitle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4" hasCustomPrompt="1"/>
          </p:nvPr>
        </p:nvSpPr>
        <p:spPr bwMode="ltGray">
          <a:xfrm>
            <a:off x="539750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8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7310" indent="0">
              <a:buNone/>
              <a:defRPr/>
            </a:lvl3pPr>
            <a:lvl4pPr marL="534620" indent="0">
              <a:buNone/>
              <a:defRPr/>
            </a:lvl4pPr>
            <a:lvl5pPr marL="801930" indent="0">
              <a:buNone/>
              <a:defRPr/>
            </a:lvl5pPr>
          </a:lstStyle>
          <a:p>
            <a:pPr lvl="0"/>
            <a:r>
              <a:rPr lang="es-ES"/>
              <a:t>Click to add kicker or ‘so what’. Delete if not required.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539755" y="2358000"/>
            <a:ext cx="11087098" cy="72943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/>
            </a:lvl1pPr>
            <a:lvl2pPr marL="0" indent="0">
              <a:buNone/>
              <a:defRPr/>
            </a:lvl2pPr>
            <a:lvl3pPr marL="267310" indent="0">
              <a:buNone/>
              <a:defRPr/>
            </a:lvl3pPr>
            <a:lvl4pPr marL="534620" indent="0">
              <a:buNone/>
              <a:defRPr/>
            </a:lvl4pPr>
            <a:lvl5pPr marL="801930" indent="0">
              <a:buNone/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24443514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4" y="950400"/>
            <a:ext cx="11087100" cy="498598"/>
          </a:xfrm>
          <a:prstGeom prst="rect">
            <a:avLst/>
          </a:prstGeom>
        </p:spPr>
        <p:txBody>
          <a:bodyPr/>
          <a:lstStyle/>
          <a:p>
            <a:r>
              <a:rPr lang="es-ES"/>
              <a:t>Add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099427" y="6408009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t>05/10/2025</a:t>
            </a:fld>
            <a:endParaRPr lang="es-E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319588" y="6408009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385654" y="6408009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t>‹#›</a:t>
            </a:fld>
            <a:endParaRPr lang="es-ES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539750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8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7310" indent="0">
              <a:buNone/>
              <a:defRPr/>
            </a:lvl3pPr>
            <a:lvl4pPr marL="534620" indent="0">
              <a:buNone/>
              <a:defRPr/>
            </a:lvl4pPr>
            <a:lvl5pPr marL="801930" indent="0">
              <a:buNone/>
              <a:defRPr/>
            </a:lvl5pPr>
          </a:lstStyle>
          <a:p>
            <a:pPr lvl="0"/>
            <a:r>
              <a:rPr lang="es-ES"/>
              <a:t>Click to add kicker or ‘so what’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71162998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preserve="1" userDrawn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099427" y="6408009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t>05/10/2025</a:t>
            </a:fld>
            <a:endParaRPr lang="es-E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319588" y="6408009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385654" y="6408009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t>‹#›</a:t>
            </a:fld>
            <a:endParaRPr lang="es-ES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539750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8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7310" indent="0">
              <a:buNone/>
              <a:defRPr/>
            </a:lvl3pPr>
            <a:lvl4pPr marL="534620" indent="0">
              <a:buNone/>
              <a:defRPr/>
            </a:lvl4pPr>
            <a:lvl5pPr marL="801930" indent="0">
              <a:buNone/>
              <a:defRPr/>
            </a:lvl5pPr>
          </a:lstStyle>
          <a:p>
            <a:pPr lvl="0"/>
            <a:r>
              <a:rPr lang="es-ES"/>
              <a:t>Click to add kicker or ‘so what’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39776699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olor Background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BAA1C7B-1C87-44D3-8151-544370BB9AC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BB8F1E5-E1BD-487E-AF6B-1417C555CE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67800" y="6446837"/>
            <a:ext cx="17145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8D8C3"/>
                </a:solidFill>
              </a:defRPr>
            </a:lvl1pPr>
          </a:lstStyle>
          <a:p>
            <a:fld id="{A0BEE50B-DF5F-4EE0-B2E4-70A3C4CF1C51}" type="datetime3">
              <a:rPr lang="en-US" smtClean="0"/>
              <a:t>5 October 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E88D42-25B6-4AF8-881D-F451A8C63D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446837"/>
            <a:ext cx="1676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8D8C3"/>
                </a:solidFill>
              </a:defRPr>
            </a:lvl1pPr>
          </a:lstStyle>
          <a:p>
            <a:r>
              <a:rPr lang="en-US"/>
              <a:t>© Arcadis 20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F66F31F-D07E-4084-BF08-3D17AFC7C5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0900" y="6446837"/>
            <a:ext cx="7239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FE63AA4-120D-435A-A130-F49443AF7CB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455EFD41-CA14-4D91-9151-AEAAE55C5A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145598"/>
            <a:ext cx="4800600" cy="182620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741690DB-3471-4FEF-A4B0-BB9B766AF6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3657600"/>
            <a:ext cx="5524500" cy="18288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defRPr sz="21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23A1976C-1DAD-4BD7-9A17-AC5487B6D09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210300" y="457201"/>
            <a:ext cx="5524500" cy="59436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/>
              <a:t>Click on the icon  to insert an image</a:t>
            </a:r>
          </a:p>
        </p:txBody>
      </p:sp>
    </p:spTree>
    <p:extLst>
      <p:ext uri="{BB962C8B-B14F-4D97-AF65-F5344CB8AC3E}">
        <p14:creationId xmlns:p14="http://schemas.microsoft.com/office/powerpoint/2010/main" val="300469130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Narrow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11067" y="1006484"/>
            <a:ext cx="3515782" cy="45116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83"/>
            </a:lvl1pPr>
            <a:lvl2pPr>
              <a:defRPr sz="1584" baseline="0"/>
            </a:lvl2pPr>
            <a:lvl3pPr>
              <a:defRPr sz="1388"/>
            </a:lvl3pPr>
            <a:lvl4pPr>
              <a:defRPr sz="1188"/>
            </a:lvl4pPr>
            <a:lvl5pPr>
              <a:defRPr sz="1188"/>
            </a:lvl5pPr>
            <a:lvl6pPr>
              <a:defRPr sz="1188"/>
            </a:lvl6pPr>
            <a:lvl7pPr>
              <a:defRPr sz="1188"/>
            </a:lvl7pPr>
            <a:lvl8pPr>
              <a:defRPr sz="1188"/>
            </a:lvl8pPr>
            <a:lvl9pPr>
              <a:defRPr sz="1188" baseline="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099427" y="6408009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t>05/10/2025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319588" y="6408009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385654" y="6408009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t>‹#›</a:t>
            </a:fld>
            <a:endParaRPr lang="es-ES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39754" y="950208"/>
            <a:ext cx="7307261" cy="49859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s-ES"/>
              <a:t>Add tit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539753" y="2358001"/>
            <a:ext cx="7307263" cy="316014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3" y="1477756"/>
            <a:ext cx="7307263" cy="6093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180"/>
            </a:lvl1pPr>
            <a:lvl5pPr>
              <a:defRPr/>
            </a:lvl5pPr>
          </a:lstStyle>
          <a:p>
            <a:pPr lvl="0"/>
            <a:r>
              <a:rPr lang="es-ES"/>
              <a:t>Add subtitle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5" hasCustomPrompt="1"/>
          </p:nvPr>
        </p:nvSpPr>
        <p:spPr bwMode="ltGray">
          <a:xfrm>
            <a:off x="539750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8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7310" indent="0">
              <a:buNone/>
              <a:defRPr/>
            </a:lvl3pPr>
            <a:lvl4pPr marL="534620" indent="0">
              <a:buNone/>
              <a:defRPr/>
            </a:lvl4pPr>
            <a:lvl5pPr marL="801930" indent="0">
              <a:buNone/>
              <a:defRPr/>
            </a:lvl5pPr>
          </a:lstStyle>
          <a:p>
            <a:pPr lvl="0"/>
            <a:r>
              <a:rPr lang="es-ES"/>
              <a:t>Click to add kicker or ‘so what’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46617873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099427" y="6408009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t>05/10/2025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319588" y="6408009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385654" y="6408009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t>‹#›</a:t>
            </a:fld>
            <a:endParaRPr lang="es-ES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39754" y="950208"/>
            <a:ext cx="7307261" cy="49859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s-ES"/>
              <a:t>Add tit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539753" y="2358001"/>
            <a:ext cx="7307263" cy="31601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grpSp>
        <p:nvGrpSpPr>
          <p:cNvPr id="2" name="Group 1"/>
          <p:cNvGrpSpPr/>
          <p:nvPr userDrawn="1"/>
        </p:nvGrpSpPr>
        <p:grpSpPr bwMode="ltGray">
          <a:xfrm>
            <a:off x="8111067" y="2102136"/>
            <a:ext cx="3515782" cy="360000"/>
            <a:chOff x="6083300" y="2351692"/>
            <a:chExt cx="2520000" cy="360000"/>
          </a:xfrm>
        </p:grpSpPr>
        <p:sp>
          <p:nvSpPr>
            <p:cNvPr id="11" name="Snip Single Corner Rectangle 10"/>
            <p:cNvSpPr/>
            <p:nvPr userDrawn="1"/>
          </p:nvSpPr>
          <p:spPr bwMode="ltGray">
            <a:xfrm flipH="1">
              <a:off x="6083300" y="2351692"/>
              <a:ext cx="2520000" cy="360000"/>
            </a:xfrm>
            <a:prstGeom prst="snip1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83"/>
            </a:p>
          </p:txBody>
        </p:sp>
        <p:sp>
          <p:nvSpPr>
            <p:cNvPr id="12" name="Right Triangle 11"/>
            <p:cNvSpPr/>
            <p:nvPr userDrawn="1"/>
          </p:nvSpPr>
          <p:spPr bwMode="ltGray">
            <a:xfrm flipH="1">
              <a:off x="6083300" y="2351692"/>
              <a:ext cx="129018" cy="180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783"/>
            </a:p>
          </p:txBody>
        </p:sp>
      </p:grp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 bwMode="ltGray">
          <a:xfrm>
            <a:off x="8111067" y="2360303"/>
            <a:ext cx="3515782" cy="1815470"/>
          </a:xfrm>
          <a:prstGeom prst="rect">
            <a:avLst/>
          </a:prstGeom>
          <a:solidFill>
            <a:schemeClr val="accent1"/>
          </a:solidFill>
        </p:spPr>
        <p:txBody>
          <a:bodyPr wrap="square" lIns="216000" rIns="216000" bIns="216000">
            <a:spAutoFit/>
          </a:bodyPr>
          <a:lstStyle>
            <a:lvl1pPr>
              <a:buNone/>
              <a:defRPr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7310" indent="0">
              <a:buNone/>
              <a:defRPr/>
            </a:lvl3pPr>
            <a:lvl4pPr marL="534620" indent="0">
              <a:buNone/>
              <a:defRPr/>
            </a:lvl4pPr>
            <a:lvl5pPr marL="801930" indent="0">
              <a:buNone/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1477756"/>
            <a:ext cx="7307262" cy="6093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180"/>
            </a:lvl1pPr>
            <a:lvl5pPr>
              <a:defRPr/>
            </a:lvl5pPr>
          </a:lstStyle>
          <a:p>
            <a:pPr lvl="0"/>
            <a:r>
              <a:rPr lang="es-ES"/>
              <a:t>Add subtit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6" hasCustomPrompt="1"/>
          </p:nvPr>
        </p:nvSpPr>
        <p:spPr bwMode="ltGray">
          <a:xfrm>
            <a:off x="539750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8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7310" indent="0">
              <a:buNone/>
              <a:defRPr/>
            </a:lvl3pPr>
            <a:lvl4pPr marL="534620" indent="0">
              <a:buNone/>
              <a:defRPr/>
            </a:lvl4pPr>
            <a:lvl5pPr marL="801930" indent="0">
              <a:buNone/>
              <a:defRPr/>
            </a:lvl5pPr>
          </a:lstStyle>
          <a:p>
            <a:pPr lvl="0"/>
            <a:r>
              <a:rPr lang="es-ES"/>
              <a:t>Click to add kicker or ‘so what’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130684710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9592" y="1006484"/>
            <a:ext cx="7307261" cy="45116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83"/>
            </a:lvl1pPr>
            <a:lvl2pPr>
              <a:defRPr sz="1783" baseline="0"/>
            </a:lvl2pPr>
            <a:lvl3pPr>
              <a:defRPr sz="1388"/>
            </a:lvl3pPr>
            <a:lvl4pPr>
              <a:defRPr sz="1188"/>
            </a:lvl4pPr>
            <a:lvl5pPr>
              <a:defRPr sz="1188"/>
            </a:lvl5pPr>
            <a:lvl6pPr>
              <a:defRPr sz="1188"/>
            </a:lvl6pPr>
            <a:lvl7pPr>
              <a:defRPr sz="1188"/>
            </a:lvl7pPr>
            <a:lvl8pPr>
              <a:defRPr sz="1188"/>
            </a:lvl8pPr>
            <a:lvl9pPr>
              <a:defRPr sz="1188" baseline="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099427" y="6408009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t>05/10/2025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319588" y="6408009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385654" y="6408009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t>‹#›</a:t>
            </a:fld>
            <a:endParaRPr lang="es-ES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39755" y="950208"/>
            <a:ext cx="3527424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s-ES"/>
              <a:t>Add tit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539750" y="2868998"/>
            <a:ext cx="3527425" cy="264915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1988296"/>
            <a:ext cx="3527425" cy="6093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180"/>
            </a:lvl1pPr>
            <a:lvl5pPr>
              <a:defRPr/>
            </a:lvl5pPr>
          </a:lstStyle>
          <a:p>
            <a:pPr lvl="0"/>
            <a:r>
              <a:rPr lang="es-ES"/>
              <a:t>Add subtitle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5" hasCustomPrompt="1"/>
          </p:nvPr>
        </p:nvSpPr>
        <p:spPr bwMode="ltGray">
          <a:xfrm>
            <a:off x="539750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8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7310" indent="0">
              <a:buNone/>
              <a:defRPr/>
            </a:lvl3pPr>
            <a:lvl4pPr marL="534620" indent="0">
              <a:buNone/>
              <a:defRPr/>
            </a:lvl4pPr>
            <a:lvl5pPr marL="801930" indent="0">
              <a:buNone/>
              <a:defRPr/>
            </a:lvl5pPr>
          </a:lstStyle>
          <a:p>
            <a:pPr lvl="0"/>
            <a:r>
              <a:rPr lang="es-ES"/>
              <a:t>Click to add kicker or ‘so what’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82986029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755" y="3142801"/>
            <a:ext cx="3527424" cy="23753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83"/>
            </a:lvl1pPr>
            <a:lvl2pPr>
              <a:defRPr sz="1584" baseline="0"/>
            </a:lvl2pPr>
            <a:lvl3pPr>
              <a:defRPr sz="1388"/>
            </a:lvl3pPr>
            <a:lvl4pPr>
              <a:defRPr sz="1188"/>
            </a:lvl4pPr>
            <a:lvl5pPr>
              <a:defRPr sz="1188"/>
            </a:lvl5pPr>
            <a:lvl6pPr>
              <a:defRPr sz="1188"/>
            </a:lvl6pPr>
            <a:lvl7pPr>
              <a:defRPr sz="1188"/>
            </a:lvl7pPr>
            <a:lvl8pPr>
              <a:defRPr sz="1188"/>
            </a:lvl8pPr>
            <a:lvl9pPr>
              <a:defRPr sz="1188" baseline="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099427" y="6408009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t>05/10/2025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319588" y="6408009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385654" y="6408009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t>‹#›</a:t>
            </a:fld>
            <a:endParaRPr lang="es-ES"/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539755" y="2358000"/>
            <a:ext cx="11087098" cy="72943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/>
            </a:lvl1pPr>
            <a:lvl2pPr marL="0" indent="0">
              <a:buNone/>
              <a:defRPr/>
            </a:lvl2pPr>
            <a:lvl3pPr marL="267310" indent="0">
              <a:buNone/>
              <a:defRPr/>
            </a:lvl3pPr>
            <a:lvl4pPr marL="534620" indent="0">
              <a:buNone/>
              <a:defRPr/>
            </a:lvl4pPr>
            <a:lvl5pPr marL="801930" indent="0">
              <a:buNone/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319593" y="3142801"/>
            <a:ext cx="3527424" cy="23753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83"/>
            </a:lvl1pPr>
            <a:lvl2pPr>
              <a:defRPr sz="1584" baseline="0"/>
            </a:lvl2pPr>
            <a:lvl3pPr>
              <a:defRPr sz="1388"/>
            </a:lvl3pPr>
            <a:lvl4pPr>
              <a:defRPr sz="1188"/>
            </a:lvl4pPr>
            <a:lvl5pPr>
              <a:defRPr sz="1188"/>
            </a:lvl5pPr>
            <a:lvl6pPr>
              <a:defRPr sz="1188"/>
            </a:lvl6pPr>
            <a:lvl7pPr>
              <a:defRPr sz="1188"/>
            </a:lvl7pPr>
            <a:lvl8pPr>
              <a:defRPr sz="1188"/>
            </a:lvl8pPr>
            <a:lvl9pPr>
              <a:defRPr sz="1188" baseline="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6"/>
          </p:nvPr>
        </p:nvSpPr>
        <p:spPr>
          <a:xfrm>
            <a:off x="8099429" y="3142801"/>
            <a:ext cx="3527424" cy="23753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83"/>
            </a:lvl1pPr>
            <a:lvl2pPr>
              <a:defRPr sz="1584" baseline="0"/>
            </a:lvl2pPr>
            <a:lvl3pPr>
              <a:defRPr sz="1388"/>
            </a:lvl3pPr>
            <a:lvl4pPr>
              <a:defRPr sz="1188"/>
            </a:lvl4pPr>
            <a:lvl5pPr>
              <a:defRPr sz="1188"/>
            </a:lvl5pPr>
            <a:lvl6pPr>
              <a:defRPr sz="1188"/>
            </a:lvl6pPr>
            <a:lvl7pPr>
              <a:defRPr sz="1188"/>
            </a:lvl7pPr>
            <a:lvl8pPr>
              <a:defRPr sz="1188"/>
            </a:lvl8pPr>
            <a:lvl9pPr>
              <a:defRPr sz="1188" baseline="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1477756"/>
            <a:ext cx="11087099" cy="6093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180"/>
            </a:lvl1pPr>
            <a:lvl5pPr>
              <a:defRPr/>
            </a:lvl5pPr>
          </a:lstStyle>
          <a:p>
            <a:pPr lvl="0"/>
            <a:r>
              <a:rPr lang="es-ES"/>
              <a:t>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4" y="950400"/>
            <a:ext cx="11087100" cy="498598"/>
          </a:xfrm>
          <a:prstGeom prst="rect">
            <a:avLst/>
          </a:prstGeom>
        </p:spPr>
        <p:txBody>
          <a:bodyPr/>
          <a:lstStyle/>
          <a:p>
            <a:r>
              <a:rPr lang="es-ES"/>
              <a:t>Add title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7" hasCustomPrompt="1"/>
          </p:nvPr>
        </p:nvSpPr>
        <p:spPr bwMode="ltGray">
          <a:xfrm>
            <a:off x="539750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8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7310" indent="0">
              <a:buNone/>
              <a:defRPr/>
            </a:lvl3pPr>
            <a:lvl4pPr marL="534620" indent="0">
              <a:buNone/>
              <a:defRPr/>
            </a:lvl4pPr>
            <a:lvl5pPr marL="801930" indent="0">
              <a:buNone/>
              <a:defRPr/>
            </a:lvl5pPr>
          </a:lstStyle>
          <a:p>
            <a:pPr lvl="0"/>
            <a:r>
              <a:rPr lang="es-ES"/>
              <a:t>Click to add kicker or ‘so what’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260663966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099427" y="6408009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pPr/>
              <a:t>05/10/2025</a:t>
            </a:fld>
            <a:endParaRPr lang="es-E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319588" y="6408009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385654" y="6602372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6" name="dc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673229" y="1477756"/>
            <a:ext cx="9953625" cy="609398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180" cap="all" baseline="0">
                <a:solidFill>
                  <a:schemeClr val="accent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/>
              <a:t>%DT:TITLE%</a:t>
            </a:r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1673229" y="2358000"/>
            <a:ext cx="900000" cy="936000"/>
          </a:xfrm>
          <a:prstGeom prst="rect">
            <a:avLst/>
          </a:prstGeom>
        </p:spPr>
        <p:txBody>
          <a:bodyPr anchor="ctr" anchorCtr="0"/>
          <a:lstStyle>
            <a:lvl1pPr algn="ctr">
              <a:buNone/>
              <a:defRPr sz="992"/>
            </a:lvl1pPr>
          </a:lstStyle>
          <a:p>
            <a:r>
              <a:rPr lang="es-ES"/>
              <a:t> 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1673229" y="3670200"/>
            <a:ext cx="900000" cy="9360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ctr">
              <a:buNone/>
              <a:defRPr sz="992"/>
            </a:lvl1pPr>
          </a:lstStyle>
          <a:p>
            <a:r>
              <a:rPr lang="es-ES"/>
              <a:t> </a:t>
            </a:r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9" hasCustomPrompt="1"/>
          </p:nvPr>
        </p:nvSpPr>
        <p:spPr>
          <a:xfrm>
            <a:off x="1673229" y="4982400"/>
            <a:ext cx="900000" cy="9360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ctr">
              <a:buNone/>
              <a:defRPr sz="992" baseline="0"/>
            </a:lvl1pPr>
          </a:lstStyle>
          <a:p>
            <a:r>
              <a:rPr lang="es-ES"/>
              <a:t> 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20" hasCustomPrompt="1"/>
          </p:nvPr>
        </p:nvSpPr>
        <p:spPr>
          <a:xfrm>
            <a:off x="2772003" y="2358008"/>
            <a:ext cx="8854851" cy="166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188" b="1" i="0" cap="all" baseline="0"/>
            </a:lvl1pPr>
            <a:lvl2pPr marL="0" indent="0">
              <a:buNone/>
              <a:defRPr/>
            </a:lvl2pPr>
          </a:lstStyle>
          <a:p>
            <a:pPr lvl="0"/>
            <a:r>
              <a:rPr lang="es-ES"/>
              <a:t>Firstname surname</a:t>
            </a:r>
          </a:p>
        </p:txBody>
      </p:sp>
      <p:sp>
        <p:nvSpPr>
          <p:cNvPr id="11" name="Text Placeholder 18"/>
          <p:cNvSpPr>
            <a:spLocks noGrp="1"/>
          </p:cNvSpPr>
          <p:nvPr>
            <p:ph type="body" sz="quarter" idx="21" hasCustomPrompt="1"/>
          </p:nvPr>
        </p:nvSpPr>
        <p:spPr>
          <a:xfrm>
            <a:off x="2772001" y="2559601"/>
            <a:ext cx="1295174" cy="73337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buNone/>
              <a:defRPr sz="992" b="0" i="0" cap="none" baseline="0"/>
            </a:lvl1pPr>
            <a:lvl2pPr marL="0" indent="0">
              <a:buNone/>
              <a:defRPr/>
            </a:lvl2pPr>
          </a:lstStyle>
          <a:p>
            <a:pPr lvl="0"/>
            <a:r>
              <a:rPr lang="es-ES"/>
              <a:t>Role</a:t>
            </a:r>
          </a:p>
        </p:txBody>
      </p:sp>
      <p:sp>
        <p:nvSpPr>
          <p:cNvPr id="14" name="dcContact1"/>
          <p:cNvSpPr>
            <a:spLocks noGrp="1"/>
          </p:cNvSpPr>
          <p:nvPr>
            <p:ph type="body" sz="quarter" idx="22" hasCustomPrompt="1"/>
          </p:nvPr>
        </p:nvSpPr>
        <p:spPr>
          <a:xfrm>
            <a:off x="4319588" y="2610000"/>
            <a:ext cx="3527425" cy="7128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marR="0" indent="0" algn="l" defTabSz="9052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78206" algn="l"/>
              </a:tabLst>
              <a:defRPr sz="892" b="0" i="0" cap="none" baseline="0"/>
            </a:lvl1pPr>
            <a:lvl2pPr marL="0" indent="0">
              <a:buNone/>
              <a:defRPr/>
            </a:lvl2pPr>
          </a:lstStyle>
          <a:p>
            <a:pPr lvl="0"/>
            <a:r>
              <a:rPr lang="es-ES"/>
              <a:t>%DT[5]:T%	+xx (0)xx xxxx xxxx</a:t>
            </a:r>
          </a:p>
          <a:p>
            <a:pPr lvl="0"/>
            <a:r>
              <a:rPr lang="es-ES"/>
              <a:t>%DT[5]:M%	+xx (0)xx xxxx xxxx</a:t>
            </a:r>
          </a:p>
          <a:p>
            <a:pPr lvl="0"/>
            <a:r>
              <a:rPr lang="es-ES"/>
              <a:t>%DT[5]:E%	firstname.lastname@arcadis.com</a:t>
            </a:r>
          </a:p>
        </p:txBody>
      </p:sp>
      <p:sp>
        <p:nvSpPr>
          <p:cNvPr id="15" name="dcLocation1"/>
          <p:cNvSpPr>
            <a:spLocks noGrp="1"/>
          </p:cNvSpPr>
          <p:nvPr>
            <p:ph type="body" sz="quarter" idx="23" hasCustomPrompt="1"/>
          </p:nvPr>
        </p:nvSpPr>
        <p:spPr>
          <a:xfrm>
            <a:off x="8099430" y="2610000"/>
            <a:ext cx="3513473" cy="7128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marR="0" indent="0" algn="l" defTabSz="9052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78206" algn="l"/>
              </a:tabLst>
              <a:defRPr sz="892" b="0" i="0" cap="none" baseline="0"/>
            </a:lvl1pPr>
            <a:lvl2pPr marL="0" indent="0">
              <a:buNone/>
              <a:defRPr/>
            </a:lvl2pPr>
          </a:lstStyle>
          <a:p>
            <a:pPr lvl="0"/>
            <a:r>
              <a:rPr lang="es-ES"/>
              <a:t>%DT[5]:Arcadis%</a:t>
            </a:r>
          </a:p>
          <a:p>
            <a:pPr lvl="0"/>
            <a:r>
              <a:rPr lang="es-ES"/>
              <a:t>Address Line 1</a:t>
            </a:r>
          </a:p>
          <a:p>
            <a:pPr lvl="0"/>
            <a:r>
              <a:rPr lang="es-ES"/>
              <a:t>Address Line 2</a:t>
            </a:r>
          </a:p>
          <a:p>
            <a:pPr lvl="0"/>
            <a:r>
              <a:rPr lang="es-ES"/>
              <a:t>Address Line 3</a:t>
            </a:r>
          </a:p>
        </p:txBody>
      </p:sp>
      <p:sp>
        <p:nvSpPr>
          <p:cNvPr id="16" name="Text Placeholder 18"/>
          <p:cNvSpPr>
            <a:spLocks noGrp="1"/>
          </p:cNvSpPr>
          <p:nvPr>
            <p:ph type="body" sz="quarter" idx="24" hasCustomPrompt="1"/>
          </p:nvPr>
        </p:nvSpPr>
        <p:spPr>
          <a:xfrm>
            <a:off x="2772003" y="3650404"/>
            <a:ext cx="8854851" cy="166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188" b="1" i="0" cap="all" baseline="0"/>
            </a:lvl1pPr>
            <a:lvl2pPr marL="0" indent="0">
              <a:buNone/>
              <a:defRPr/>
            </a:lvl2pPr>
          </a:lstStyle>
          <a:p>
            <a:pPr lvl="0"/>
            <a:r>
              <a:rPr lang="es-ES"/>
              <a:t>Firstname surname</a:t>
            </a:r>
          </a:p>
        </p:txBody>
      </p:sp>
      <p:sp>
        <p:nvSpPr>
          <p:cNvPr id="17" name="Text Placeholder 18"/>
          <p:cNvSpPr>
            <a:spLocks noGrp="1"/>
          </p:cNvSpPr>
          <p:nvPr>
            <p:ph type="body" sz="quarter" idx="25" hasCustomPrompt="1"/>
          </p:nvPr>
        </p:nvSpPr>
        <p:spPr>
          <a:xfrm>
            <a:off x="2772001" y="3852001"/>
            <a:ext cx="1295174" cy="75225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buNone/>
              <a:defRPr sz="992" b="0" i="0" cap="none" baseline="0"/>
            </a:lvl1pPr>
            <a:lvl2pPr marL="0" indent="0">
              <a:buNone/>
              <a:defRPr/>
            </a:lvl2pPr>
          </a:lstStyle>
          <a:p>
            <a:pPr lvl="0"/>
            <a:r>
              <a:rPr lang="es-ES"/>
              <a:t>Role</a:t>
            </a:r>
          </a:p>
        </p:txBody>
      </p:sp>
      <p:sp>
        <p:nvSpPr>
          <p:cNvPr id="18" name="dcContact1"/>
          <p:cNvSpPr>
            <a:spLocks noGrp="1"/>
          </p:cNvSpPr>
          <p:nvPr>
            <p:ph type="body" sz="quarter" idx="26" hasCustomPrompt="1"/>
          </p:nvPr>
        </p:nvSpPr>
        <p:spPr>
          <a:xfrm>
            <a:off x="4319588" y="3919067"/>
            <a:ext cx="3527425" cy="7128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marR="0" indent="0" algn="l" defTabSz="9052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78206" algn="l"/>
              </a:tabLst>
              <a:defRPr sz="892" b="0" i="0" cap="none" baseline="0"/>
            </a:lvl1pPr>
            <a:lvl2pPr marL="0" indent="0">
              <a:buNone/>
              <a:defRPr/>
            </a:lvl2pPr>
          </a:lstStyle>
          <a:p>
            <a:pPr lvl="0"/>
            <a:r>
              <a:rPr lang="es-ES"/>
              <a:t>%DT[5]:T%	+xx (0)xx xxxx xxxx</a:t>
            </a:r>
          </a:p>
          <a:p>
            <a:pPr lvl="0"/>
            <a:r>
              <a:rPr lang="es-ES"/>
              <a:t>%DT[5]:M%	+xx (0)xx xxxx xxxx</a:t>
            </a:r>
          </a:p>
          <a:p>
            <a:pPr lvl="0"/>
            <a:r>
              <a:rPr lang="es-ES"/>
              <a:t>%DT[5]:E%	firstname.lastname@arcadis.com</a:t>
            </a:r>
          </a:p>
        </p:txBody>
      </p:sp>
      <p:sp>
        <p:nvSpPr>
          <p:cNvPr id="19" name="dcLocation1"/>
          <p:cNvSpPr>
            <a:spLocks noGrp="1"/>
          </p:cNvSpPr>
          <p:nvPr>
            <p:ph type="body" sz="quarter" idx="27" hasCustomPrompt="1"/>
          </p:nvPr>
        </p:nvSpPr>
        <p:spPr>
          <a:xfrm>
            <a:off x="8099430" y="3920400"/>
            <a:ext cx="3513473" cy="7128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marR="0" indent="0" algn="l" defTabSz="9052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78206" algn="l"/>
              </a:tabLst>
              <a:defRPr sz="892" b="0" i="0" cap="none" baseline="0"/>
            </a:lvl1pPr>
            <a:lvl2pPr marL="0" indent="0">
              <a:buNone/>
              <a:defRPr/>
            </a:lvl2pPr>
          </a:lstStyle>
          <a:p>
            <a:pPr lvl="0"/>
            <a:r>
              <a:rPr lang="es-ES"/>
              <a:t>%DT[5]:Arcadis%</a:t>
            </a:r>
          </a:p>
          <a:p>
            <a:pPr lvl="0"/>
            <a:r>
              <a:rPr lang="es-ES"/>
              <a:t>Address Line 1</a:t>
            </a:r>
          </a:p>
          <a:p>
            <a:pPr lvl="0"/>
            <a:r>
              <a:rPr lang="es-ES"/>
              <a:t>Address Line 2</a:t>
            </a:r>
          </a:p>
          <a:p>
            <a:pPr lvl="0"/>
            <a:r>
              <a:rPr lang="es-ES"/>
              <a:t>Address Line 3</a:t>
            </a:r>
          </a:p>
        </p:txBody>
      </p:sp>
      <p:sp>
        <p:nvSpPr>
          <p:cNvPr id="20" name="Text Placeholder 18"/>
          <p:cNvSpPr>
            <a:spLocks noGrp="1"/>
          </p:cNvSpPr>
          <p:nvPr>
            <p:ph type="body" sz="quarter" idx="28" hasCustomPrompt="1"/>
          </p:nvPr>
        </p:nvSpPr>
        <p:spPr>
          <a:xfrm>
            <a:off x="2772003" y="4964408"/>
            <a:ext cx="8854851" cy="166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188" b="1" i="0" cap="all" baseline="0"/>
            </a:lvl1pPr>
            <a:lvl2pPr marL="0" indent="0">
              <a:buNone/>
              <a:defRPr/>
            </a:lvl2pPr>
          </a:lstStyle>
          <a:p>
            <a:pPr lvl="0"/>
            <a:r>
              <a:rPr lang="es-ES"/>
              <a:t>Firstname surname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29" hasCustomPrompt="1"/>
          </p:nvPr>
        </p:nvSpPr>
        <p:spPr>
          <a:xfrm>
            <a:off x="2772001" y="5166001"/>
            <a:ext cx="1295174" cy="75111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buNone/>
              <a:defRPr sz="992" b="0" i="0" cap="none" baseline="0"/>
            </a:lvl1pPr>
            <a:lvl2pPr marL="0" indent="0">
              <a:buNone/>
              <a:defRPr/>
            </a:lvl2pPr>
          </a:lstStyle>
          <a:p>
            <a:pPr lvl="0"/>
            <a:r>
              <a:rPr lang="es-ES"/>
              <a:t>Role</a:t>
            </a:r>
          </a:p>
        </p:txBody>
      </p:sp>
      <p:sp>
        <p:nvSpPr>
          <p:cNvPr id="22" name="dcContact1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8" y="5230686"/>
            <a:ext cx="3527425" cy="7128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marR="0" indent="0" algn="l" defTabSz="9052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78206" algn="l"/>
              </a:tabLst>
              <a:defRPr sz="892" b="0" i="0" cap="none" baseline="0"/>
            </a:lvl1pPr>
            <a:lvl2pPr marL="0" indent="0">
              <a:buNone/>
              <a:defRPr/>
            </a:lvl2pPr>
          </a:lstStyle>
          <a:p>
            <a:pPr lvl="0"/>
            <a:r>
              <a:rPr lang="es-ES"/>
              <a:t>%DT[5]:T%	+xx (0)xx xxxx xxxx</a:t>
            </a:r>
          </a:p>
          <a:p>
            <a:pPr lvl="0"/>
            <a:r>
              <a:rPr lang="es-ES"/>
              <a:t>%DT[5]:M%	+xx (0)xx xxxx xxxx</a:t>
            </a:r>
          </a:p>
          <a:p>
            <a:pPr lvl="0"/>
            <a:r>
              <a:rPr lang="es-ES"/>
              <a:t>%DT[5]:E%	firstname.lastname@arcadis.com</a:t>
            </a:r>
          </a:p>
        </p:txBody>
      </p:sp>
      <p:sp>
        <p:nvSpPr>
          <p:cNvPr id="23" name="dcLocation1"/>
          <p:cNvSpPr>
            <a:spLocks noGrp="1"/>
          </p:cNvSpPr>
          <p:nvPr>
            <p:ph type="body" sz="quarter" idx="31" hasCustomPrompt="1"/>
          </p:nvPr>
        </p:nvSpPr>
        <p:spPr>
          <a:xfrm>
            <a:off x="8099430" y="5230800"/>
            <a:ext cx="3513473" cy="7128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marR="0" indent="0" algn="l" defTabSz="9052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78206" algn="l"/>
              </a:tabLst>
              <a:defRPr sz="892" b="0" i="0" cap="none" baseline="0"/>
            </a:lvl1pPr>
            <a:lvl2pPr marL="0" indent="0">
              <a:buNone/>
              <a:defRPr/>
            </a:lvl2pPr>
          </a:lstStyle>
          <a:p>
            <a:pPr lvl="0"/>
            <a:r>
              <a:rPr lang="es-ES"/>
              <a:t>%DT[5]:Arcadis%</a:t>
            </a:r>
          </a:p>
          <a:p>
            <a:pPr lvl="0"/>
            <a:r>
              <a:rPr lang="es-ES"/>
              <a:t>Address Line 1</a:t>
            </a:r>
          </a:p>
          <a:p>
            <a:pPr lvl="0"/>
            <a:r>
              <a:rPr lang="es-ES"/>
              <a:t>Address Line 2</a:t>
            </a:r>
          </a:p>
          <a:p>
            <a:pPr lvl="0"/>
            <a:r>
              <a:rPr lang="es-ES"/>
              <a:t>Address Line 3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32" hasCustomPrompt="1"/>
          </p:nvPr>
        </p:nvSpPr>
        <p:spPr>
          <a:xfrm>
            <a:off x="1674000" y="3481200"/>
            <a:ext cx="9954000" cy="0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/>
          <a:lstStyle>
            <a:lvl1pPr>
              <a:buNone/>
              <a:defRPr/>
            </a:lvl1pPr>
            <a:lvl2pPr marL="0" indent="0">
              <a:buNone/>
              <a:defRPr/>
            </a:lvl2pPr>
            <a:lvl3pPr marL="267310" indent="0">
              <a:buNone/>
              <a:defRPr/>
            </a:lvl3pPr>
            <a:lvl4pPr marL="534620" indent="0">
              <a:buNone/>
              <a:defRPr/>
            </a:lvl4pPr>
            <a:lvl5pPr marL="801930" indent="0">
              <a:buNone/>
              <a:defRPr/>
            </a:lvl5pPr>
          </a:lstStyle>
          <a:p>
            <a:pPr lvl="0"/>
            <a:r>
              <a:rPr lang="es-ES"/>
              <a:t> 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33" hasCustomPrompt="1"/>
          </p:nvPr>
        </p:nvSpPr>
        <p:spPr>
          <a:xfrm>
            <a:off x="1674000" y="4795200"/>
            <a:ext cx="9954000" cy="0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/>
          <a:lstStyle>
            <a:lvl1pPr>
              <a:buNone/>
              <a:defRPr/>
            </a:lvl1pPr>
            <a:lvl2pPr marL="0" indent="0">
              <a:buNone/>
              <a:defRPr/>
            </a:lvl2pPr>
            <a:lvl3pPr marL="267310" indent="0">
              <a:buNone/>
              <a:defRPr/>
            </a:lvl3pPr>
            <a:lvl4pPr marL="534620" indent="0">
              <a:buNone/>
              <a:defRPr/>
            </a:lvl4pPr>
            <a:lvl5pPr marL="801930" indent="0">
              <a:buNone/>
              <a:defRPr/>
            </a:lvl5pPr>
          </a:lstStyle>
          <a:p>
            <a:pPr lvl="0"/>
            <a:r>
              <a:rPr lang="es-ES"/>
              <a:t> 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id="{A07373C5-72F8-48D5-8CF0-9897B810C668}"/>
              </a:ext>
            </a:extLst>
          </p:cNvPr>
          <p:cNvCxnSpPr>
            <a:cxnSpLocks/>
          </p:cNvCxnSpPr>
          <p:nvPr userDrawn="1"/>
        </p:nvCxnSpPr>
        <p:spPr>
          <a:xfrm>
            <a:off x="1451144" y="6529985"/>
            <a:ext cx="1074085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656610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ct Exa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099427" y="6408009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pPr/>
              <a:t>05/10/2025</a:t>
            </a:fld>
            <a:endParaRPr lang="es-E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319588" y="6408009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15" name="dcLeft"/>
          <p:cNvSpPr>
            <a:spLocks noGrp="1"/>
          </p:cNvSpPr>
          <p:nvPr>
            <p:ph type="body" sz="quarter" idx="25" hasCustomPrompt="1"/>
          </p:nvPr>
        </p:nvSpPr>
        <p:spPr>
          <a:xfrm>
            <a:off x="539755" y="2609859"/>
            <a:ext cx="1385888" cy="3307899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0"/>
              </a:spcAft>
              <a:defRPr sz="992" cap="all" baseline="0"/>
            </a:lvl1pPr>
            <a:lvl2pPr marL="0" indent="0">
              <a:spcBef>
                <a:spcPts val="200"/>
              </a:spcBef>
              <a:buNone/>
              <a:defRPr sz="892">
                <a:solidFill>
                  <a:schemeClr val="accent1"/>
                </a:solidFill>
              </a:defRPr>
            </a:lvl2pPr>
            <a:lvl3pPr marL="0" marR="0" indent="-142566" algn="l" defTabSz="905290" rtl="0" eaLnBrk="1" fontAlgn="auto" latinLnBrk="0" hangingPunct="1">
              <a:lnSpc>
                <a:spcPct val="90000"/>
              </a:lnSpc>
              <a:spcBef>
                <a:spcPts val="296"/>
              </a:spcBef>
              <a:spcAft>
                <a:spcPts val="596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892">
                <a:solidFill>
                  <a:schemeClr val="accent1"/>
                </a:solidFill>
              </a:defRPr>
            </a:lvl3pPr>
            <a:lvl4pPr marL="801930" indent="-267310">
              <a:buFont typeface="Arial" panose="020B0604020202020204" pitchFamily="34" charset="0"/>
              <a:buChar char="-"/>
              <a:defRPr sz="892"/>
            </a:lvl4pPr>
            <a:lvl5pPr marL="142566" indent="-142566">
              <a:spcBef>
                <a:spcPts val="200"/>
              </a:spcBef>
              <a:buFont typeface="Arial" panose="020B0604020202020204" pitchFamily="34" charset="0"/>
              <a:buChar char="•"/>
              <a:defRPr sz="892"/>
            </a:lvl5pPr>
            <a:lvl6pPr marL="142566" indent="-142566">
              <a:spcBef>
                <a:spcPts val="200"/>
              </a:spcBef>
              <a:buFont typeface="Arial" panose="020B0604020202020204" pitchFamily="34" charset="0"/>
              <a:buChar char="•"/>
              <a:defRPr sz="892"/>
            </a:lvl6pPr>
            <a:lvl7pPr marL="142566" indent="-142566">
              <a:spcBef>
                <a:spcPts val="200"/>
              </a:spcBef>
              <a:buFont typeface="Arial" panose="020B0604020202020204" pitchFamily="34" charset="0"/>
              <a:buChar char="•"/>
              <a:defRPr sz="892" baseline="0"/>
            </a:lvl7pPr>
            <a:lvl8pPr marL="142566" indent="-142566">
              <a:spcBef>
                <a:spcPts val="200"/>
              </a:spcBef>
              <a:buFont typeface="Arial" panose="020B0604020202020204" pitchFamily="34" charset="0"/>
              <a:buChar char="•"/>
              <a:defRPr sz="892" baseline="0"/>
            </a:lvl8pPr>
            <a:lvl9pPr marL="142566" indent="-142566">
              <a:spcBef>
                <a:spcPts val="200"/>
              </a:spcBef>
              <a:buFont typeface="Arial" panose="020B0604020202020204" pitchFamily="34" charset="0"/>
              <a:buChar char="•"/>
              <a:defRPr sz="892" baseline="0"/>
            </a:lvl9pPr>
          </a:lstStyle>
          <a:p>
            <a:pPr lvl="0"/>
            <a:r>
              <a:rPr lang="es-ES"/>
              <a:t>%DT:client%</a:t>
            </a:r>
          </a:p>
          <a:p>
            <a:pPr lvl="1"/>
            <a:r>
              <a:rPr lang="es-ES"/>
              <a:t>%DT:ClientName%</a:t>
            </a:r>
          </a:p>
          <a:p>
            <a:pPr lvl="0"/>
            <a:r>
              <a:rPr lang="es-ES"/>
              <a:t>%DT:Overallvalue%</a:t>
            </a:r>
          </a:p>
          <a:p>
            <a:pPr lvl="1"/>
            <a:r>
              <a:rPr lang="es-ES"/>
              <a:t>%DT:Amount%</a:t>
            </a:r>
          </a:p>
          <a:p>
            <a:pPr lvl="0"/>
            <a:r>
              <a:rPr lang="es-ES"/>
              <a:t>%DT:Productsservices%</a:t>
            </a:r>
          </a:p>
          <a:p>
            <a:pPr lvl="2"/>
            <a:r>
              <a:rPr lang="es-ES"/>
              <a:t>%DT:ProductService1%</a:t>
            </a:r>
          </a:p>
          <a:p>
            <a:pPr marL="0" marR="0" lvl="2" indent="-142566" algn="l" defTabSz="905290" rtl="0" eaLnBrk="1" fontAlgn="auto" latinLnBrk="0" hangingPunct="1">
              <a:lnSpc>
                <a:spcPct val="90000"/>
              </a:lnSpc>
              <a:spcBef>
                <a:spcPts val="296"/>
              </a:spcBef>
              <a:spcAft>
                <a:spcPts val="596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/>
              <a:t>%DT:ProductService2%</a:t>
            </a:r>
          </a:p>
          <a:p>
            <a:pPr marL="0" marR="0" lvl="2" indent="-142566" algn="l" defTabSz="905290" rtl="0" eaLnBrk="1" fontAlgn="auto" latinLnBrk="0" hangingPunct="1">
              <a:lnSpc>
                <a:spcPct val="90000"/>
              </a:lnSpc>
              <a:spcBef>
                <a:spcPts val="296"/>
              </a:spcBef>
              <a:spcAft>
                <a:spcPts val="596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/>
              <a:t>%DT:ProductService3%</a:t>
            </a:r>
          </a:p>
          <a:p>
            <a:pPr marL="0" marR="0" lvl="2" indent="-142566" algn="l" defTabSz="905290" rtl="0" eaLnBrk="1" fontAlgn="auto" latinLnBrk="0" hangingPunct="1">
              <a:lnSpc>
                <a:spcPct val="90000"/>
              </a:lnSpc>
              <a:spcBef>
                <a:spcPts val="296"/>
              </a:spcBef>
              <a:spcAft>
                <a:spcPts val="596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/>
              <a:t>%DT:ProductService4%</a:t>
            </a:r>
          </a:p>
          <a:p>
            <a:pPr lvl="0"/>
            <a:r>
              <a:rPr lang="es-ES"/>
              <a:t>%DT:ProjectDates%</a:t>
            </a:r>
          </a:p>
          <a:p>
            <a:pPr lvl="1"/>
            <a:r>
              <a:rPr lang="es-ES"/>
              <a:t>%DT:StartEndDates%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2" hasCustomPrompt="1"/>
          </p:nvPr>
        </p:nvSpPr>
        <p:spPr bwMode="ltGray">
          <a:xfrm flipH="1">
            <a:off x="538665" y="1006475"/>
            <a:ext cx="8316413" cy="1332000"/>
          </a:xfrm>
          <a:prstGeom prst="snip1Rect">
            <a:avLst>
              <a:gd name="adj" fmla="val 21836"/>
            </a:avLst>
          </a:prstGeom>
          <a:solidFill>
            <a:schemeClr val="accent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s-ES"/>
              <a:t> </a:t>
            </a:r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33"/>
          </p:nvPr>
        </p:nvSpPr>
        <p:spPr>
          <a:xfrm>
            <a:off x="8855079" y="1006475"/>
            <a:ext cx="2771775" cy="1332000"/>
          </a:xfrm>
          <a:prstGeom prst="rect">
            <a:avLst/>
          </a:prstGeo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</a:p>
        </p:txBody>
      </p:sp>
      <p:sp>
        <p:nvSpPr>
          <p:cNvPr id="18" name="dcBody"/>
          <p:cNvSpPr>
            <a:spLocks noGrp="1"/>
          </p:cNvSpPr>
          <p:nvPr>
            <p:ph type="body" sz="half" idx="2" hasCustomPrompt="1"/>
          </p:nvPr>
        </p:nvSpPr>
        <p:spPr>
          <a:xfrm>
            <a:off x="2176463" y="3103789"/>
            <a:ext cx="9450386" cy="2813969"/>
          </a:xfrm>
          <a:prstGeom prst="rect">
            <a:avLst/>
          </a:prstGeom>
        </p:spPr>
        <p:txBody>
          <a:bodyPr numCol="2" spcCol="252000">
            <a:normAutofit/>
          </a:bodyPr>
          <a:lstStyle>
            <a:lvl1pPr>
              <a:spcBef>
                <a:spcPts val="200"/>
              </a:spcBef>
              <a:spcAft>
                <a:spcPts val="396"/>
              </a:spcAft>
              <a:defRPr sz="1188" b="1">
                <a:solidFill>
                  <a:schemeClr val="accent1"/>
                </a:solidFill>
              </a:defRPr>
            </a:lvl1pPr>
            <a:lvl2pPr marL="0" indent="0">
              <a:spcBef>
                <a:spcPts val="200"/>
              </a:spcBef>
              <a:spcAft>
                <a:spcPts val="396"/>
              </a:spcAft>
              <a:buFont typeface="Arial" panose="020B0604020202020204" pitchFamily="34" charset="0"/>
              <a:buChar char="​"/>
              <a:defRPr sz="992"/>
            </a:lvl2pPr>
            <a:lvl3pPr marL="267310" indent="-26731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992"/>
            </a:lvl3pPr>
            <a:lvl4pPr marL="534620" indent="-26731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992"/>
            </a:lvl4pPr>
            <a:lvl5pPr marL="801930" indent="-26731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992"/>
            </a:lvl5pPr>
            <a:lvl6pPr marL="1069240" indent="-26731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992"/>
            </a:lvl6pPr>
            <a:lvl7pPr marL="1336550" indent="-26731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992"/>
            </a:lvl7pPr>
            <a:lvl8pPr marL="1603860" indent="-26731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992"/>
            </a:lvl8pPr>
            <a:lvl9pPr marL="1871171" indent="-26731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992" baseline="0"/>
            </a:lvl9pPr>
          </a:lstStyle>
          <a:p>
            <a:pPr lvl="0"/>
            <a:r>
              <a:rPr lang="es-ES"/>
              <a:t>%DT:OurRole%</a:t>
            </a:r>
          </a:p>
          <a:p>
            <a:pPr lvl="1"/>
            <a:r>
              <a:rPr lang="es-ES"/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lvl="1"/>
            <a:r>
              <a:rPr lang="es-ES"/>
              <a:t>Lorem ipsum dolor sit amet, consectetuer adipiscing elit. Maecenas porttitor congue massa. Fusce posuere, magna sed pulvinar ultricies, purus lectus malesuada libero, sit amet commodo magna eros quis urna.Third level</a:t>
            </a:r>
          </a:p>
          <a:p>
            <a:pPr lvl="0"/>
            <a:r>
              <a:rPr lang="es-ES"/>
              <a:t>%DT:KeyChallenges%</a:t>
            </a:r>
          </a:p>
          <a:p>
            <a:pPr lvl="1"/>
            <a:r>
              <a:rPr lang="es-ES"/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lvl="1"/>
            <a:r>
              <a:rPr lang="es-ES"/>
              <a:t>Lorem ipsum dolor sit amet, consectetuer adipiscing elit. Maecenas porttitor congue massa. </a:t>
            </a:r>
          </a:p>
          <a:p>
            <a:pPr lvl="0"/>
            <a:endParaRPr lang="es-ES"/>
          </a:p>
          <a:p>
            <a:pPr lvl="0"/>
            <a:endParaRPr lang="es-ES"/>
          </a:p>
          <a:p>
            <a:pPr lvl="0"/>
            <a:r>
              <a:rPr lang="es-ES"/>
              <a:t>%DT:InnovationBestPractice%</a:t>
            </a:r>
          </a:p>
          <a:p>
            <a:pPr lvl="1"/>
            <a:r>
              <a:rPr lang="es-ES"/>
              <a:t>Lorem ipsum dolor sit amet, consectetuer adipiscing elit. Maecenas porttitor congue massa. Fusce posuere, magna sed pulvinar ultricies, purus lectus malesuada libero, sit amet commodo magna eros quis urna</a:t>
            </a:r>
          </a:p>
          <a:p>
            <a:pPr lvl="0"/>
            <a:r>
              <a:rPr lang="es-ES"/>
              <a:t>%DT:WhatWeAreProudOf%</a:t>
            </a:r>
          </a:p>
          <a:p>
            <a:pPr lvl="1"/>
            <a:r>
              <a:rPr lang="es-ES"/>
              <a:t>Lorem ipsum dolor sit amet, consectetuer adipiscing elit. Maecenas porttitor congue massa. Fusce posuere, magna sed pulvinar ultricies, purus lectus malesuada libero, sit amet commodo magna eros quis urna.</a:t>
            </a:r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14" hasCustomPrompt="1"/>
          </p:nvPr>
        </p:nvSpPr>
        <p:spPr>
          <a:xfrm flipH="1">
            <a:off x="539750" y="1006475"/>
            <a:ext cx="288000" cy="288000"/>
          </a:xfrm>
          <a:prstGeom prst="rtTriangle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s-ES"/>
              <a:t> </a:t>
            </a:r>
          </a:p>
        </p:txBody>
      </p:sp>
      <p:sp>
        <p:nvSpPr>
          <p:cNvPr id="20" name="Title 11"/>
          <p:cNvSpPr>
            <a:spLocks noGrp="1"/>
          </p:cNvSpPr>
          <p:nvPr>
            <p:ph type="title" hasCustomPrompt="1"/>
          </p:nvPr>
        </p:nvSpPr>
        <p:spPr>
          <a:xfrm>
            <a:off x="864004" y="1294475"/>
            <a:ext cx="7738662" cy="498598"/>
          </a:xfrm>
          <a:prstGeom prst="rect">
            <a:avLst/>
          </a:prstGeom>
        </p:spPr>
        <p:txBody>
          <a:bodyPr/>
          <a:lstStyle>
            <a:lvl1pPr>
              <a:defRPr sz="1783" b="0" cap="all" baseline="0">
                <a:solidFill>
                  <a:schemeClr val="bg1"/>
                </a:solidFill>
              </a:defRPr>
            </a:lvl1pPr>
          </a:lstStyle>
          <a:p>
            <a:r>
              <a:rPr lang="es-ES"/>
              <a:t>Add title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864003" y="1894319"/>
            <a:ext cx="7738664" cy="221599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84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/>
              <a:t>Add subtitle</a:t>
            </a:r>
          </a:p>
        </p:txBody>
      </p:sp>
      <p:sp>
        <p:nvSpPr>
          <p:cNvPr id="26" name="dcProductDescription"/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2177226" y="2610000"/>
            <a:ext cx="9451232" cy="388800"/>
          </a:xfrm>
          <a:prstGeom prst="rect">
            <a:avLst/>
          </a:prstGeom>
        </p:spPr>
        <p:txBody>
          <a:bodyPr/>
          <a:lstStyle>
            <a:lvl1pPr>
              <a:buNone/>
              <a:defRPr sz="1388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%DT:Introduction%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36" hasCustomPrompt="1"/>
          </p:nvPr>
        </p:nvSpPr>
        <p:spPr>
          <a:xfrm>
            <a:off x="7030800" y="5162400"/>
            <a:ext cx="4597200" cy="360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buNone/>
              <a:defRPr>
                <a:solidFill>
                  <a:schemeClr val="accent3"/>
                </a:solidFill>
              </a:defRPr>
            </a:lvl1pPr>
            <a:lvl2pPr marL="0" indent="0">
              <a:buNone/>
              <a:defRPr/>
            </a:lvl2pPr>
            <a:lvl3pPr marL="267310" indent="0">
              <a:buNone/>
              <a:defRPr/>
            </a:lvl3pPr>
            <a:lvl4pPr marL="534620" indent="0">
              <a:buNone/>
              <a:defRPr/>
            </a:lvl4pPr>
            <a:lvl5pPr marL="801930" indent="0">
              <a:buNone/>
              <a:defRPr/>
            </a:lvl5pPr>
          </a:lstStyle>
          <a:p>
            <a:pPr lvl="0"/>
            <a:r>
              <a:rPr lang="es-ES"/>
              <a:t> </a:t>
            </a:r>
          </a:p>
        </p:txBody>
      </p:sp>
      <p:sp>
        <p:nvSpPr>
          <p:cNvPr id="25" name="dcRelevance"/>
          <p:cNvSpPr>
            <a:spLocks noGrp="1"/>
          </p:cNvSpPr>
          <p:nvPr userDrawn="1">
            <p:ph type="body" sz="quarter" idx="15" hasCustomPrompt="1"/>
          </p:nvPr>
        </p:nvSpPr>
        <p:spPr bwMode="ltGray">
          <a:xfrm>
            <a:off x="7028954" y="5419331"/>
            <a:ext cx="4597896" cy="566218"/>
          </a:xfrm>
          <a:prstGeom prst="rect">
            <a:avLst/>
          </a:prstGeom>
          <a:solidFill>
            <a:schemeClr val="accent3"/>
          </a:solidFill>
        </p:spPr>
        <p:txBody>
          <a:bodyPr wrap="square" lIns="216000" rIns="216000" bIns="21600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buNone/>
              <a:defRPr sz="1188" b="1" cap="all" baseline="0"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992"/>
            </a:lvl2pPr>
            <a:lvl3pPr marL="267310" indent="0">
              <a:buNone/>
              <a:defRPr/>
            </a:lvl3pPr>
            <a:lvl4pPr marL="534620" indent="0">
              <a:buNone/>
              <a:defRPr/>
            </a:lvl4pPr>
            <a:lvl5pPr marL="801930" indent="0">
              <a:buNone/>
              <a:defRPr/>
            </a:lvl5pPr>
          </a:lstStyle>
          <a:p>
            <a:pPr lvl="0"/>
            <a:r>
              <a:rPr lang="es-ES"/>
              <a:t>%DT: RelevanceToThisOpportunity%</a:t>
            </a:r>
          </a:p>
          <a:p>
            <a:pPr lvl="1"/>
            <a:r>
              <a:rPr lang="es-ES"/>
              <a:t>%DT:RelevanceToThisOpportunityContent%</a:t>
            </a:r>
          </a:p>
        </p:txBody>
      </p:sp>
      <p:sp>
        <p:nvSpPr>
          <p:cNvPr id="22" name="Slide Number Placeholder 4">
            <a:extLst>
              <a:ext uri="{FF2B5EF4-FFF2-40B4-BE49-F238E27FC236}">
                <a16:creationId xmlns:a16="http://schemas.microsoft.com/office/drawing/2014/main" id="{96AAB6BC-E6A7-4070-BAB6-800D22E657C7}"/>
              </a:ext>
            </a:extLst>
          </p:cNvPr>
          <p:cNvSpPr txBox="1">
            <a:spLocks/>
          </p:cNvSpPr>
          <p:nvPr userDrawn="1"/>
        </p:nvSpPr>
        <p:spPr>
          <a:xfrm>
            <a:off x="11385654" y="6602372"/>
            <a:ext cx="241200" cy="1384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C1CACA2-8807-444A-80EF-366DD6953B54}" type="slidenum">
              <a:rPr lang="es-ES" sz="892" smtClean="0"/>
              <a:pPr/>
              <a:t>‹#›</a:t>
            </a:fld>
            <a:endParaRPr lang="es-ES" sz="892"/>
          </a:p>
        </p:txBody>
      </p:sp>
      <p:cxnSp>
        <p:nvCxnSpPr>
          <p:cNvPr id="23" name="Conector recto 22">
            <a:extLst>
              <a:ext uri="{FF2B5EF4-FFF2-40B4-BE49-F238E27FC236}">
                <a16:creationId xmlns:a16="http://schemas.microsoft.com/office/drawing/2014/main" id="{00F6FAD8-A4A8-4DAD-9921-481132B2E0ED}"/>
              </a:ext>
            </a:extLst>
          </p:cNvPr>
          <p:cNvCxnSpPr>
            <a:cxnSpLocks/>
          </p:cNvCxnSpPr>
          <p:nvPr userDrawn="1"/>
        </p:nvCxnSpPr>
        <p:spPr>
          <a:xfrm>
            <a:off x="1451144" y="6529985"/>
            <a:ext cx="1074085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826835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099427" y="6408009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pPr/>
              <a:t>05/10/2025</a:t>
            </a:fld>
            <a:endParaRPr lang="es-E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319588" y="6408009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6" name="dcLeft"/>
          <p:cNvSpPr>
            <a:spLocks noGrp="1"/>
          </p:cNvSpPr>
          <p:nvPr>
            <p:ph type="body" sz="quarter" idx="25" hasCustomPrompt="1"/>
          </p:nvPr>
        </p:nvSpPr>
        <p:spPr>
          <a:xfrm>
            <a:off x="539755" y="2302480"/>
            <a:ext cx="1385888" cy="3615275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0"/>
              </a:spcAft>
              <a:defRPr sz="992" cap="all" baseline="0"/>
            </a:lvl1pPr>
            <a:lvl2pPr marL="0" indent="0">
              <a:spcBef>
                <a:spcPts val="200"/>
              </a:spcBef>
              <a:buNone/>
              <a:defRPr sz="892">
                <a:solidFill>
                  <a:schemeClr val="accent1"/>
                </a:solidFill>
              </a:defRPr>
            </a:lvl2pPr>
            <a:lvl3pPr marL="0" marR="0" indent="-142566" algn="l" defTabSz="905290" rtl="0" eaLnBrk="1" fontAlgn="auto" latinLnBrk="0" hangingPunct="1">
              <a:lnSpc>
                <a:spcPct val="90000"/>
              </a:lnSpc>
              <a:spcBef>
                <a:spcPts val="296"/>
              </a:spcBef>
              <a:spcAft>
                <a:spcPts val="596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892">
                <a:solidFill>
                  <a:schemeClr val="accent1"/>
                </a:solidFill>
              </a:defRPr>
            </a:lvl3pPr>
            <a:lvl4pPr marL="801930" indent="-267310">
              <a:buFont typeface="Arial" panose="020B0604020202020204" pitchFamily="34" charset="0"/>
              <a:buChar char="-"/>
              <a:defRPr sz="892"/>
            </a:lvl4pPr>
            <a:lvl5pPr marL="142566" indent="-142566">
              <a:spcBef>
                <a:spcPts val="200"/>
              </a:spcBef>
              <a:buFont typeface="Arial" panose="020B0604020202020204" pitchFamily="34" charset="0"/>
              <a:buChar char="•"/>
              <a:defRPr sz="892"/>
            </a:lvl5pPr>
            <a:lvl6pPr marL="142566" indent="-142566">
              <a:spcBef>
                <a:spcPts val="200"/>
              </a:spcBef>
              <a:buFont typeface="Arial" panose="020B0604020202020204" pitchFamily="34" charset="0"/>
              <a:buChar char="•"/>
              <a:defRPr sz="892"/>
            </a:lvl6pPr>
            <a:lvl7pPr marL="142566" indent="-142566">
              <a:spcBef>
                <a:spcPts val="200"/>
              </a:spcBef>
              <a:buFont typeface="Arial" panose="020B0604020202020204" pitchFamily="34" charset="0"/>
              <a:buChar char="•"/>
              <a:defRPr sz="892" baseline="0"/>
            </a:lvl7pPr>
            <a:lvl8pPr marL="142566" indent="-142566">
              <a:spcBef>
                <a:spcPts val="200"/>
              </a:spcBef>
              <a:buFont typeface="Arial" panose="020B0604020202020204" pitchFamily="34" charset="0"/>
              <a:buChar char="•"/>
              <a:defRPr sz="892" baseline="0"/>
            </a:lvl8pPr>
            <a:lvl9pPr marL="142566" indent="-142566">
              <a:spcBef>
                <a:spcPts val="200"/>
              </a:spcBef>
              <a:buFont typeface="Arial" panose="020B0604020202020204" pitchFamily="34" charset="0"/>
              <a:buChar char="•"/>
              <a:defRPr sz="892" baseline="0"/>
            </a:lvl9pPr>
          </a:lstStyle>
          <a:p>
            <a:pPr lvl="0"/>
            <a:r>
              <a:rPr lang="es-ES"/>
              <a:t>%DT:AreasOfExpertise%</a:t>
            </a:r>
          </a:p>
          <a:p>
            <a:pPr lvl="1"/>
            <a:r>
              <a:rPr lang="es-ES"/>
              <a:t>%DT:Skill1%</a:t>
            </a:r>
          </a:p>
          <a:p>
            <a:pPr lvl="1"/>
            <a:r>
              <a:rPr lang="es-ES"/>
              <a:t>%DT:Skill2%</a:t>
            </a:r>
          </a:p>
          <a:p>
            <a:pPr lvl="1"/>
            <a:r>
              <a:rPr lang="es-ES"/>
              <a:t>%DT:Skill3%</a:t>
            </a:r>
          </a:p>
          <a:p>
            <a:pPr lvl="1"/>
            <a:r>
              <a:rPr lang="es-ES"/>
              <a:t>%DT:Skill4%</a:t>
            </a:r>
          </a:p>
          <a:p>
            <a:pPr lvl="0"/>
            <a:r>
              <a:rPr lang="es-ES"/>
              <a:t>%DT: Qualifications%</a:t>
            </a:r>
          </a:p>
          <a:p>
            <a:pPr lvl="1"/>
            <a:r>
              <a:rPr lang="es-ES"/>
              <a:t>%DT:Qualification1%</a:t>
            </a:r>
          </a:p>
          <a:p>
            <a:pPr lvl="1"/>
            <a:r>
              <a:rPr lang="es-ES"/>
              <a:t>%DT:Qualification2%</a:t>
            </a:r>
          </a:p>
          <a:p>
            <a:pPr lvl="1"/>
            <a:r>
              <a:rPr lang="es-ES"/>
              <a:t>%DT:Qualification3%</a:t>
            </a:r>
          </a:p>
          <a:p>
            <a:pPr lvl="0"/>
            <a:r>
              <a:rPr lang="es-ES"/>
              <a:t>%DT:Position%</a:t>
            </a:r>
          </a:p>
          <a:p>
            <a:pPr lvl="2"/>
            <a:r>
              <a:rPr lang="es-ES"/>
              <a:t>%DT:PositionHere%</a:t>
            </a:r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32" hasCustomPrompt="1"/>
          </p:nvPr>
        </p:nvSpPr>
        <p:spPr bwMode="ltGray">
          <a:xfrm flipH="1">
            <a:off x="538661" y="1006475"/>
            <a:ext cx="9199064" cy="1008000"/>
          </a:xfrm>
          <a:prstGeom prst="snip1Rect">
            <a:avLst>
              <a:gd name="adj" fmla="val 29152"/>
            </a:avLst>
          </a:prstGeom>
          <a:solidFill>
            <a:schemeClr val="accent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s-ES"/>
              <a:t> 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33"/>
          </p:nvPr>
        </p:nvSpPr>
        <p:spPr>
          <a:xfrm>
            <a:off x="9988553" y="1006475"/>
            <a:ext cx="1638299" cy="1008000"/>
          </a:xfrm>
          <a:prstGeom prst="rect">
            <a:avLst/>
          </a:prstGeo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</a:p>
        </p:txBody>
      </p:sp>
      <p:sp>
        <p:nvSpPr>
          <p:cNvPr id="9" name="Text Placeholder 14"/>
          <p:cNvSpPr>
            <a:spLocks noGrp="1"/>
          </p:cNvSpPr>
          <p:nvPr>
            <p:ph type="body" sz="quarter" idx="14" hasCustomPrompt="1"/>
          </p:nvPr>
        </p:nvSpPr>
        <p:spPr>
          <a:xfrm flipH="1">
            <a:off x="534985" y="1006475"/>
            <a:ext cx="288000" cy="288000"/>
          </a:xfrm>
          <a:prstGeom prst="rtTriangle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s-ES"/>
              <a:t> </a:t>
            </a:r>
          </a:p>
        </p:txBody>
      </p:sp>
      <p:sp>
        <p:nvSpPr>
          <p:cNvPr id="10" name="Title 11"/>
          <p:cNvSpPr>
            <a:spLocks noGrp="1"/>
          </p:cNvSpPr>
          <p:nvPr>
            <p:ph type="title" hasCustomPrompt="1"/>
          </p:nvPr>
        </p:nvSpPr>
        <p:spPr>
          <a:xfrm>
            <a:off x="864003" y="1294483"/>
            <a:ext cx="8661663" cy="24929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783" b="1" cap="all" baseline="0">
                <a:solidFill>
                  <a:schemeClr val="bg1"/>
                </a:solidFill>
              </a:defRPr>
            </a:lvl1pPr>
          </a:lstStyle>
          <a:p>
            <a:r>
              <a:rPr lang="es-ES"/>
              <a:t>Firstname Surnam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864003" y="1641603"/>
            <a:ext cx="8661665" cy="221599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388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/>
              <a:t>Description or Subtitle</a:t>
            </a:r>
          </a:p>
        </p:txBody>
      </p:sp>
      <p:sp>
        <p:nvSpPr>
          <p:cNvPr id="12" name="dcProductDescription"/>
          <p:cNvSpPr>
            <a:spLocks noGrp="1"/>
          </p:cNvSpPr>
          <p:nvPr>
            <p:ph type="body" sz="quarter" idx="35" hasCustomPrompt="1"/>
          </p:nvPr>
        </p:nvSpPr>
        <p:spPr>
          <a:xfrm>
            <a:off x="2176463" y="2304000"/>
            <a:ext cx="9450386" cy="388800"/>
          </a:xfrm>
          <a:prstGeom prst="rect">
            <a:avLst/>
          </a:prstGeom>
        </p:spPr>
        <p:txBody>
          <a:bodyPr/>
          <a:lstStyle>
            <a:lvl1pPr>
              <a:buNone/>
              <a:defRPr sz="1388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%DT:Introduction%</a:t>
            </a:r>
          </a:p>
        </p:txBody>
      </p:sp>
      <p:sp>
        <p:nvSpPr>
          <p:cNvPr id="13" name="dcBody"/>
          <p:cNvSpPr>
            <a:spLocks noGrp="1"/>
          </p:cNvSpPr>
          <p:nvPr>
            <p:ph type="body" sz="half" idx="2" hasCustomPrompt="1"/>
          </p:nvPr>
        </p:nvSpPr>
        <p:spPr>
          <a:xfrm>
            <a:off x="2176463" y="2811601"/>
            <a:ext cx="9450386" cy="3106150"/>
          </a:xfrm>
          <a:prstGeom prst="rect">
            <a:avLst/>
          </a:prstGeom>
        </p:spPr>
        <p:txBody>
          <a:bodyPr numCol="2" spcCol="252000">
            <a:normAutofit/>
          </a:bodyPr>
          <a:lstStyle>
            <a:lvl1pPr>
              <a:spcBef>
                <a:spcPts val="200"/>
              </a:spcBef>
              <a:spcAft>
                <a:spcPts val="396"/>
              </a:spcAft>
              <a:buNone/>
              <a:defRPr sz="992" b="1">
                <a:solidFill>
                  <a:schemeClr val="tx1"/>
                </a:solidFill>
              </a:defRPr>
            </a:lvl1pPr>
            <a:lvl2pPr marL="0" indent="0">
              <a:spcBef>
                <a:spcPts val="1188"/>
              </a:spcBef>
              <a:spcAft>
                <a:spcPts val="396"/>
              </a:spcAft>
              <a:buFont typeface="Arial" panose="020B0604020202020204" pitchFamily="34" charset="0"/>
              <a:buChar char="​"/>
              <a:defRPr sz="1388" b="0">
                <a:solidFill>
                  <a:schemeClr val="tx1"/>
                </a:solidFill>
              </a:defRPr>
            </a:lvl2pPr>
            <a:lvl3pPr marL="0" indent="0">
              <a:spcBef>
                <a:spcPts val="1188"/>
              </a:spcBef>
              <a:spcAft>
                <a:spcPts val="396"/>
              </a:spcAft>
              <a:buFont typeface="Arial" panose="020B0604020202020204" pitchFamily="34" charset="0"/>
              <a:buChar char="​"/>
              <a:defRPr sz="1188" b="1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396"/>
              </a:spcAft>
              <a:buFont typeface="Arial" panose="020B0604020202020204" pitchFamily="34" charset="0"/>
              <a:buChar char="​"/>
              <a:defRPr sz="1038"/>
            </a:lvl4pPr>
            <a:lvl5pPr marL="0" indent="0">
              <a:spcBef>
                <a:spcPts val="200"/>
              </a:spcBef>
              <a:spcAft>
                <a:spcPts val="396"/>
              </a:spcAft>
              <a:buFont typeface="Arial" panose="020B0604020202020204" pitchFamily="34" charset="0"/>
              <a:buChar char="​"/>
              <a:defRPr sz="992"/>
            </a:lvl5pPr>
            <a:lvl6pPr marL="267310" indent="-26731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992"/>
            </a:lvl6pPr>
            <a:lvl7pPr marL="534620" indent="-26731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992"/>
            </a:lvl7pPr>
            <a:lvl8pPr marL="801930" indent="-26731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992"/>
            </a:lvl8pPr>
            <a:lvl9pPr marL="1069240" indent="-26731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992" baseline="0"/>
            </a:lvl9pPr>
          </a:lstStyle>
          <a:p>
            <a:pPr lvl="0"/>
            <a:r>
              <a:rPr lang="es-ES"/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lvl="2"/>
            <a:r>
              <a:rPr lang="es-ES"/>
              <a:t>%DT: SuitabilityToTheRole%</a:t>
            </a:r>
          </a:p>
          <a:p>
            <a:pPr lvl="4"/>
            <a:r>
              <a:rPr lang="es-ES"/>
              <a:t>Lorem ipsum dolor sit amet, consectetuer adipiscing elit. Maecenas porttitor congue massa. Fusce posuere, magna sed pulvinar ultricies, purus lectus malesuada libero, sit amet commodo magna eros quis urna.Third level</a:t>
            </a:r>
          </a:p>
          <a:p>
            <a:pPr lvl="2"/>
            <a:r>
              <a:rPr lang="es-ES"/>
              <a:t>%DT: RelevanceOfExperience%</a:t>
            </a:r>
          </a:p>
          <a:p>
            <a:pPr lvl="4"/>
            <a:r>
              <a:rPr lang="es-ES"/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lvl="1"/>
            <a:endParaRPr lang="es-ES"/>
          </a:p>
          <a:p>
            <a:pPr lvl="1"/>
            <a:endParaRPr lang="es-ES"/>
          </a:p>
          <a:p>
            <a:pPr lvl="1"/>
            <a:r>
              <a:rPr lang="es-ES"/>
              <a:t>%DT:ProjectExperience%</a:t>
            </a:r>
          </a:p>
          <a:p>
            <a:pPr lvl="2"/>
            <a:r>
              <a:rPr lang="es-ES"/>
              <a:t>%DT:ProjectTitle%</a:t>
            </a:r>
          </a:p>
          <a:p>
            <a:pPr lvl="3"/>
            <a:r>
              <a:rPr lang="es-ES"/>
              <a:t>%DT:ClientNameDateFee%</a:t>
            </a:r>
          </a:p>
          <a:p>
            <a:pPr lvl="4"/>
            <a:r>
              <a:rPr lang="es-ES"/>
              <a:t>Lorem ipsum dolor sit amet, consectetuer adipiscing elit. Maecenas porttitor congue massa.</a:t>
            </a:r>
          </a:p>
          <a:p>
            <a:pPr lvl="2"/>
            <a:r>
              <a:rPr lang="es-ES"/>
              <a:t>%DT:ProjectTitle%</a:t>
            </a:r>
          </a:p>
          <a:p>
            <a:pPr lvl="3"/>
            <a:r>
              <a:rPr lang="es-ES"/>
              <a:t>%DT:ClientNameDateFee%</a:t>
            </a:r>
          </a:p>
          <a:p>
            <a:pPr lvl="4"/>
            <a:r>
              <a:rPr lang="es-ES"/>
              <a:t>Lorem ipsum dolor sit amet, consectetuer adipiscing elit. Maecenas porttitor congue massa.</a:t>
            </a:r>
          </a:p>
        </p:txBody>
      </p:sp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2070E854-3CC1-40F3-809F-1701D700979F}"/>
              </a:ext>
            </a:extLst>
          </p:cNvPr>
          <p:cNvSpPr txBox="1">
            <a:spLocks/>
          </p:cNvSpPr>
          <p:nvPr userDrawn="1"/>
        </p:nvSpPr>
        <p:spPr>
          <a:xfrm>
            <a:off x="11385654" y="6602372"/>
            <a:ext cx="241200" cy="1384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C1CACA2-8807-444A-80EF-366DD6953B54}" type="slidenum">
              <a:rPr lang="es-ES" sz="892" smtClean="0"/>
              <a:pPr/>
              <a:t>‹#›</a:t>
            </a:fld>
            <a:endParaRPr lang="es-ES" sz="892"/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905F495C-A051-4748-BD61-72E5573491B1}"/>
              </a:ext>
            </a:extLst>
          </p:cNvPr>
          <p:cNvCxnSpPr>
            <a:cxnSpLocks/>
          </p:cNvCxnSpPr>
          <p:nvPr userDrawn="1"/>
        </p:nvCxnSpPr>
        <p:spPr>
          <a:xfrm>
            <a:off x="1451144" y="6529985"/>
            <a:ext cx="1074085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603442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099427" y="6408009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pPr/>
              <a:t>05/10/2025</a:t>
            </a:fld>
            <a:endParaRPr lang="es-E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319588" y="6408009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2070E854-3CC1-40F3-809F-1701D700979F}"/>
              </a:ext>
            </a:extLst>
          </p:cNvPr>
          <p:cNvSpPr txBox="1">
            <a:spLocks/>
          </p:cNvSpPr>
          <p:nvPr userDrawn="1"/>
        </p:nvSpPr>
        <p:spPr>
          <a:xfrm>
            <a:off x="11385654" y="6602372"/>
            <a:ext cx="241200" cy="1384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C1CACA2-8807-444A-80EF-366DD6953B54}" type="slidenum">
              <a:rPr lang="es-ES" sz="892" smtClean="0"/>
              <a:pPr/>
              <a:t>‹#›</a:t>
            </a:fld>
            <a:endParaRPr lang="es-ES" sz="892"/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905F495C-A051-4748-BD61-72E5573491B1}"/>
              </a:ext>
            </a:extLst>
          </p:cNvPr>
          <p:cNvCxnSpPr>
            <a:cxnSpLocks/>
          </p:cNvCxnSpPr>
          <p:nvPr userDrawn="1"/>
        </p:nvCxnSpPr>
        <p:spPr>
          <a:xfrm>
            <a:off x="1451144" y="6529985"/>
            <a:ext cx="1074085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C93C7199-EA81-40C3-A851-BF595D9FAE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4" y="950400"/>
            <a:ext cx="11087100" cy="4985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/>
              <a:t>ADD TIT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F89303A7-20A4-4708-9546-8E48FECF70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754" y="1656006"/>
            <a:ext cx="11087100" cy="46606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styles</a:t>
            </a:r>
            <a:endParaRPr lang="es-ES"/>
          </a:p>
          <a:p>
            <a:pPr lvl="1"/>
            <a:r>
              <a:rPr lang="es-ES" err="1"/>
              <a:t>Level</a:t>
            </a:r>
            <a:r>
              <a:rPr lang="es-ES"/>
              <a:t> 2</a:t>
            </a:r>
          </a:p>
          <a:p>
            <a:pPr lvl="2"/>
            <a:r>
              <a:rPr lang="es-ES" err="1"/>
              <a:t>Level</a:t>
            </a:r>
            <a:r>
              <a:rPr lang="es-ES"/>
              <a:t> 3</a:t>
            </a:r>
          </a:p>
          <a:p>
            <a:pPr lvl="3"/>
            <a:r>
              <a:rPr lang="es-ES" err="1"/>
              <a:t>Level</a:t>
            </a:r>
            <a:r>
              <a:rPr lang="es-ES"/>
              <a:t> 4</a:t>
            </a:r>
          </a:p>
          <a:p>
            <a:pPr lvl="4"/>
            <a:r>
              <a:rPr lang="es-ES" err="1"/>
              <a:t>Level</a:t>
            </a:r>
            <a:r>
              <a:rPr lang="es-ES"/>
              <a:t> 5</a:t>
            </a:r>
          </a:p>
          <a:p>
            <a:pPr lvl="5"/>
            <a:r>
              <a:rPr lang="es-ES" err="1"/>
              <a:t>Level</a:t>
            </a:r>
            <a:r>
              <a:rPr lang="es-ES"/>
              <a:t> 6</a:t>
            </a:r>
          </a:p>
          <a:p>
            <a:pPr lvl="6"/>
            <a:r>
              <a:rPr lang="es-ES" err="1"/>
              <a:t>Level</a:t>
            </a:r>
            <a:r>
              <a:rPr lang="es-ES"/>
              <a:t> 7</a:t>
            </a:r>
          </a:p>
          <a:p>
            <a:pPr lvl="7"/>
            <a:r>
              <a:rPr lang="es-ES" err="1"/>
              <a:t>Level</a:t>
            </a:r>
            <a:r>
              <a:rPr lang="es-ES"/>
              <a:t> 8</a:t>
            </a:r>
          </a:p>
          <a:p>
            <a:pPr lvl="8"/>
            <a:r>
              <a:rPr lang="es-ES" err="1"/>
              <a:t>Level</a:t>
            </a:r>
            <a:r>
              <a:rPr lang="es-ES"/>
              <a:t> 9</a:t>
            </a:r>
          </a:p>
        </p:txBody>
      </p:sp>
    </p:spTree>
    <p:extLst>
      <p:ext uri="{BB962C8B-B14F-4D97-AF65-F5344CB8AC3E}">
        <p14:creationId xmlns:p14="http://schemas.microsoft.com/office/powerpoint/2010/main" val="1455126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099427" y="6408009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pPr/>
              <a:t>05/10/2025</a:t>
            </a:fld>
            <a:endParaRPr lang="es-E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319588" y="6408009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5626135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nip Single Corner Rectangle 8"/>
          <p:cNvSpPr/>
          <p:nvPr userDrawn="1"/>
        </p:nvSpPr>
        <p:spPr bwMode="ltGray">
          <a:xfrm flipH="1">
            <a:off x="539754" y="1620000"/>
            <a:ext cx="11087100" cy="4696663"/>
          </a:xfrm>
          <a:prstGeom prst="snip1Rect">
            <a:avLst>
              <a:gd name="adj" fmla="val 618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83"/>
          </a:p>
        </p:txBody>
      </p:sp>
      <p:sp>
        <p:nvSpPr>
          <p:cNvPr id="10" name="Right Triangle 9"/>
          <p:cNvSpPr/>
          <p:nvPr userDrawn="1"/>
        </p:nvSpPr>
        <p:spPr>
          <a:xfrm flipH="1">
            <a:off x="539750" y="1620000"/>
            <a:ext cx="288000" cy="28800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83"/>
          </a:p>
        </p:txBody>
      </p:sp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>
          <a:xfrm>
            <a:off x="1200004" y="1928372"/>
            <a:ext cx="8758917" cy="49859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Add section title</a:t>
            </a:r>
          </a:p>
        </p:txBody>
      </p:sp>
      <p:pic>
        <p:nvPicPr>
          <p:cNvPr id="3" name="sLogo">
            <a:extLst>
              <a:ext uri="{FF2B5EF4-FFF2-40B4-BE49-F238E27FC236}">
                <a16:creationId xmlns:a16="http://schemas.microsoft.com/office/drawing/2014/main" id="{61B66949-E93E-4E27-A49D-3B26E5D3C1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02000" y="396000"/>
            <a:ext cx="2826000" cy="298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64483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olor Background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BB8F1E5-E1BD-487E-AF6B-1417C555CE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67800" y="6446837"/>
            <a:ext cx="17145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C2C1C1"/>
                </a:solidFill>
              </a:defRPr>
            </a:lvl1pPr>
          </a:lstStyle>
          <a:p>
            <a:fld id="{4888AC66-CE61-486F-A183-0D858EA321B3}" type="datetime3">
              <a:rPr lang="en-US" smtClean="0"/>
              <a:t>5 October 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E88D42-25B6-4AF8-881D-F451A8C63D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446837"/>
            <a:ext cx="1676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C2C1C1"/>
                </a:solidFill>
              </a:defRPr>
            </a:lvl1pPr>
          </a:lstStyle>
          <a:p>
            <a:r>
              <a:rPr lang="en-US"/>
              <a:t>© Arcadis 20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F66F31F-D07E-4084-BF08-3D17AFC7C5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0900" y="6446837"/>
            <a:ext cx="7239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FE63AA4-120D-435A-A130-F49443AF7CB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455EFD41-CA14-4D91-9151-AEAAE55C5A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145598"/>
            <a:ext cx="4800600" cy="182620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defRPr sz="4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741690DB-3471-4FEF-A4B0-BB9B766AF6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3657600"/>
            <a:ext cx="5524500" cy="18288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23A1976C-1DAD-4BD7-9A17-AC5487B6D09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210300" y="457201"/>
            <a:ext cx="5524500" cy="59436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 to insert an image</a:t>
            </a:r>
          </a:p>
        </p:txBody>
      </p:sp>
    </p:spTree>
    <p:extLst>
      <p:ext uri="{BB962C8B-B14F-4D97-AF65-F5344CB8AC3E}">
        <p14:creationId xmlns:p14="http://schemas.microsoft.com/office/powerpoint/2010/main" val="194168267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nip Single Corner Rectangle 8"/>
          <p:cNvSpPr/>
          <p:nvPr userDrawn="1"/>
        </p:nvSpPr>
        <p:spPr bwMode="ltGray">
          <a:xfrm flipH="1">
            <a:off x="539754" y="1620000"/>
            <a:ext cx="11087100" cy="4696663"/>
          </a:xfrm>
          <a:prstGeom prst="snip1Rect">
            <a:avLst>
              <a:gd name="adj" fmla="val 6181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83"/>
          </a:p>
        </p:txBody>
      </p:sp>
      <p:sp>
        <p:nvSpPr>
          <p:cNvPr id="10" name="Right Triangle 9"/>
          <p:cNvSpPr/>
          <p:nvPr userDrawn="1"/>
        </p:nvSpPr>
        <p:spPr>
          <a:xfrm flipH="1">
            <a:off x="539750" y="1620000"/>
            <a:ext cx="288000" cy="28800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83"/>
          </a:p>
        </p:txBody>
      </p:sp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>
          <a:xfrm>
            <a:off x="1200004" y="1928372"/>
            <a:ext cx="8758917" cy="49859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Add section title</a:t>
            </a:r>
          </a:p>
        </p:txBody>
      </p:sp>
      <p:pic>
        <p:nvPicPr>
          <p:cNvPr id="3" name="sLogo">
            <a:extLst>
              <a:ext uri="{FF2B5EF4-FFF2-40B4-BE49-F238E27FC236}">
                <a16:creationId xmlns:a16="http://schemas.microsoft.com/office/drawing/2014/main" id="{27FF03B5-9ED8-4470-86A3-D469CD8DA6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02000" y="396000"/>
            <a:ext cx="2826000" cy="298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462997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4" y="950400"/>
            <a:ext cx="11087100" cy="49859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s-ES"/>
              <a:t>Add title</a:t>
            </a:r>
          </a:p>
        </p:txBody>
      </p:sp>
      <p:grpSp>
        <p:nvGrpSpPr>
          <p:cNvPr id="8" name="Group 7"/>
          <p:cNvGrpSpPr>
            <a:grpSpLocks/>
          </p:cNvGrpSpPr>
          <p:nvPr userDrawn="1"/>
        </p:nvGrpSpPr>
        <p:grpSpPr bwMode="auto">
          <a:xfrm>
            <a:off x="6334850" y="2029750"/>
            <a:ext cx="5292000" cy="3488400"/>
            <a:chOff x="2337" y="1166"/>
            <a:chExt cx="3011" cy="1984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2337" y="1166"/>
              <a:ext cx="1621" cy="1557"/>
            </a:xfrm>
            <a:custGeom>
              <a:avLst/>
              <a:gdLst>
                <a:gd name="T0" fmla="*/ 415 w 685"/>
                <a:gd name="T1" fmla="*/ 240 h 657"/>
                <a:gd name="T2" fmla="*/ 376 w 685"/>
                <a:gd name="T3" fmla="*/ 280 h 657"/>
                <a:gd name="T4" fmla="*/ 356 w 685"/>
                <a:gd name="T5" fmla="*/ 300 h 657"/>
                <a:gd name="T6" fmla="*/ 353 w 685"/>
                <a:gd name="T7" fmla="*/ 328 h 657"/>
                <a:gd name="T8" fmla="*/ 309 w 685"/>
                <a:gd name="T9" fmla="*/ 328 h 657"/>
                <a:gd name="T10" fmla="*/ 309 w 685"/>
                <a:gd name="T11" fmla="*/ 317 h 657"/>
                <a:gd name="T12" fmla="*/ 316 w 685"/>
                <a:gd name="T13" fmla="*/ 281 h 657"/>
                <a:gd name="T14" fmla="*/ 344 w 685"/>
                <a:gd name="T15" fmla="*/ 250 h 657"/>
                <a:gd name="T16" fmla="*/ 370 w 685"/>
                <a:gd name="T17" fmla="*/ 227 h 657"/>
                <a:gd name="T18" fmla="*/ 376 w 685"/>
                <a:gd name="T19" fmla="*/ 208 h 657"/>
                <a:gd name="T20" fmla="*/ 365 w 685"/>
                <a:gd name="T21" fmla="*/ 184 h 657"/>
                <a:gd name="T22" fmla="*/ 334 w 685"/>
                <a:gd name="T23" fmla="*/ 174 h 657"/>
                <a:gd name="T24" fmla="*/ 303 w 685"/>
                <a:gd name="T25" fmla="*/ 184 h 657"/>
                <a:gd name="T26" fmla="*/ 286 w 685"/>
                <a:gd name="T27" fmla="*/ 217 h 657"/>
                <a:gd name="T28" fmla="*/ 241 w 685"/>
                <a:gd name="T29" fmla="*/ 211 h 657"/>
                <a:gd name="T30" fmla="*/ 267 w 685"/>
                <a:gd name="T31" fmla="*/ 158 h 657"/>
                <a:gd name="T32" fmla="*/ 332 w 685"/>
                <a:gd name="T33" fmla="*/ 137 h 657"/>
                <a:gd name="T34" fmla="*/ 399 w 685"/>
                <a:gd name="T35" fmla="*/ 159 h 657"/>
                <a:gd name="T36" fmla="*/ 424 w 685"/>
                <a:gd name="T37" fmla="*/ 210 h 657"/>
                <a:gd name="T38" fmla="*/ 415 w 685"/>
                <a:gd name="T39" fmla="*/ 240 h 657"/>
                <a:gd name="T40" fmla="*/ 358 w 685"/>
                <a:gd name="T41" fmla="*/ 394 h 657"/>
                <a:gd name="T42" fmla="*/ 309 w 685"/>
                <a:gd name="T43" fmla="*/ 394 h 657"/>
                <a:gd name="T44" fmla="*/ 309 w 685"/>
                <a:gd name="T45" fmla="*/ 345 h 657"/>
                <a:gd name="T46" fmla="*/ 358 w 685"/>
                <a:gd name="T47" fmla="*/ 345 h 657"/>
                <a:gd name="T48" fmla="*/ 358 w 685"/>
                <a:gd name="T49" fmla="*/ 394 h 657"/>
                <a:gd name="T50" fmla="*/ 584 w 685"/>
                <a:gd name="T51" fmla="*/ 82 h 657"/>
                <a:gd name="T52" fmla="*/ 343 w 685"/>
                <a:gd name="T53" fmla="*/ 0 h 657"/>
                <a:gd name="T54" fmla="*/ 101 w 685"/>
                <a:gd name="T55" fmla="*/ 82 h 657"/>
                <a:gd name="T56" fmla="*/ 0 w 685"/>
                <a:gd name="T57" fmla="*/ 283 h 657"/>
                <a:gd name="T58" fmla="*/ 101 w 685"/>
                <a:gd name="T59" fmla="*/ 484 h 657"/>
                <a:gd name="T60" fmla="*/ 343 w 685"/>
                <a:gd name="T61" fmla="*/ 565 h 657"/>
                <a:gd name="T62" fmla="*/ 411 w 685"/>
                <a:gd name="T63" fmla="*/ 560 h 657"/>
                <a:gd name="T64" fmla="*/ 497 w 685"/>
                <a:gd name="T65" fmla="*/ 653 h 657"/>
                <a:gd name="T66" fmla="*/ 507 w 685"/>
                <a:gd name="T67" fmla="*/ 657 h 657"/>
                <a:gd name="T68" fmla="*/ 512 w 685"/>
                <a:gd name="T69" fmla="*/ 657 h 657"/>
                <a:gd name="T70" fmla="*/ 521 w 685"/>
                <a:gd name="T71" fmla="*/ 644 h 657"/>
                <a:gd name="T72" fmla="*/ 521 w 685"/>
                <a:gd name="T73" fmla="*/ 524 h 657"/>
                <a:gd name="T74" fmla="*/ 584 w 685"/>
                <a:gd name="T75" fmla="*/ 484 h 657"/>
                <a:gd name="T76" fmla="*/ 685 w 685"/>
                <a:gd name="T77" fmla="*/ 283 h 657"/>
                <a:gd name="T78" fmla="*/ 584 w 685"/>
                <a:gd name="T79" fmla="*/ 82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85" h="657">
                  <a:moveTo>
                    <a:pt x="415" y="240"/>
                  </a:moveTo>
                  <a:cubicBezTo>
                    <a:pt x="409" y="250"/>
                    <a:pt x="396" y="263"/>
                    <a:pt x="376" y="280"/>
                  </a:cubicBezTo>
                  <a:cubicBezTo>
                    <a:pt x="365" y="288"/>
                    <a:pt x="359" y="295"/>
                    <a:pt x="356" y="300"/>
                  </a:cubicBezTo>
                  <a:cubicBezTo>
                    <a:pt x="354" y="306"/>
                    <a:pt x="353" y="315"/>
                    <a:pt x="353" y="328"/>
                  </a:cubicBezTo>
                  <a:cubicBezTo>
                    <a:pt x="309" y="328"/>
                    <a:pt x="309" y="328"/>
                    <a:pt x="309" y="328"/>
                  </a:cubicBezTo>
                  <a:cubicBezTo>
                    <a:pt x="309" y="322"/>
                    <a:pt x="309" y="318"/>
                    <a:pt x="309" y="317"/>
                  </a:cubicBezTo>
                  <a:cubicBezTo>
                    <a:pt x="309" y="302"/>
                    <a:pt x="311" y="291"/>
                    <a:pt x="316" y="281"/>
                  </a:cubicBezTo>
                  <a:cubicBezTo>
                    <a:pt x="320" y="272"/>
                    <a:pt x="330" y="262"/>
                    <a:pt x="344" y="250"/>
                  </a:cubicBezTo>
                  <a:cubicBezTo>
                    <a:pt x="358" y="238"/>
                    <a:pt x="367" y="231"/>
                    <a:pt x="370" y="227"/>
                  </a:cubicBezTo>
                  <a:cubicBezTo>
                    <a:pt x="374" y="222"/>
                    <a:pt x="376" y="215"/>
                    <a:pt x="376" y="208"/>
                  </a:cubicBezTo>
                  <a:cubicBezTo>
                    <a:pt x="376" y="199"/>
                    <a:pt x="372" y="191"/>
                    <a:pt x="365" y="184"/>
                  </a:cubicBezTo>
                  <a:cubicBezTo>
                    <a:pt x="357" y="177"/>
                    <a:pt x="347" y="174"/>
                    <a:pt x="334" y="174"/>
                  </a:cubicBezTo>
                  <a:cubicBezTo>
                    <a:pt x="322" y="174"/>
                    <a:pt x="311" y="177"/>
                    <a:pt x="303" y="184"/>
                  </a:cubicBezTo>
                  <a:cubicBezTo>
                    <a:pt x="295" y="192"/>
                    <a:pt x="289" y="202"/>
                    <a:pt x="286" y="217"/>
                  </a:cubicBezTo>
                  <a:cubicBezTo>
                    <a:pt x="241" y="211"/>
                    <a:pt x="241" y="211"/>
                    <a:pt x="241" y="211"/>
                  </a:cubicBezTo>
                  <a:cubicBezTo>
                    <a:pt x="242" y="190"/>
                    <a:pt x="251" y="173"/>
                    <a:pt x="267" y="158"/>
                  </a:cubicBezTo>
                  <a:cubicBezTo>
                    <a:pt x="284" y="144"/>
                    <a:pt x="305" y="137"/>
                    <a:pt x="332" y="137"/>
                  </a:cubicBezTo>
                  <a:cubicBezTo>
                    <a:pt x="360" y="137"/>
                    <a:pt x="382" y="144"/>
                    <a:pt x="399" y="159"/>
                  </a:cubicBezTo>
                  <a:cubicBezTo>
                    <a:pt x="416" y="173"/>
                    <a:pt x="424" y="190"/>
                    <a:pt x="424" y="210"/>
                  </a:cubicBezTo>
                  <a:cubicBezTo>
                    <a:pt x="424" y="221"/>
                    <a:pt x="421" y="231"/>
                    <a:pt x="415" y="240"/>
                  </a:cubicBezTo>
                  <a:moveTo>
                    <a:pt x="358" y="394"/>
                  </a:moveTo>
                  <a:cubicBezTo>
                    <a:pt x="309" y="394"/>
                    <a:pt x="309" y="394"/>
                    <a:pt x="309" y="394"/>
                  </a:cubicBezTo>
                  <a:cubicBezTo>
                    <a:pt x="309" y="345"/>
                    <a:pt x="309" y="345"/>
                    <a:pt x="309" y="345"/>
                  </a:cubicBezTo>
                  <a:cubicBezTo>
                    <a:pt x="358" y="345"/>
                    <a:pt x="358" y="345"/>
                    <a:pt x="358" y="345"/>
                  </a:cubicBezTo>
                  <a:lnTo>
                    <a:pt x="358" y="394"/>
                  </a:lnTo>
                  <a:close/>
                  <a:moveTo>
                    <a:pt x="584" y="82"/>
                  </a:moveTo>
                  <a:cubicBezTo>
                    <a:pt x="520" y="29"/>
                    <a:pt x="434" y="0"/>
                    <a:pt x="343" y="0"/>
                  </a:cubicBezTo>
                  <a:cubicBezTo>
                    <a:pt x="252" y="0"/>
                    <a:pt x="166" y="29"/>
                    <a:pt x="101" y="82"/>
                  </a:cubicBezTo>
                  <a:cubicBezTo>
                    <a:pt x="36" y="136"/>
                    <a:pt x="0" y="207"/>
                    <a:pt x="0" y="283"/>
                  </a:cubicBezTo>
                  <a:cubicBezTo>
                    <a:pt x="0" y="359"/>
                    <a:pt x="36" y="430"/>
                    <a:pt x="101" y="484"/>
                  </a:cubicBezTo>
                  <a:cubicBezTo>
                    <a:pt x="166" y="536"/>
                    <a:pt x="252" y="565"/>
                    <a:pt x="343" y="565"/>
                  </a:cubicBezTo>
                  <a:cubicBezTo>
                    <a:pt x="366" y="565"/>
                    <a:pt x="389" y="564"/>
                    <a:pt x="411" y="560"/>
                  </a:cubicBezTo>
                  <a:cubicBezTo>
                    <a:pt x="497" y="653"/>
                    <a:pt x="497" y="653"/>
                    <a:pt x="497" y="653"/>
                  </a:cubicBezTo>
                  <a:cubicBezTo>
                    <a:pt x="500" y="656"/>
                    <a:pt x="504" y="657"/>
                    <a:pt x="507" y="657"/>
                  </a:cubicBezTo>
                  <a:cubicBezTo>
                    <a:pt x="509" y="657"/>
                    <a:pt x="511" y="657"/>
                    <a:pt x="512" y="657"/>
                  </a:cubicBezTo>
                  <a:cubicBezTo>
                    <a:pt x="518" y="654"/>
                    <a:pt x="521" y="649"/>
                    <a:pt x="521" y="644"/>
                  </a:cubicBezTo>
                  <a:cubicBezTo>
                    <a:pt x="521" y="524"/>
                    <a:pt x="521" y="524"/>
                    <a:pt x="521" y="524"/>
                  </a:cubicBezTo>
                  <a:cubicBezTo>
                    <a:pt x="544" y="513"/>
                    <a:pt x="565" y="499"/>
                    <a:pt x="584" y="484"/>
                  </a:cubicBezTo>
                  <a:cubicBezTo>
                    <a:pt x="649" y="430"/>
                    <a:pt x="685" y="359"/>
                    <a:pt x="685" y="283"/>
                  </a:cubicBezTo>
                  <a:cubicBezTo>
                    <a:pt x="685" y="207"/>
                    <a:pt x="649" y="136"/>
                    <a:pt x="584" y="82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sz="1783"/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745" y="1590"/>
              <a:ext cx="1603" cy="1560"/>
            </a:xfrm>
            <a:custGeom>
              <a:avLst/>
              <a:gdLst>
                <a:gd name="T0" fmla="*/ 499 w 677"/>
                <a:gd name="T1" fmla="*/ 316 h 658"/>
                <a:gd name="T2" fmla="*/ 457 w 677"/>
                <a:gd name="T3" fmla="*/ 275 h 658"/>
                <a:gd name="T4" fmla="*/ 499 w 677"/>
                <a:gd name="T5" fmla="*/ 234 h 658"/>
                <a:gd name="T6" fmla="*/ 540 w 677"/>
                <a:gd name="T7" fmla="*/ 275 h 658"/>
                <a:gd name="T8" fmla="*/ 499 w 677"/>
                <a:gd name="T9" fmla="*/ 316 h 658"/>
                <a:gd name="T10" fmla="*/ 335 w 677"/>
                <a:gd name="T11" fmla="*/ 316 h 658"/>
                <a:gd name="T12" fmla="*/ 293 w 677"/>
                <a:gd name="T13" fmla="*/ 275 h 658"/>
                <a:gd name="T14" fmla="*/ 335 w 677"/>
                <a:gd name="T15" fmla="*/ 234 h 658"/>
                <a:gd name="T16" fmla="*/ 376 w 677"/>
                <a:gd name="T17" fmla="*/ 275 h 658"/>
                <a:gd name="T18" fmla="*/ 335 w 677"/>
                <a:gd name="T19" fmla="*/ 316 h 658"/>
                <a:gd name="T20" fmla="*/ 170 w 677"/>
                <a:gd name="T21" fmla="*/ 316 h 658"/>
                <a:gd name="T22" fmla="*/ 129 w 677"/>
                <a:gd name="T23" fmla="*/ 275 h 658"/>
                <a:gd name="T24" fmla="*/ 170 w 677"/>
                <a:gd name="T25" fmla="*/ 234 h 658"/>
                <a:gd name="T26" fmla="*/ 211 w 677"/>
                <a:gd name="T27" fmla="*/ 275 h 658"/>
                <a:gd name="T28" fmla="*/ 170 w 677"/>
                <a:gd name="T29" fmla="*/ 316 h 658"/>
                <a:gd name="T30" fmla="*/ 575 w 677"/>
                <a:gd name="T31" fmla="*/ 82 h 658"/>
                <a:gd name="T32" fmla="*/ 334 w 677"/>
                <a:gd name="T33" fmla="*/ 0 h 658"/>
                <a:gd name="T34" fmla="*/ 126 w 677"/>
                <a:gd name="T35" fmla="*/ 59 h 658"/>
                <a:gd name="T36" fmla="*/ 129 w 677"/>
                <a:gd name="T37" fmla="*/ 104 h 658"/>
                <a:gd name="T38" fmla="*/ 14 w 677"/>
                <a:gd name="T39" fmla="*/ 335 h 658"/>
                <a:gd name="T40" fmla="*/ 0 w 677"/>
                <a:gd name="T41" fmla="*/ 345 h 658"/>
                <a:gd name="T42" fmla="*/ 93 w 677"/>
                <a:gd name="T43" fmla="*/ 484 h 658"/>
                <a:gd name="T44" fmla="*/ 156 w 677"/>
                <a:gd name="T45" fmla="*/ 524 h 658"/>
                <a:gd name="T46" fmla="*/ 156 w 677"/>
                <a:gd name="T47" fmla="*/ 644 h 658"/>
                <a:gd name="T48" fmla="*/ 164 w 677"/>
                <a:gd name="T49" fmla="*/ 657 h 658"/>
                <a:gd name="T50" fmla="*/ 169 w 677"/>
                <a:gd name="T51" fmla="*/ 658 h 658"/>
                <a:gd name="T52" fmla="*/ 180 w 677"/>
                <a:gd name="T53" fmla="*/ 653 h 658"/>
                <a:gd name="T54" fmla="*/ 266 w 677"/>
                <a:gd name="T55" fmla="*/ 560 h 658"/>
                <a:gd name="T56" fmla="*/ 334 w 677"/>
                <a:gd name="T57" fmla="*/ 565 h 658"/>
                <a:gd name="T58" fmla="*/ 575 w 677"/>
                <a:gd name="T59" fmla="*/ 484 h 658"/>
                <a:gd name="T60" fmla="*/ 677 w 677"/>
                <a:gd name="T61" fmla="*/ 283 h 658"/>
                <a:gd name="T62" fmla="*/ 575 w 677"/>
                <a:gd name="T63" fmla="*/ 82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77" h="658">
                  <a:moveTo>
                    <a:pt x="499" y="316"/>
                  </a:moveTo>
                  <a:cubicBezTo>
                    <a:pt x="476" y="316"/>
                    <a:pt x="457" y="298"/>
                    <a:pt x="457" y="275"/>
                  </a:cubicBezTo>
                  <a:cubicBezTo>
                    <a:pt x="457" y="252"/>
                    <a:pt x="476" y="234"/>
                    <a:pt x="499" y="234"/>
                  </a:cubicBezTo>
                  <a:cubicBezTo>
                    <a:pt x="521" y="234"/>
                    <a:pt x="540" y="252"/>
                    <a:pt x="540" y="275"/>
                  </a:cubicBezTo>
                  <a:cubicBezTo>
                    <a:pt x="540" y="298"/>
                    <a:pt x="521" y="316"/>
                    <a:pt x="499" y="316"/>
                  </a:cubicBezTo>
                  <a:moveTo>
                    <a:pt x="335" y="316"/>
                  </a:moveTo>
                  <a:cubicBezTo>
                    <a:pt x="312" y="316"/>
                    <a:pt x="293" y="298"/>
                    <a:pt x="293" y="275"/>
                  </a:cubicBezTo>
                  <a:cubicBezTo>
                    <a:pt x="293" y="252"/>
                    <a:pt x="312" y="234"/>
                    <a:pt x="335" y="234"/>
                  </a:cubicBezTo>
                  <a:cubicBezTo>
                    <a:pt x="357" y="234"/>
                    <a:pt x="376" y="252"/>
                    <a:pt x="376" y="275"/>
                  </a:cubicBezTo>
                  <a:cubicBezTo>
                    <a:pt x="376" y="298"/>
                    <a:pt x="357" y="316"/>
                    <a:pt x="335" y="316"/>
                  </a:cubicBezTo>
                  <a:moveTo>
                    <a:pt x="170" y="316"/>
                  </a:moveTo>
                  <a:cubicBezTo>
                    <a:pt x="147" y="316"/>
                    <a:pt x="129" y="298"/>
                    <a:pt x="129" y="275"/>
                  </a:cubicBezTo>
                  <a:cubicBezTo>
                    <a:pt x="129" y="252"/>
                    <a:pt x="147" y="234"/>
                    <a:pt x="170" y="234"/>
                  </a:cubicBezTo>
                  <a:cubicBezTo>
                    <a:pt x="192" y="234"/>
                    <a:pt x="211" y="252"/>
                    <a:pt x="211" y="275"/>
                  </a:cubicBezTo>
                  <a:cubicBezTo>
                    <a:pt x="211" y="298"/>
                    <a:pt x="192" y="316"/>
                    <a:pt x="170" y="316"/>
                  </a:cubicBezTo>
                  <a:moveTo>
                    <a:pt x="575" y="82"/>
                  </a:moveTo>
                  <a:cubicBezTo>
                    <a:pt x="511" y="29"/>
                    <a:pt x="425" y="0"/>
                    <a:pt x="334" y="0"/>
                  </a:cubicBezTo>
                  <a:cubicBezTo>
                    <a:pt x="258" y="0"/>
                    <a:pt x="185" y="21"/>
                    <a:pt x="126" y="59"/>
                  </a:cubicBezTo>
                  <a:cubicBezTo>
                    <a:pt x="128" y="73"/>
                    <a:pt x="129" y="89"/>
                    <a:pt x="129" y="104"/>
                  </a:cubicBezTo>
                  <a:cubicBezTo>
                    <a:pt x="129" y="192"/>
                    <a:pt x="88" y="274"/>
                    <a:pt x="14" y="335"/>
                  </a:cubicBezTo>
                  <a:cubicBezTo>
                    <a:pt x="9" y="338"/>
                    <a:pt x="5" y="342"/>
                    <a:pt x="0" y="345"/>
                  </a:cubicBezTo>
                  <a:cubicBezTo>
                    <a:pt x="14" y="397"/>
                    <a:pt x="46" y="445"/>
                    <a:pt x="93" y="484"/>
                  </a:cubicBezTo>
                  <a:cubicBezTo>
                    <a:pt x="112" y="499"/>
                    <a:pt x="133" y="513"/>
                    <a:pt x="156" y="524"/>
                  </a:cubicBezTo>
                  <a:cubicBezTo>
                    <a:pt x="156" y="644"/>
                    <a:pt x="156" y="644"/>
                    <a:pt x="156" y="644"/>
                  </a:cubicBezTo>
                  <a:cubicBezTo>
                    <a:pt x="156" y="649"/>
                    <a:pt x="159" y="655"/>
                    <a:pt x="164" y="657"/>
                  </a:cubicBezTo>
                  <a:cubicBezTo>
                    <a:pt x="166" y="657"/>
                    <a:pt x="168" y="658"/>
                    <a:pt x="169" y="658"/>
                  </a:cubicBezTo>
                  <a:cubicBezTo>
                    <a:pt x="173" y="658"/>
                    <a:pt x="177" y="656"/>
                    <a:pt x="180" y="653"/>
                  </a:cubicBezTo>
                  <a:cubicBezTo>
                    <a:pt x="266" y="560"/>
                    <a:pt x="266" y="560"/>
                    <a:pt x="266" y="560"/>
                  </a:cubicBezTo>
                  <a:cubicBezTo>
                    <a:pt x="288" y="564"/>
                    <a:pt x="311" y="565"/>
                    <a:pt x="334" y="565"/>
                  </a:cubicBezTo>
                  <a:cubicBezTo>
                    <a:pt x="425" y="565"/>
                    <a:pt x="511" y="536"/>
                    <a:pt x="575" y="484"/>
                  </a:cubicBezTo>
                  <a:cubicBezTo>
                    <a:pt x="641" y="430"/>
                    <a:pt x="677" y="359"/>
                    <a:pt x="677" y="283"/>
                  </a:cubicBezTo>
                  <a:cubicBezTo>
                    <a:pt x="677" y="207"/>
                    <a:pt x="641" y="136"/>
                    <a:pt x="575" y="82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sz="1783"/>
            </a:p>
          </p:txBody>
        </p:sp>
      </p:grpSp>
      <p:sp>
        <p:nvSpPr>
          <p:cNvPr id="6" name="Rectangle 5"/>
          <p:cNvSpPr/>
          <p:nvPr userDrawn="1"/>
        </p:nvSpPr>
        <p:spPr bwMode="white">
          <a:xfrm>
            <a:off x="0" y="6316672"/>
            <a:ext cx="12192000" cy="54133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83"/>
          </a:p>
        </p:txBody>
      </p:sp>
    </p:spTree>
    <p:extLst>
      <p:ext uri="{BB962C8B-B14F-4D97-AF65-F5344CB8AC3E}">
        <p14:creationId xmlns:p14="http://schemas.microsoft.com/office/powerpoint/2010/main" val="272941596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ltGray">
          <a:xfrm flipH="1">
            <a:off x="0" y="1800000"/>
            <a:ext cx="12192000" cy="50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83"/>
          </a:p>
        </p:txBody>
      </p:sp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>
          <a:xfrm>
            <a:off x="720000" y="2237472"/>
            <a:ext cx="10752000" cy="83099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5940">
                <a:solidFill>
                  <a:schemeClr val="bg1"/>
                </a:solidFill>
              </a:defRPr>
            </a:lvl1pPr>
          </a:lstStyle>
          <a:p>
            <a:r>
              <a:rPr lang="es-ES"/>
              <a:t>Add title</a:t>
            </a:r>
          </a:p>
        </p:txBody>
      </p:sp>
      <p:pic>
        <p:nvPicPr>
          <p:cNvPr id="3" name="sLogo">
            <a:extLst>
              <a:ext uri="{FF2B5EF4-FFF2-40B4-BE49-F238E27FC236}">
                <a16:creationId xmlns:a16="http://schemas.microsoft.com/office/drawing/2014/main" id="{17FDFA41-930C-48FD-9776-C0D284E842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8000" y="396000"/>
            <a:ext cx="3420000" cy="361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66663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roving Qua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099427" y="6408009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pPr/>
              <a:t>05/10/2025</a:t>
            </a:fld>
            <a:endParaRPr lang="es-E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319588" y="6408009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6" name="TextBox 5"/>
          <p:cNvSpPr txBox="1"/>
          <p:nvPr userDrawn="1"/>
        </p:nvSpPr>
        <p:spPr>
          <a:xfrm>
            <a:off x="540000" y="2792243"/>
            <a:ext cx="6084011" cy="122084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4405"/>
              </a:lnSpc>
            </a:pPr>
            <a:r>
              <a:rPr lang="es-ES" sz="4356">
                <a:solidFill>
                  <a:srgbClr val="000000"/>
                </a:solidFill>
                <a:latin typeface="Arial"/>
                <a:cs typeface="Arial"/>
              </a:rPr>
              <a:t>Arcadis.</a:t>
            </a:r>
          </a:p>
          <a:p>
            <a:pPr>
              <a:lnSpc>
                <a:spcPts val="4405"/>
              </a:lnSpc>
            </a:pPr>
            <a:r>
              <a:rPr lang="es-ES" sz="4356" err="1">
                <a:solidFill>
                  <a:srgbClr val="E4610F"/>
                </a:solidFill>
                <a:latin typeface="Arial"/>
                <a:cs typeface="Arial"/>
              </a:rPr>
              <a:t>Improving</a:t>
            </a:r>
            <a:r>
              <a:rPr lang="es-ES" sz="4356">
                <a:solidFill>
                  <a:srgbClr val="E4610F"/>
                </a:solidFill>
                <a:latin typeface="Arial"/>
                <a:cs typeface="Arial"/>
              </a:rPr>
              <a:t> </a:t>
            </a:r>
            <a:r>
              <a:rPr lang="es-ES" sz="4356" err="1">
                <a:solidFill>
                  <a:srgbClr val="E4610F"/>
                </a:solidFill>
                <a:latin typeface="Arial"/>
                <a:cs typeface="Arial"/>
              </a:rPr>
              <a:t>quality</a:t>
            </a:r>
            <a:r>
              <a:rPr lang="es-ES" sz="4356">
                <a:solidFill>
                  <a:srgbClr val="E4610F"/>
                </a:solidFill>
                <a:latin typeface="Arial"/>
                <a:cs typeface="Arial"/>
              </a:rPr>
              <a:t> </a:t>
            </a:r>
            <a:r>
              <a:rPr lang="es-ES" sz="4356" err="1">
                <a:solidFill>
                  <a:srgbClr val="E4610F"/>
                </a:solidFill>
                <a:latin typeface="Arial"/>
                <a:cs typeface="Arial"/>
              </a:rPr>
              <a:t>of</a:t>
            </a:r>
            <a:r>
              <a:rPr lang="es-ES" sz="4356">
                <a:solidFill>
                  <a:srgbClr val="E4610F"/>
                </a:solidFill>
                <a:latin typeface="Arial"/>
                <a:cs typeface="Arial"/>
              </a:rPr>
              <a:t> </a:t>
            </a:r>
            <a:r>
              <a:rPr lang="es-ES" sz="4356" err="1">
                <a:solidFill>
                  <a:srgbClr val="E4610F"/>
                </a:solidFill>
                <a:latin typeface="Arial"/>
                <a:cs typeface="Arial"/>
              </a:rPr>
              <a:t>life</a:t>
            </a:r>
            <a:r>
              <a:rPr lang="es-ES" sz="4356">
                <a:solidFill>
                  <a:srgbClr val="E4610F"/>
                </a:solidFill>
                <a:latin typeface="Arial"/>
                <a:cs typeface="Arial"/>
              </a:rPr>
              <a:t>.</a:t>
            </a:r>
          </a:p>
        </p:txBody>
      </p: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24B95631-314D-4621-869A-240677BEFBBA}"/>
              </a:ext>
            </a:extLst>
          </p:cNvPr>
          <p:cNvCxnSpPr>
            <a:cxnSpLocks/>
          </p:cNvCxnSpPr>
          <p:nvPr userDrawn="1"/>
        </p:nvCxnSpPr>
        <p:spPr>
          <a:xfrm>
            <a:off x="1451144" y="6529985"/>
            <a:ext cx="1074085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814809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8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800000"/>
            <a:ext cx="12192000" cy="50580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s-ES"/>
              <a:t> </a:t>
            </a:r>
          </a:p>
          <a:p>
            <a:r>
              <a:rPr lang="es-ES"/>
              <a:t> </a:t>
            </a:r>
          </a:p>
          <a:p>
            <a:endParaRPr lang="es-ES"/>
          </a:p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icon</a:t>
            </a:r>
            <a:r>
              <a:rPr lang="es-ES"/>
              <a:t> to </a:t>
            </a:r>
            <a:r>
              <a:rPr lang="es-ES" err="1"/>
              <a:t>add</a:t>
            </a:r>
            <a:r>
              <a:rPr lang="es-ES"/>
              <a:t> </a:t>
            </a:r>
            <a:r>
              <a:rPr lang="es-ES" err="1"/>
              <a:t>picture</a:t>
            </a:r>
            <a:endParaRPr lang="es-ES"/>
          </a:p>
          <a:p>
            <a:endParaRPr lang="es-E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3" hasCustomPrompt="1"/>
          </p:nvPr>
        </p:nvSpPr>
        <p:spPr bwMode="ltGray">
          <a:xfrm flipH="1">
            <a:off x="540000" y="2070000"/>
            <a:ext cx="11086850" cy="1620000"/>
          </a:xfrm>
          <a:prstGeom prst="snip1Rect">
            <a:avLst>
              <a:gd name="adj" fmla="val 17843"/>
            </a:avLst>
          </a:prstGeom>
          <a:solidFill>
            <a:schemeClr val="accent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s-ES"/>
              <a:t> 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4" hasCustomPrompt="1"/>
          </p:nvPr>
        </p:nvSpPr>
        <p:spPr>
          <a:xfrm flipH="1">
            <a:off x="540000" y="2070000"/>
            <a:ext cx="288000" cy="288000"/>
          </a:xfrm>
          <a:prstGeom prst="rtTriangle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s-ES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63998" y="2330912"/>
            <a:ext cx="9946800" cy="49859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90000"/>
              </a:lnSpc>
              <a:spcAft>
                <a:spcPts val="0"/>
              </a:spcAft>
              <a:defRPr sz="3573" b="1" cap="all" baseline="0">
                <a:solidFill>
                  <a:schemeClr val="bg1"/>
                </a:solidFill>
              </a:defRPr>
            </a:lvl1pPr>
          </a:lstStyle>
          <a:p>
            <a:r>
              <a:rPr lang="es-ES" err="1"/>
              <a:t>Add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63998" y="2825014"/>
            <a:ext cx="9946800" cy="6647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382">
                <a:solidFill>
                  <a:schemeClr val="bg1"/>
                </a:solidFill>
              </a:defRPr>
            </a:lvl1pPr>
            <a:lvl2pPr marL="4537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075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1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151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688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226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76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302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Add subtitle</a:t>
            </a:r>
          </a:p>
        </p:txBody>
      </p:sp>
      <p:pic>
        <p:nvPicPr>
          <p:cNvPr id="5" name="sLogo">
            <a:extLst>
              <a:ext uri="{FF2B5EF4-FFF2-40B4-BE49-F238E27FC236}">
                <a16:creationId xmlns:a16="http://schemas.microsoft.com/office/drawing/2014/main" id="{68486EC4-168A-402F-9CA3-705ED75AFD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8000" y="396000"/>
            <a:ext cx="3420000" cy="361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00491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preserve="1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753" y="1656001"/>
            <a:ext cx="11087100" cy="386732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099427" y="6408007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t>05/10/2025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19588" y="6408007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85653" y="6408007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t>‹#›</a:t>
            </a:fld>
            <a:endParaRPr lang="es-E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539750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85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7980" indent="0">
              <a:buNone/>
              <a:defRPr/>
            </a:lvl3pPr>
            <a:lvl4pPr marL="535960" indent="0">
              <a:buNone/>
              <a:defRPr/>
            </a:lvl4pPr>
            <a:lvl5pPr marL="803940" indent="0">
              <a:buNone/>
              <a:defRPr/>
            </a:lvl5pPr>
          </a:lstStyle>
          <a:p>
            <a:pPr lvl="0"/>
            <a:r>
              <a:rPr lang="es-ES"/>
              <a:t>Click to add kicker or ‘so what’. Delete if not required.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>
          <a:xfrm>
            <a:off x="539753" y="950400"/>
            <a:ext cx="11087100" cy="49859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s-ES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412157470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3" y="950400"/>
            <a:ext cx="11087100" cy="498598"/>
          </a:xfrm>
          <a:prstGeom prst="rect">
            <a:avLst/>
          </a:prstGeom>
        </p:spPr>
        <p:txBody>
          <a:bodyPr/>
          <a:lstStyle>
            <a:lvl1pPr>
              <a:defRPr b="0">
                <a:latin typeface="Arial Nova Light" panose="020B0304020202020204" pitchFamily="34" charset="0"/>
              </a:defRPr>
            </a:lvl1pPr>
          </a:lstStyle>
          <a:p>
            <a:r>
              <a:rPr lang="es-ES"/>
              <a:t>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749" y="2358900"/>
            <a:ext cx="11087099" cy="3159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 Nova Light" panose="020B0304020202020204" pitchFamily="34" charset="0"/>
              </a:defRPr>
            </a:lvl1pPr>
            <a:lvl2pPr>
              <a:defRPr>
                <a:latin typeface="Arial Nova Light" panose="020B0304020202020204" pitchFamily="34" charset="0"/>
              </a:defRPr>
            </a:lvl2pPr>
            <a:lvl3pPr>
              <a:defRPr>
                <a:latin typeface="Arial Nova Light" panose="020B0304020202020204" pitchFamily="34" charset="0"/>
              </a:defRPr>
            </a:lvl3pPr>
            <a:lvl4pPr>
              <a:defRPr>
                <a:latin typeface="Arial Nova Light" panose="020B0304020202020204" pitchFamily="34" charset="0"/>
              </a:defRPr>
            </a:lvl4pPr>
            <a:lvl5pPr>
              <a:defRPr>
                <a:latin typeface="Arial Nova Light" panose="020B0304020202020204" pitchFamily="34" charset="0"/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099427" y="6408007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t>05/10/2025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19588" y="6408007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85653" y="6408007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t>‹#›</a:t>
            </a:fld>
            <a:endParaRPr lang="es-ES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3" y="1477756"/>
            <a:ext cx="11087100" cy="6093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185">
                <a:latin typeface="Arial Nova Light" panose="020B0304020202020204" pitchFamily="34" charset="0"/>
              </a:defRPr>
            </a:lvl1pPr>
            <a:lvl5pPr>
              <a:defRPr/>
            </a:lvl5pPr>
          </a:lstStyle>
          <a:p>
            <a:pPr lvl="0"/>
            <a:r>
              <a:rPr lang="es-ES" err="1"/>
              <a:t>Add</a:t>
            </a:r>
            <a:r>
              <a:rPr lang="es-ES"/>
              <a:t> </a:t>
            </a:r>
            <a:r>
              <a:rPr lang="es-ES" err="1"/>
              <a:t>subtitle</a:t>
            </a:r>
            <a:endParaRPr lang="es-E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 bwMode="ltGray">
          <a:xfrm>
            <a:off x="539750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85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7980" indent="0">
              <a:buNone/>
              <a:defRPr/>
            </a:lvl3pPr>
            <a:lvl4pPr marL="535960" indent="0">
              <a:buNone/>
              <a:defRPr/>
            </a:lvl4pPr>
            <a:lvl5pPr marL="803940" indent="0">
              <a:buNone/>
              <a:defRPr/>
            </a:lvl5pPr>
          </a:lstStyle>
          <a:p>
            <a:pPr lvl="0"/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add</a:t>
            </a:r>
            <a:r>
              <a:rPr lang="es-ES"/>
              <a:t> </a:t>
            </a:r>
            <a:r>
              <a:rPr lang="es-ES" err="1"/>
              <a:t>kicker</a:t>
            </a:r>
            <a:r>
              <a:rPr lang="es-ES"/>
              <a:t> </a:t>
            </a:r>
            <a:r>
              <a:rPr lang="es-ES" err="1"/>
              <a:t>or</a:t>
            </a:r>
            <a:r>
              <a:rPr lang="es-ES"/>
              <a:t> ‘so </a:t>
            </a:r>
            <a:r>
              <a:rPr lang="es-ES" err="1"/>
              <a:t>what</a:t>
            </a:r>
            <a:r>
              <a:rPr lang="es-ES"/>
              <a:t>’. </a:t>
            </a:r>
            <a:r>
              <a:rPr lang="es-ES" err="1"/>
              <a:t>Delete</a:t>
            </a:r>
            <a:r>
              <a:rPr lang="es-ES"/>
              <a:t> </a:t>
            </a:r>
            <a:r>
              <a:rPr lang="es-ES" err="1"/>
              <a:t>if</a:t>
            </a:r>
            <a:r>
              <a:rPr lang="es-ES"/>
              <a:t> </a:t>
            </a:r>
            <a:r>
              <a:rPr lang="es-ES" err="1"/>
              <a:t>not</a:t>
            </a:r>
            <a:r>
              <a:rPr lang="es-ES"/>
              <a:t> </a:t>
            </a:r>
            <a:r>
              <a:rPr lang="es-ES" err="1"/>
              <a:t>required</a:t>
            </a:r>
            <a:r>
              <a:rPr lang="es-E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1731858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3" y="950400"/>
            <a:ext cx="11087100" cy="498598"/>
          </a:xfrm>
          <a:prstGeom prst="rect">
            <a:avLst/>
          </a:prstGeom>
        </p:spPr>
        <p:txBody>
          <a:bodyPr/>
          <a:lstStyle/>
          <a:p>
            <a:r>
              <a:rPr lang="es-ES" err="1"/>
              <a:t>Add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9753" y="1656001"/>
            <a:ext cx="5418137" cy="38621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87"/>
            </a:lvl1pPr>
            <a:lvl2pPr>
              <a:defRPr sz="1588"/>
            </a:lvl2pPr>
            <a:lvl3pPr>
              <a:defRPr sz="1391"/>
            </a:lvl3pPr>
            <a:lvl4pPr>
              <a:defRPr sz="1191"/>
            </a:lvl4pPr>
            <a:lvl5pPr>
              <a:defRPr sz="1191"/>
            </a:lvl5pPr>
            <a:lvl6pPr>
              <a:defRPr sz="1191"/>
            </a:lvl6pPr>
            <a:lvl7pPr>
              <a:defRPr sz="1191" baseline="0"/>
            </a:lvl7pPr>
            <a:lvl8pPr>
              <a:defRPr sz="1191" baseline="0"/>
            </a:lvl8pPr>
            <a:lvl9pPr>
              <a:defRPr sz="1191" baseline="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8713" y="1656001"/>
            <a:ext cx="5418136" cy="38621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87"/>
            </a:lvl1pPr>
            <a:lvl2pPr>
              <a:defRPr sz="1588"/>
            </a:lvl2pPr>
            <a:lvl3pPr>
              <a:defRPr sz="1391"/>
            </a:lvl3pPr>
            <a:lvl4pPr>
              <a:defRPr sz="1191"/>
            </a:lvl4pPr>
            <a:lvl5pPr>
              <a:defRPr sz="1191"/>
            </a:lvl5pPr>
            <a:lvl6pPr>
              <a:defRPr sz="1191"/>
            </a:lvl6pPr>
            <a:lvl7pPr>
              <a:defRPr sz="1191"/>
            </a:lvl7pPr>
            <a:lvl8pPr>
              <a:defRPr sz="1191"/>
            </a:lvl8pPr>
            <a:lvl9pPr>
              <a:defRPr sz="119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099427" y="6408007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t>05/10/2025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319588" y="6408007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385653" y="6408007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t>‹#›</a:t>
            </a:fld>
            <a:endParaRPr lang="es-ES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539750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85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7980" indent="0">
              <a:buNone/>
              <a:defRPr/>
            </a:lvl3pPr>
            <a:lvl4pPr marL="535960" indent="0">
              <a:buNone/>
              <a:defRPr/>
            </a:lvl4pPr>
            <a:lvl5pPr marL="803940" indent="0">
              <a:buNone/>
              <a:defRPr/>
            </a:lvl5pPr>
          </a:lstStyle>
          <a:p>
            <a:pPr lvl="0"/>
            <a:r>
              <a:rPr lang="es-ES"/>
              <a:t>Click to add kicker or ‘so what’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168736716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2 Content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3" y="950400"/>
            <a:ext cx="11087100" cy="49859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s-ES"/>
              <a:t>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9750" y="1540265"/>
            <a:ext cx="5418138" cy="33239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787" b="1">
                <a:solidFill>
                  <a:schemeClr val="accent1"/>
                </a:solidFill>
              </a:defRPr>
            </a:lvl1pPr>
            <a:lvl2pPr marL="453780" indent="0">
              <a:buNone/>
              <a:defRPr sz="1985" b="1"/>
            </a:lvl2pPr>
            <a:lvl3pPr marL="907559" indent="0">
              <a:buNone/>
              <a:defRPr sz="1787" b="1"/>
            </a:lvl3pPr>
            <a:lvl4pPr marL="1361339" indent="0">
              <a:buNone/>
              <a:defRPr sz="1588" b="1"/>
            </a:lvl4pPr>
            <a:lvl5pPr marL="1815118" indent="0">
              <a:buNone/>
              <a:defRPr sz="1588" b="1"/>
            </a:lvl5pPr>
            <a:lvl6pPr marL="2268898" indent="0">
              <a:buNone/>
              <a:defRPr sz="1588" b="1"/>
            </a:lvl6pPr>
            <a:lvl7pPr marL="2722677" indent="0">
              <a:buNone/>
              <a:defRPr sz="1588" b="1"/>
            </a:lvl7pPr>
            <a:lvl8pPr marL="3176457" indent="0">
              <a:buNone/>
              <a:defRPr sz="1588" b="1"/>
            </a:lvl8pPr>
            <a:lvl9pPr marL="3630237" indent="0">
              <a:buNone/>
              <a:defRPr sz="1588" b="1"/>
            </a:lvl9pPr>
          </a:lstStyle>
          <a:p>
            <a:pPr lvl="0"/>
            <a:r>
              <a:rPr lang="es-ES"/>
              <a:t>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9750" y="1872658"/>
            <a:ext cx="5418138" cy="364549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87"/>
            </a:lvl1pPr>
            <a:lvl2pPr>
              <a:defRPr sz="1588"/>
            </a:lvl2pPr>
            <a:lvl3pPr>
              <a:defRPr sz="1391"/>
            </a:lvl3pPr>
            <a:lvl4pPr>
              <a:defRPr sz="1191"/>
            </a:lvl4pPr>
            <a:lvl5pPr>
              <a:defRPr sz="1191"/>
            </a:lvl5pPr>
            <a:lvl6pPr>
              <a:defRPr sz="1191"/>
            </a:lvl6pPr>
            <a:lvl7pPr>
              <a:defRPr sz="1191"/>
            </a:lvl7pPr>
            <a:lvl8pPr>
              <a:defRPr sz="1191"/>
            </a:lvl8pPr>
            <a:lvl9pPr>
              <a:defRPr sz="1191" baseline="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08717" y="1541369"/>
            <a:ext cx="5418135" cy="33239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787" b="1">
                <a:solidFill>
                  <a:schemeClr val="accent1"/>
                </a:solidFill>
              </a:defRPr>
            </a:lvl1pPr>
            <a:lvl2pPr marL="453780" indent="0">
              <a:buNone/>
              <a:defRPr sz="1985" b="1"/>
            </a:lvl2pPr>
            <a:lvl3pPr marL="907559" indent="0">
              <a:buNone/>
              <a:defRPr sz="1787" b="1"/>
            </a:lvl3pPr>
            <a:lvl4pPr marL="1361339" indent="0">
              <a:buNone/>
              <a:defRPr sz="1588" b="1"/>
            </a:lvl4pPr>
            <a:lvl5pPr marL="1815118" indent="0">
              <a:buNone/>
              <a:defRPr sz="1588" b="1"/>
            </a:lvl5pPr>
            <a:lvl6pPr marL="2268898" indent="0">
              <a:buNone/>
              <a:defRPr sz="1588" b="1"/>
            </a:lvl6pPr>
            <a:lvl7pPr marL="2722677" indent="0">
              <a:buNone/>
              <a:defRPr sz="1588" b="1"/>
            </a:lvl7pPr>
            <a:lvl8pPr marL="3176457" indent="0">
              <a:buNone/>
              <a:defRPr sz="1588" b="1"/>
            </a:lvl8pPr>
            <a:lvl9pPr marL="3630237" indent="0">
              <a:buNone/>
              <a:defRPr sz="1588" b="1"/>
            </a:lvl9pPr>
          </a:lstStyle>
          <a:p>
            <a:pPr lvl="0"/>
            <a:r>
              <a:rPr lang="es-ES"/>
              <a:t>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08714" y="1872659"/>
            <a:ext cx="5418136" cy="364549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87"/>
            </a:lvl1pPr>
            <a:lvl2pPr>
              <a:defRPr sz="1588"/>
            </a:lvl2pPr>
            <a:lvl3pPr>
              <a:defRPr sz="1391"/>
            </a:lvl3pPr>
            <a:lvl4pPr>
              <a:defRPr sz="1191"/>
            </a:lvl4pPr>
            <a:lvl5pPr>
              <a:defRPr sz="1191"/>
            </a:lvl5pPr>
            <a:lvl6pPr>
              <a:defRPr sz="1191"/>
            </a:lvl6pPr>
            <a:lvl7pPr>
              <a:defRPr sz="1191"/>
            </a:lvl7pPr>
            <a:lvl8pPr>
              <a:defRPr sz="1191" baseline="0"/>
            </a:lvl8pPr>
            <a:lvl9pPr>
              <a:defRPr sz="1191" baseline="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099427" y="6408007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t>05/10/2025</a:t>
            </a:fld>
            <a:endParaRPr lang="es-E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319588" y="6408007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1385653" y="6408007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t>‹#›</a:t>
            </a:fld>
            <a:endParaRPr lang="es-E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539750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85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7980" indent="0">
              <a:buNone/>
              <a:defRPr/>
            </a:lvl3pPr>
            <a:lvl4pPr marL="535960" indent="0">
              <a:buNone/>
              <a:defRPr/>
            </a:lvl4pPr>
            <a:lvl5pPr marL="803940" indent="0">
              <a:buNone/>
              <a:defRPr/>
            </a:lvl5pPr>
          </a:lstStyle>
          <a:p>
            <a:pPr lvl="0"/>
            <a:r>
              <a:rPr lang="es-ES"/>
              <a:t>Click to add kicker or ‘so what’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300711999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2 Content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3" y="950400"/>
            <a:ext cx="11087100" cy="49859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s-ES"/>
              <a:t>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9750" y="2273870"/>
            <a:ext cx="5418138" cy="33239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787" b="1">
                <a:solidFill>
                  <a:schemeClr val="accent1"/>
                </a:solidFill>
              </a:defRPr>
            </a:lvl1pPr>
            <a:lvl2pPr marL="453780" indent="0">
              <a:buNone/>
              <a:defRPr sz="1985" b="1"/>
            </a:lvl2pPr>
            <a:lvl3pPr marL="907559" indent="0">
              <a:buNone/>
              <a:defRPr sz="1787" b="1"/>
            </a:lvl3pPr>
            <a:lvl4pPr marL="1361339" indent="0">
              <a:buNone/>
              <a:defRPr sz="1588" b="1"/>
            </a:lvl4pPr>
            <a:lvl5pPr marL="1815118" indent="0">
              <a:buNone/>
              <a:defRPr sz="1588" b="1"/>
            </a:lvl5pPr>
            <a:lvl6pPr marL="2268898" indent="0">
              <a:buNone/>
              <a:defRPr sz="1588" b="1"/>
            </a:lvl6pPr>
            <a:lvl7pPr marL="2722677" indent="0">
              <a:buNone/>
              <a:defRPr sz="1588" b="1"/>
            </a:lvl7pPr>
            <a:lvl8pPr marL="3176457" indent="0">
              <a:buNone/>
              <a:defRPr sz="1588" b="1"/>
            </a:lvl8pPr>
            <a:lvl9pPr marL="3630237" indent="0">
              <a:buNone/>
              <a:defRPr sz="1588" b="1"/>
            </a:lvl9pPr>
          </a:lstStyle>
          <a:p>
            <a:pPr lvl="0"/>
            <a:r>
              <a:rPr lang="es-ES"/>
              <a:t>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9750" y="2614745"/>
            <a:ext cx="5418138" cy="290341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87"/>
            </a:lvl1pPr>
            <a:lvl2pPr>
              <a:defRPr sz="1588"/>
            </a:lvl2pPr>
            <a:lvl3pPr>
              <a:defRPr sz="1391"/>
            </a:lvl3pPr>
            <a:lvl4pPr>
              <a:defRPr sz="1191"/>
            </a:lvl4pPr>
            <a:lvl5pPr>
              <a:defRPr sz="1191"/>
            </a:lvl5pPr>
            <a:lvl6pPr>
              <a:defRPr sz="1191"/>
            </a:lvl6pPr>
            <a:lvl7pPr>
              <a:defRPr sz="1191"/>
            </a:lvl7pPr>
            <a:lvl8pPr>
              <a:defRPr sz="1191"/>
            </a:lvl8pPr>
            <a:lvl9pPr>
              <a:defRPr sz="1191" baseline="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08716" y="2282349"/>
            <a:ext cx="5418137" cy="33239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787" b="1">
                <a:solidFill>
                  <a:schemeClr val="accent1"/>
                </a:solidFill>
              </a:defRPr>
            </a:lvl1pPr>
            <a:lvl2pPr marL="453780" indent="0">
              <a:buNone/>
              <a:defRPr sz="1985" b="1"/>
            </a:lvl2pPr>
            <a:lvl3pPr marL="907559" indent="0">
              <a:buNone/>
              <a:defRPr sz="1787" b="1"/>
            </a:lvl3pPr>
            <a:lvl4pPr marL="1361339" indent="0">
              <a:buNone/>
              <a:defRPr sz="1588" b="1"/>
            </a:lvl4pPr>
            <a:lvl5pPr marL="1815118" indent="0">
              <a:buNone/>
              <a:defRPr sz="1588" b="1"/>
            </a:lvl5pPr>
            <a:lvl6pPr marL="2268898" indent="0">
              <a:buNone/>
              <a:defRPr sz="1588" b="1"/>
            </a:lvl6pPr>
            <a:lvl7pPr marL="2722677" indent="0">
              <a:buNone/>
              <a:defRPr sz="1588" b="1"/>
            </a:lvl7pPr>
            <a:lvl8pPr marL="3176457" indent="0">
              <a:buNone/>
              <a:defRPr sz="1588" b="1"/>
            </a:lvl8pPr>
            <a:lvl9pPr marL="3630237" indent="0">
              <a:buNone/>
              <a:defRPr sz="1588" b="1"/>
            </a:lvl9pPr>
          </a:lstStyle>
          <a:p>
            <a:pPr lvl="0"/>
            <a:r>
              <a:rPr lang="es-ES"/>
              <a:t>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08716" y="2614746"/>
            <a:ext cx="5418135" cy="29034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87"/>
            </a:lvl1pPr>
            <a:lvl2pPr>
              <a:defRPr sz="1588"/>
            </a:lvl2pPr>
            <a:lvl3pPr>
              <a:defRPr sz="1391"/>
            </a:lvl3pPr>
            <a:lvl4pPr>
              <a:defRPr sz="1191"/>
            </a:lvl4pPr>
            <a:lvl5pPr>
              <a:defRPr sz="1191"/>
            </a:lvl5pPr>
            <a:lvl6pPr>
              <a:defRPr sz="1191"/>
            </a:lvl6pPr>
            <a:lvl7pPr>
              <a:defRPr sz="1191"/>
            </a:lvl7pPr>
            <a:lvl8pPr>
              <a:defRPr sz="1191" baseline="0"/>
            </a:lvl8pPr>
            <a:lvl9pPr>
              <a:defRPr sz="1191" baseline="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099427" y="6408007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t>05/10/2025</a:t>
            </a:fld>
            <a:endParaRPr lang="es-E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319588" y="6408007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1385653" y="6408007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t>‹#›</a:t>
            </a:fld>
            <a:endParaRPr lang="es-ES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3" y="1477756"/>
            <a:ext cx="11087098" cy="6093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185"/>
            </a:lvl1pPr>
            <a:lvl5pPr>
              <a:defRPr/>
            </a:lvl5pPr>
          </a:lstStyle>
          <a:p>
            <a:pPr lvl="0"/>
            <a:r>
              <a:rPr lang="es-ES"/>
              <a:t>Add subtitle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4" hasCustomPrompt="1"/>
          </p:nvPr>
        </p:nvSpPr>
        <p:spPr bwMode="ltGray">
          <a:xfrm>
            <a:off x="539750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85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7980" indent="0">
              <a:buNone/>
              <a:defRPr/>
            </a:lvl3pPr>
            <a:lvl4pPr marL="535960" indent="0">
              <a:buNone/>
              <a:defRPr/>
            </a:lvl4pPr>
            <a:lvl5pPr marL="803940" indent="0">
              <a:buNone/>
              <a:defRPr/>
            </a:lvl5pPr>
          </a:lstStyle>
          <a:p>
            <a:pPr lvl="0"/>
            <a:r>
              <a:rPr lang="es-ES"/>
              <a:t>Click to add kicker or ‘so what’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26057659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ll Color Background - Text-led - Full Color Background - Text-led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6DF80006-7162-42A6-BB4F-9AB52F2B08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13">
            <a:extLst>
              <a:ext uri="{FF2B5EF4-FFF2-40B4-BE49-F238E27FC236}">
                <a16:creationId xmlns:a16="http://schemas.microsoft.com/office/drawing/2014/main" id="{96D42F31-C76D-4A0C-AB96-F0E353E51C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292928"/>
            <a:ext cx="11277600" cy="159327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5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3554813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Basic Text, 2 Content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3" y="950400"/>
            <a:ext cx="11087100" cy="49859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s-ES"/>
              <a:t>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9750" y="3142807"/>
            <a:ext cx="5418138" cy="33239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787" b="1">
                <a:solidFill>
                  <a:schemeClr val="accent1"/>
                </a:solidFill>
              </a:defRPr>
            </a:lvl1pPr>
            <a:lvl2pPr marL="453780" indent="0">
              <a:buNone/>
              <a:defRPr sz="1985" b="1"/>
            </a:lvl2pPr>
            <a:lvl3pPr marL="907559" indent="0">
              <a:buNone/>
              <a:defRPr sz="1787" b="1"/>
            </a:lvl3pPr>
            <a:lvl4pPr marL="1361339" indent="0">
              <a:buNone/>
              <a:defRPr sz="1588" b="1"/>
            </a:lvl4pPr>
            <a:lvl5pPr marL="1815118" indent="0">
              <a:buNone/>
              <a:defRPr sz="1588" b="1"/>
            </a:lvl5pPr>
            <a:lvl6pPr marL="2268898" indent="0">
              <a:buNone/>
              <a:defRPr sz="1588" b="1"/>
            </a:lvl6pPr>
            <a:lvl7pPr marL="2722677" indent="0">
              <a:buNone/>
              <a:defRPr sz="1588" b="1"/>
            </a:lvl7pPr>
            <a:lvl8pPr marL="3176457" indent="0">
              <a:buNone/>
              <a:defRPr sz="1588" b="1"/>
            </a:lvl8pPr>
            <a:lvl9pPr marL="3630237" indent="0">
              <a:buNone/>
              <a:defRPr sz="1588" b="1"/>
            </a:lvl9pPr>
          </a:lstStyle>
          <a:p>
            <a:pPr lvl="0"/>
            <a:r>
              <a:rPr lang="es-ES"/>
              <a:t>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9750" y="3475206"/>
            <a:ext cx="5418138" cy="204295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87"/>
            </a:lvl1pPr>
            <a:lvl2pPr>
              <a:defRPr sz="1588"/>
            </a:lvl2pPr>
            <a:lvl3pPr>
              <a:defRPr sz="1391"/>
            </a:lvl3pPr>
            <a:lvl4pPr>
              <a:defRPr sz="1191"/>
            </a:lvl4pPr>
            <a:lvl5pPr>
              <a:defRPr sz="1191"/>
            </a:lvl5pPr>
            <a:lvl6pPr>
              <a:defRPr sz="1191"/>
            </a:lvl6pPr>
            <a:lvl7pPr>
              <a:defRPr sz="1191"/>
            </a:lvl7pPr>
            <a:lvl8pPr>
              <a:defRPr sz="1191"/>
            </a:lvl8pPr>
            <a:lvl9pPr>
              <a:defRPr sz="1191" baseline="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08715" y="3142807"/>
            <a:ext cx="5418134" cy="33239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787" b="1">
                <a:solidFill>
                  <a:schemeClr val="accent1"/>
                </a:solidFill>
              </a:defRPr>
            </a:lvl1pPr>
            <a:lvl2pPr marL="453780" indent="0">
              <a:buNone/>
              <a:defRPr sz="1985" b="1"/>
            </a:lvl2pPr>
            <a:lvl3pPr marL="907559" indent="0">
              <a:buNone/>
              <a:defRPr sz="1787" b="1"/>
            </a:lvl3pPr>
            <a:lvl4pPr marL="1361339" indent="0">
              <a:buNone/>
              <a:defRPr sz="1588" b="1"/>
            </a:lvl4pPr>
            <a:lvl5pPr marL="1815118" indent="0">
              <a:buNone/>
              <a:defRPr sz="1588" b="1"/>
            </a:lvl5pPr>
            <a:lvl6pPr marL="2268898" indent="0">
              <a:buNone/>
              <a:defRPr sz="1588" b="1"/>
            </a:lvl6pPr>
            <a:lvl7pPr marL="2722677" indent="0">
              <a:buNone/>
              <a:defRPr sz="1588" b="1"/>
            </a:lvl7pPr>
            <a:lvl8pPr marL="3176457" indent="0">
              <a:buNone/>
              <a:defRPr sz="1588" b="1"/>
            </a:lvl8pPr>
            <a:lvl9pPr marL="3630237" indent="0">
              <a:buNone/>
              <a:defRPr sz="1588" b="1"/>
            </a:lvl9pPr>
          </a:lstStyle>
          <a:p>
            <a:pPr lvl="0"/>
            <a:r>
              <a:rPr lang="es-ES"/>
              <a:t>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08714" y="3475206"/>
            <a:ext cx="5418136" cy="20429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87"/>
            </a:lvl1pPr>
            <a:lvl2pPr>
              <a:defRPr sz="1588"/>
            </a:lvl2pPr>
            <a:lvl3pPr>
              <a:defRPr sz="1391"/>
            </a:lvl3pPr>
            <a:lvl4pPr>
              <a:defRPr sz="1191"/>
            </a:lvl4pPr>
            <a:lvl5pPr>
              <a:defRPr sz="1191"/>
            </a:lvl5pPr>
            <a:lvl6pPr>
              <a:defRPr sz="1191"/>
            </a:lvl6pPr>
            <a:lvl7pPr>
              <a:defRPr sz="1191"/>
            </a:lvl7pPr>
            <a:lvl8pPr>
              <a:defRPr sz="1191" baseline="0"/>
            </a:lvl8pPr>
            <a:lvl9pPr>
              <a:defRPr sz="1191" baseline="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099427" y="6408007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t>05/10/2025</a:t>
            </a:fld>
            <a:endParaRPr lang="es-E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319588" y="6408007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1385653" y="6408007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t>‹#›</a:t>
            </a:fld>
            <a:endParaRPr lang="es-ES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1477756"/>
            <a:ext cx="11087099" cy="6093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185"/>
            </a:lvl1pPr>
            <a:lvl5pPr>
              <a:defRPr/>
            </a:lvl5pPr>
          </a:lstStyle>
          <a:p>
            <a:pPr lvl="0"/>
            <a:r>
              <a:rPr lang="es-ES"/>
              <a:t>Add subtitle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4" hasCustomPrompt="1"/>
          </p:nvPr>
        </p:nvSpPr>
        <p:spPr bwMode="ltGray">
          <a:xfrm>
            <a:off x="539750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85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7980" indent="0">
              <a:buNone/>
              <a:defRPr/>
            </a:lvl3pPr>
            <a:lvl4pPr marL="535960" indent="0">
              <a:buNone/>
              <a:defRPr/>
            </a:lvl4pPr>
            <a:lvl5pPr marL="803940" indent="0">
              <a:buNone/>
              <a:defRPr/>
            </a:lvl5pPr>
          </a:lstStyle>
          <a:p>
            <a:pPr lvl="0"/>
            <a:r>
              <a:rPr lang="es-ES"/>
              <a:t>Click to add kicker or ‘so what’. Delete if not required.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539754" y="2358000"/>
            <a:ext cx="11087098" cy="72943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/>
            </a:lvl1pPr>
            <a:lvl2pPr marL="0" indent="0">
              <a:buNone/>
              <a:defRPr/>
            </a:lvl2pPr>
            <a:lvl3pPr marL="267980" indent="0">
              <a:buNone/>
              <a:defRPr/>
            </a:lvl3pPr>
            <a:lvl4pPr marL="535960" indent="0">
              <a:buNone/>
              <a:defRPr/>
            </a:lvl4pPr>
            <a:lvl5pPr marL="803940" indent="0">
              <a:buNone/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74584461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3" y="950400"/>
            <a:ext cx="11087100" cy="498598"/>
          </a:xfrm>
          <a:prstGeom prst="rect">
            <a:avLst/>
          </a:prstGeom>
        </p:spPr>
        <p:txBody>
          <a:bodyPr/>
          <a:lstStyle/>
          <a:p>
            <a:r>
              <a:rPr lang="es-ES"/>
              <a:t>Add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099427" y="6408007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t>05/10/2025</a:t>
            </a:fld>
            <a:endParaRPr lang="es-E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319588" y="6408007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385653" y="6408007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t>‹#›</a:t>
            </a:fld>
            <a:endParaRPr lang="es-ES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539750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85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7980" indent="0">
              <a:buNone/>
              <a:defRPr/>
            </a:lvl3pPr>
            <a:lvl4pPr marL="535960" indent="0">
              <a:buNone/>
              <a:defRPr/>
            </a:lvl4pPr>
            <a:lvl5pPr marL="803940" indent="0">
              <a:buNone/>
              <a:defRPr/>
            </a:lvl5pPr>
          </a:lstStyle>
          <a:p>
            <a:pPr lvl="0"/>
            <a:r>
              <a:rPr lang="es-ES"/>
              <a:t>Click to add kicker or ‘so what’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391898520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099427" y="6408007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t>05/10/2025</a:t>
            </a:fld>
            <a:endParaRPr lang="es-E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319588" y="6408007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385653" y="6408007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t>‹#›</a:t>
            </a:fld>
            <a:endParaRPr lang="es-ES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539750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85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7980" indent="0">
              <a:buNone/>
              <a:defRPr/>
            </a:lvl3pPr>
            <a:lvl4pPr marL="535960" indent="0">
              <a:buNone/>
              <a:defRPr/>
            </a:lvl4pPr>
            <a:lvl5pPr marL="803940" indent="0">
              <a:buNone/>
              <a:defRPr/>
            </a:lvl5pPr>
          </a:lstStyle>
          <a:p>
            <a:pPr lvl="0"/>
            <a:r>
              <a:rPr lang="es-ES"/>
              <a:t>Click to add kicker or ‘so what’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380947197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Narrow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11067" y="1006482"/>
            <a:ext cx="3515782" cy="45116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87"/>
            </a:lvl1pPr>
            <a:lvl2pPr>
              <a:defRPr sz="1588" baseline="0"/>
            </a:lvl2pPr>
            <a:lvl3pPr>
              <a:defRPr sz="1391"/>
            </a:lvl3pPr>
            <a:lvl4pPr>
              <a:defRPr sz="1191"/>
            </a:lvl4pPr>
            <a:lvl5pPr>
              <a:defRPr sz="1191"/>
            </a:lvl5pPr>
            <a:lvl6pPr>
              <a:defRPr sz="1191"/>
            </a:lvl6pPr>
            <a:lvl7pPr>
              <a:defRPr sz="1191"/>
            </a:lvl7pPr>
            <a:lvl8pPr>
              <a:defRPr sz="1191"/>
            </a:lvl8pPr>
            <a:lvl9pPr>
              <a:defRPr sz="1191" baseline="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099427" y="6408007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t>05/10/2025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319588" y="6408007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385653" y="6408007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t>‹#›</a:t>
            </a:fld>
            <a:endParaRPr lang="es-ES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39753" y="950208"/>
            <a:ext cx="7307261" cy="49859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s-ES"/>
              <a:t>Add tit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539752" y="2358001"/>
            <a:ext cx="7307263" cy="316014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2" y="1477756"/>
            <a:ext cx="7307263" cy="6093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185"/>
            </a:lvl1pPr>
            <a:lvl5pPr>
              <a:defRPr/>
            </a:lvl5pPr>
          </a:lstStyle>
          <a:p>
            <a:pPr lvl="0"/>
            <a:r>
              <a:rPr lang="es-ES"/>
              <a:t>Add subtitle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5" hasCustomPrompt="1"/>
          </p:nvPr>
        </p:nvSpPr>
        <p:spPr bwMode="ltGray">
          <a:xfrm>
            <a:off x="539750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85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7980" indent="0">
              <a:buNone/>
              <a:defRPr/>
            </a:lvl3pPr>
            <a:lvl4pPr marL="535960" indent="0">
              <a:buNone/>
              <a:defRPr/>
            </a:lvl4pPr>
            <a:lvl5pPr marL="803940" indent="0">
              <a:buNone/>
              <a:defRPr/>
            </a:lvl5pPr>
          </a:lstStyle>
          <a:p>
            <a:pPr lvl="0"/>
            <a:r>
              <a:rPr lang="es-ES"/>
              <a:t>Click to add kicker or ‘so what’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213487346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099427" y="6408007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t>05/10/2025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319588" y="6408007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385653" y="6408007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t>‹#›</a:t>
            </a:fld>
            <a:endParaRPr lang="es-ES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39753" y="950208"/>
            <a:ext cx="7307261" cy="49859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s-ES"/>
              <a:t>Add tit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539752" y="2358001"/>
            <a:ext cx="7307263" cy="31601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grpSp>
        <p:nvGrpSpPr>
          <p:cNvPr id="2" name="Group 1"/>
          <p:cNvGrpSpPr/>
          <p:nvPr userDrawn="1"/>
        </p:nvGrpSpPr>
        <p:grpSpPr bwMode="ltGray">
          <a:xfrm>
            <a:off x="8111067" y="2102136"/>
            <a:ext cx="3515782" cy="360000"/>
            <a:chOff x="6083300" y="2351692"/>
            <a:chExt cx="2520000" cy="360000"/>
          </a:xfrm>
        </p:grpSpPr>
        <p:sp>
          <p:nvSpPr>
            <p:cNvPr id="11" name="Snip Single Corner Rectangle 10"/>
            <p:cNvSpPr/>
            <p:nvPr userDrawn="1"/>
          </p:nvSpPr>
          <p:spPr bwMode="ltGray">
            <a:xfrm flipH="1">
              <a:off x="6083300" y="2351692"/>
              <a:ext cx="2520000" cy="360000"/>
            </a:xfrm>
            <a:prstGeom prst="snip1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87"/>
            </a:p>
          </p:txBody>
        </p:sp>
        <p:sp>
          <p:nvSpPr>
            <p:cNvPr id="12" name="Right Triangle 11"/>
            <p:cNvSpPr/>
            <p:nvPr userDrawn="1"/>
          </p:nvSpPr>
          <p:spPr bwMode="ltGray">
            <a:xfrm flipH="1">
              <a:off x="6083300" y="2351692"/>
              <a:ext cx="129018" cy="180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787"/>
            </a:p>
          </p:txBody>
        </p:sp>
      </p:grp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 bwMode="ltGray">
          <a:xfrm>
            <a:off x="8111067" y="2360301"/>
            <a:ext cx="3515782" cy="1815470"/>
          </a:xfrm>
          <a:prstGeom prst="rect">
            <a:avLst/>
          </a:prstGeom>
          <a:solidFill>
            <a:schemeClr val="accent1"/>
          </a:solidFill>
        </p:spPr>
        <p:txBody>
          <a:bodyPr wrap="square" lIns="216000" rIns="216000" bIns="216000">
            <a:spAutoFit/>
          </a:bodyPr>
          <a:lstStyle>
            <a:lvl1pPr>
              <a:buNone/>
              <a:defRPr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7980" indent="0">
              <a:buNone/>
              <a:defRPr/>
            </a:lvl3pPr>
            <a:lvl4pPr marL="535960" indent="0">
              <a:buNone/>
              <a:defRPr/>
            </a:lvl4pPr>
            <a:lvl5pPr marL="803940" indent="0">
              <a:buNone/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1477756"/>
            <a:ext cx="7307262" cy="6093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185"/>
            </a:lvl1pPr>
            <a:lvl5pPr>
              <a:defRPr/>
            </a:lvl5pPr>
          </a:lstStyle>
          <a:p>
            <a:pPr lvl="0"/>
            <a:r>
              <a:rPr lang="es-ES"/>
              <a:t>Add subtit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6" hasCustomPrompt="1"/>
          </p:nvPr>
        </p:nvSpPr>
        <p:spPr bwMode="ltGray">
          <a:xfrm>
            <a:off x="539750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85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7980" indent="0">
              <a:buNone/>
              <a:defRPr/>
            </a:lvl3pPr>
            <a:lvl4pPr marL="535960" indent="0">
              <a:buNone/>
              <a:defRPr/>
            </a:lvl4pPr>
            <a:lvl5pPr marL="803940" indent="0">
              <a:buNone/>
              <a:defRPr/>
            </a:lvl5pPr>
          </a:lstStyle>
          <a:p>
            <a:pPr lvl="0"/>
            <a:r>
              <a:rPr lang="es-ES"/>
              <a:t>Click to add kicker or ‘so what’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170593397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9591" y="1006482"/>
            <a:ext cx="7307261" cy="45116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87"/>
            </a:lvl1pPr>
            <a:lvl2pPr>
              <a:defRPr sz="1787" baseline="0"/>
            </a:lvl2pPr>
            <a:lvl3pPr>
              <a:defRPr sz="1391"/>
            </a:lvl3pPr>
            <a:lvl4pPr>
              <a:defRPr sz="1191"/>
            </a:lvl4pPr>
            <a:lvl5pPr>
              <a:defRPr sz="1191"/>
            </a:lvl5pPr>
            <a:lvl6pPr>
              <a:defRPr sz="1191"/>
            </a:lvl6pPr>
            <a:lvl7pPr>
              <a:defRPr sz="1191"/>
            </a:lvl7pPr>
            <a:lvl8pPr>
              <a:defRPr sz="1191"/>
            </a:lvl8pPr>
            <a:lvl9pPr>
              <a:defRPr sz="1191" baseline="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099427" y="6408007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t>05/10/2025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319588" y="6408007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385653" y="6408007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t>‹#›</a:t>
            </a:fld>
            <a:endParaRPr lang="es-ES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39754" y="950208"/>
            <a:ext cx="3527424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s-ES"/>
              <a:t>Add tit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539750" y="2868998"/>
            <a:ext cx="3527425" cy="264915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1988296"/>
            <a:ext cx="3527425" cy="6093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185"/>
            </a:lvl1pPr>
            <a:lvl5pPr>
              <a:defRPr/>
            </a:lvl5pPr>
          </a:lstStyle>
          <a:p>
            <a:pPr lvl="0"/>
            <a:r>
              <a:rPr lang="es-ES"/>
              <a:t>Add subtitle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5" hasCustomPrompt="1"/>
          </p:nvPr>
        </p:nvSpPr>
        <p:spPr bwMode="ltGray">
          <a:xfrm>
            <a:off x="539750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85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7980" indent="0">
              <a:buNone/>
              <a:defRPr/>
            </a:lvl3pPr>
            <a:lvl4pPr marL="535960" indent="0">
              <a:buNone/>
              <a:defRPr/>
            </a:lvl4pPr>
            <a:lvl5pPr marL="803940" indent="0">
              <a:buNone/>
              <a:defRPr/>
            </a:lvl5pPr>
          </a:lstStyle>
          <a:p>
            <a:pPr lvl="0"/>
            <a:r>
              <a:rPr lang="es-ES"/>
              <a:t>Click to add kicker or ‘so what’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201789372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754" y="3142801"/>
            <a:ext cx="3527424" cy="23753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87"/>
            </a:lvl1pPr>
            <a:lvl2pPr>
              <a:defRPr sz="1588" baseline="0"/>
            </a:lvl2pPr>
            <a:lvl3pPr>
              <a:defRPr sz="1391"/>
            </a:lvl3pPr>
            <a:lvl4pPr>
              <a:defRPr sz="1191"/>
            </a:lvl4pPr>
            <a:lvl5pPr>
              <a:defRPr sz="1191"/>
            </a:lvl5pPr>
            <a:lvl6pPr>
              <a:defRPr sz="1191"/>
            </a:lvl6pPr>
            <a:lvl7pPr>
              <a:defRPr sz="1191"/>
            </a:lvl7pPr>
            <a:lvl8pPr>
              <a:defRPr sz="1191"/>
            </a:lvl8pPr>
            <a:lvl9pPr>
              <a:defRPr sz="1191" baseline="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099427" y="6408007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t>05/10/2025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319588" y="6408007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385653" y="6408007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t>‹#›</a:t>
            </a:fld>
            <a:endParaRPr lang="es-ES"/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539754" y="2358000"/>
            <a:ext cx="11087098" cy="72943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/>
            </a:lvl1pPr>
            <a:lvl2pPr marL="0" indent="0">
              <a:buNone/>
              <a:defRPr/>
            </a:lvl2pPr>
            <a:lvl3pPr marL="267980" indent="0">
              <a:buNone/>
              <a:defRPr/>
            </a:lvl3pPr>
            <a:lvl4pPr marL="535960" indent="0">
              <a:buNone/>
              <a:defRPr/>
            </a:lvl4pPr>
            <a:lvl5pPr marL="803940" indent="0">
              <a:buNone/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319592" y="3142801"/>
            <a:ext cx="3527424" cy="23753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87"/>
            </a:lvl1pPr>
            <a:lvl2pPr>
              <a:defRPr sz="1588" baseline="0"/>
            </a:lvl2pPr>
            <a:lvl3pPr>
              <a:defRPr sz="1391"/>
            </a:lvl3pPr>
            <a:lvl4pPr>
              <a:defRPr sz="1191"/>
            </a:lvl4pPr>
            <a:lvl5pPr>
              <a:defRPr sz="1191"/>
            </a:lvl5pPr>
            <a:lvl6pPr>
              <a:defRPr sz="1191"/>
            </a:lvl6pPr>
            <a:lvl7pPr>
              <a:defRPr sz="1191"/>
            </a:lvl7pPr>
            <a:lvl8pPr>
              <a:defRPr sz="1191"/>
            </a:lvl8pPr>
            <a:lvl9pPr>
              <a:defRPr sz="1191" baseline="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6"/>
          </p:nvPr>
        </p:nvSpPr>
        <p:spPr>
          <a:xfrm>
            <a:off x="8099428" y="3142801"/>
            <a:ext cx="3527424" cy="23753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87"/>
            </a:lvl1pPr>
            <a:lvl2pPr>
              <a:defRPr sz="1588" baseline="0"/>
            </a:lvl2pPr>
            <a:lvl3pPr>
              <a:defRPr sz="1391"/>
            </a:lvl3pPr>
            <a:lvl4pPr>
              <a:defRPr sz="1191"/>
            </a:lvl4pPr>
            <a:lvl5pPr>
              <a:defRPr sz="1191"/>
            </a:lvl5pPr>
            <a:lvl6pPr>
              <a:defRPr sz="1191"/>
            </a:lvl6pPr>
            <a:lvl7pPr>
              <a:defRPr sz="1191"/>
            </a:lvl7pPr>
            <a:lvl8pPr>
              <a:defRPr sz="1191"/>
            </a:lvl8pPr>
            <a:lvl9pPr>
              <a:defRPr sz="1191" baseline="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1477756"/>
            <a:ext cx="11087099" cy="6093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185"/>
            </a:lvl1pPr>
            <a:lvl5pPr>
              <a:defRPr/>
            </a:lvl5pPr>
          </a:lstStyle>
          <a:p>
            <a:pPr lvl="0"/>
            <a:r>
              <a:rPr lang="es-ES"/>
              <a:t>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3" y="950400"/>
            <a:ext cx="11087100" cy="498598"/>
          </a:xfrm>
          <a:prstGeom prst="rect">
            <a:avLst/>
          </a:prstGeom>
        </p:spPr>
        <p:txBody>
          <a:bodyPr/>
          <a:lstStyle/>
          <a:p>
            <a:r>
              <a:rPr lang="es-ES"/>
              <a:t>Add title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7" hasCustomPrompt="1"/>
          </p:nvPr>
        </p:nvSpPr>
        <p:spPr bwMode="ltGray">
          <a:xfrm>
            <a:off x="539750" y="5614663"/>
            <a:ext cx="11087099" cy="702000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buNone/>
              <a:defRPr sz="2185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67980" indent="0">
              <a:buNone/>
              <a:defRPr/>
            </a:lvl3pPr>
            <a:lvl4pPr marL="535960" indent="0">
              <a:buNone/>
              <a:defRPr/>
            </a:lvl4pPr>
            <a:lvl5pPr marL="803940" indent="0">
              <a:buNone/>
              <a:defRPr/>
            </a:lvl5pPr>
          </a:lstStyle>
          <a:p>
            <a:pPr lvl="0"/>
            <a:r>
              <a:rPr lang="es-ES"/>
              <a:t>Click to add kicker or ‘so what’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380443669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099427" y="6408007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pPr/>
              <a:t>05/10/2025</a:t>
            </a:fld>
            <a:endParaRPr lang="es-E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319588" y="6408007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385653" y="6602370"/>
            <a:ext cx="241200" cy="138499"/>
          </a:xfrm>
          <a:prstGeom prst="rect">
            <a:avLst/>
          </a:prstGeom>
        </p:spPr>
        <p:txBody>
          <a:bodyPr/>
          <a:lstStyle/>
          <a:p>
            <a:fld id="{0C1CACA2-8807-444A-80EF-366DD6953B54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6" name="dc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673228" y="1477756"/>
            <a:ext cx="9953625" cy="609398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185" cap="all" baseline="0">
                <a:solidFill>
                  <a:schemeClr val="accent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/>
              <a:t>%DT:TITLE%</a:t>
            </a:r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1673228" y="2358000"/>
            <a:ext cx="900000" cy="936000"/>
          </a:xfrm>
          <a:prstGeom prst="rect">
            <a:avLst/>
          </a:prstGeom>
        </p:spPr>
        <p:txBody>
          <a:bodyPr anchor="ctr" anchorCtr="0"/>
          <a:lstStyle>
            <a:lvl1pPr algn="ctr">
              <a:buNone/>
              <a:defRPr sz="994"/>
            </a:lvl1pPr>
          </a:lstStyle>
          <a:p>
            <a:r>
              <a:rPr lang="es-ES"/>
              <a:t> 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1673228" y="3670200"/>
            <a:ext cx="900000" cy="9360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ctr">
              <a:buNone/>
              <a:defRPr sz="994"/>
            </a:lvl1pPr>
          </a:lstStyle>
          <a:p>
            <a:r>
              <a:rPr lang="es-ES"/>
              <a:t> </a:t>
            </a:r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9" hasCustomPrompt="1"/>
          </p:nvPr>
        </p:nvSpPr>
        <p:spPr>
          <a:xfrm>
            <a:off x="1673228" y="4982400"/>
            <a:ext cx="900000" cy="9360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ctr">
              <a:buNone/>
              <a:defRPr sz="994" baseline="0"/>
            </a:lvl1pPr>
          </a:lstStyle>
          <a:p>
            <a:r>
              <a:rPr lang="es-ES"/>
              <a:t> 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20" hasCustomPrompt="1"/>
          </p:nvPr>
        </p:nvSpPr>
        <p:spPr>
          <a:xfrm>
            <a:off x="2772002" y="2358006"/>
            <a:ext cx="8854851" cy="166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191" b="1" i="0" cap="all" baseline="0"/>
            </a:lvl1pPr>
            <a:lvl2pPr marL="0" indent="0">
              <a:buNone/>
              <a:defRPr/>
            </a:lvl2pPr>
          </a:lstStyle>
          <a:p>
            <a:pPr lvl="0"/>
            <a:r>
              <a:rPr lang="es-ES"/>
              <a:t>Firstname surname</a:t>
            </a:r>
          </a:p>
        </p:txBody>
      </p:sp>
      <p:sp>
        <p:nvSpPr>
          <p:cNvPr id="11" name="Text Placeholder 18"/>
          <p:cNvSpPr>
            <a:spLocks noGrp="1"/>
          </p:cNvSpPr>
          <p:nvPr>
            <p:ph type="body" sz="quarter" idx="21" hasCustomPrompt="1"/>
          </p:nvPr>
        </p:nvSpPr>
        <p:spPr>
          <a:xfrm>
            <a:off x="2772001" y="2559601"/>
            <a:ext cx="1295174" cy="73337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buNone/>
              <a:defRPr sz="994" b="0" i="0" cap="none" baseline="0"/>
            </a:lvl1pPr>
            <a:lvl2pPr marL="0" indent="0">
              <a:buNone/>
              <a:defRPr/>
            </a:lvl2pPr>
          </a:lstStyle>
          <a:p>
            <a:pPr lvl="0"/>
            <a:r>
              <a:rPr lang="es-ES"/>
              <a:t>Role</a:t>
            </a:r>
          </a:p>
        </p:txBody>
      </p:sp>
      <p:sp>
        <p:nvSpPr>
          <p:cNvPr id="14" name="dcContact1"/>
          <p:cNvSpPr>
            <a:spLocks noGrp="1"/>
          </p:cNvSpPr>
          <p:nvPr>
            <p:ph type="body" sz="quarter" idx="22" hasCustomPrompt="1"/>
          </p:nvPr>
        </p:nvSpPr>
        <p:spPr>
          <a:xfrm>
            <a:off x="4319588" y="2610000"/>
            <a:ext cx="3527425" cy="7128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marR="0" indent="0" algn="l" defTabSz="9075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78653" algn="l"/>
              </a:tabLst>
              <a:defRPr sz="894" b="0" i="0" cap="none" baseline="0"/>
            </a:lvl1pPr>
            <a:lvl2pPr marL="0" indent="0">
              <a:buNone/>
              <a:defRPr/>
            </a:lvl2pPr>
          </a:lstStyle>
          <a:p>
            <a:pPr lvl="0"/>
            <a:r>
              <a:rPr lang="es-ES"/>
              <a:t>%DT[5]:T%	+xx (0)xx xxxx xxxx</a:t>
            </a:r>
          </a:p>
          <a:p>
            <a:pPr lvl="0"/>
            <a:r>
              <a:rPr lang="es-ES"/>
              <a:t>%DT[5]:M%	+xx (0)xx xxxx xxxx</a:t>
            </a:r>
          </a:p>
          <a:p>
            <a:pPr lvl="0"/>
            <a:r>
              <a:rPr lang="es-ES"/>
              <a:t>%DT[5]:E%	firstname.lastname@arcadis.com</a:t>
            </a:r>
          </a:p>
        </p:txBody>
      </p:sp>
      <p:sp>
        <p:nvSpPr>
          <p:cNvPr id="15" name="dcLocation1"/>
          <p:cNvSpPr>
            <a:spLocks noGrp="1"/>
          </p:cNvSpPr>
          <p:nvPr>
            <p:ph type="body" sz="quarter" idx="23" hasCustomPrompt="1"/>
          </p:nvPr>
        </p:nvSpPr>
        <p:spPr>
          <a:xfrm>
            <a:off x="8099429" y="2610000"/>
            <a:ext cx="3513473" cy="7128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marR="0" indent="0" algn="l" defTabSz="9075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78653" algn="l"/>
              </a:tabLst>
              <a:defRPr sz="894" b="0" i="0" cap="none" baseline="0"/>
            </a:lvl1pPr>
            <a:lvl2pPr marL="0" indent="0">
              <a:buNone/>
              <a:defRPr/>
            </a:lvl2pPr>
          </a:lstStyle>
          <a:p>
            <a:pPr lvl="0"/>
            <a:r>
              <a:rPr lang="es-ES"/>
              <a:t>%DT[5]:Arcadis%</a:t>
            </a:r>
          </a:p>
          <a:p>
            <a:pPr lvl="0"/>
            <a:r>
              <a:rPr lang="es-ES"/>
              <a:t>Address Line 1</a:t>
            </a:r>
          </a:p>
          <a:p>
            <a:pPr lvl="0"/>
            <a:r>
              <a:rPr lang="es-ES"/>
              <a:t>Address Line 2</a:t>
            </a:r>
          </a:p>
          <a:p>
            <a:pPr lvl="0"/>
            <a:r>
              <a:rPr lang="es-ES"/>
              <a:t>Address Line 3</a:t>
            </a:r>
          </a:p>
        </p:txBody>
      </p:sp>
      <p:sp>
        <p:nvSpPr>
          <p:cNvPr id="16" name="Text Placeholder 18"/>
          <p:cNvSpPr>
            <a:spLocks noGrp="1"/>
          </p:cNvSpPr>
          <p:nvPr>
            <p:ph type="body" sz="quarter" idx="24" hasCustomPrompt="1"/>
          </p:nvPr>
        </p:nvSpPr>
        <p:spPr>
          <a:xfrm>
            <a:off x="2772002" y="3650404"/>
            <a:ext cx="8854851" cy="166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191" b="1" i="0" cap="all" baseline="0"/>
            </a:lvl1pPr>
            <a:lvl2pPr marL="0" indent="0">
              <a:buNone/>
              <a:defRPr/>
            </a:lvl2pPr>
          </a:lstStyle>
          <a:p>
            <a:pPr lvl="0"/>
            <a:r>
              <a:rPr lang="es-ES"/>
              <a:t>Firstname surname</a:t>
            </a:r>
          </a:p>
        </p:txBody>
      </p:sp>
      <p:sp>
        <p:nvSpPr>
          <p:cNvPr id="17" name="Text Placeholder 18"/>
          <p:cNvSpPr>
            <a:spLocks noGrp="1"/>
          </p:cNvSpPr>
          <p:nvPr>
            <p:ph type="body" sz="quarter" idx="25" hasCustomPrompt="1"/>
          </p:nvPr>
        </p:nvSpPr>
        <p:spPr>
          <a:xfrm>
            <a:off x="2772001" y="3852001"/>
            <a:ext cx="1295174" cy="75225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buNone/>
              <a:defRPr sz="994" b="0" i="0" cap="none" baseline="0"/>
            </a:lvl1pPr>
            <a:lvl2pPr marL="0" indent="0">
              <a:buNone/>
              <a:defRPr/>
            </a:lvl2pPr>
          </a:lstStyle>
          <a:p>
            <a:pPr lvl="0"/>
            <a:r>
              <a:rPr lang="es-ES"/>
              <a:t>Role</a:t>
            </a:r>
          </a:p>
        </p:txBody>
      </p:sp>
      <p:sp>
        <p:nvSpPr>
          <p:cNvPr id="18" name="dcContact1"/>
          <p:cNvSpPr>
            <a:spLocks noGrp="1"/>
          </p:cNvSpPr>
          <p:nvPr>
            <p:ph type="body" sz="quarter" idx="26" hasCustomPrompt="1"/>
          </p:nvPr>
        </p:nvSpPr>
        <p:spPr>
          <a:xfrm>
            <a:off x="4319588" y="3919067"/>
            <a:ext cx="3527425" cy="7128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marR="0" indent="0" algn="l" defTabSz="9075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78653" algn="l"/>
              </a:tabLst>
              <a:defRPr sz="894" b="0" i="0" cap="none" baseline="0"/>
            </a:lvl1pPr>
            <a:lvl2pPr marL="0" indent="0">
              <a:buNone/>
              <a:defRPr/>
            </a:lvl2pPr>
          </a:lstStyle>
          <a:p>
            <a:pPr lvl="0"/>
            <a:r>
              <a:rPr lang="es-ES"/>
              <a:t>%DT[5]:T%	+xx (0)xx xxxx xxxx</a:t>
            </a:r>
          </a:p>
          <a:p>
            <a:pPr lvl="0"/>
            <a:r>
              <a:rPr lang="es-ES"/>
              <a:t>%DT[5]:M%	+xx (0)xx xxxx xxxx</a:t>
            </a:r>
          </a:p>
          <a:p>
            <a:pPr lvl="0"/>
            <a:r>
              <a:rPr lang="es-ES"/>
              <a:t>%DT[5]:E%	firstname.lastname@arcadis.com</a:t>
            </a:r>
          </a:p>
        </p:txBody>
      </p:sp>
      <p:sp>
        <p:nvSpPr>
          <p:cNvPr id="19" name="dcLocation1"/>
          <p:cNvSpPr>
            <a:spLocks noGrp="1"/>
          </p:cNvSpPr>
          <p:nvPr>
            <p:ph type="body" sz="quarter" idx="27" hasCustomPrompt="1"/>
          </p:nvPr>
        </p:nvSpPr>
        <p:spPr>
          <a:xfrm>
            <a:off x="8099429" y="3920400"/>
            <a:ext cx="3513473" cy="7128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marR="0" indent="0" algn="l" defTabSz="9075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78653" algn="l"/>
              </a:tabLst>
              <a:defRPr sz="894" b="0" i="0" cap="none" baseline="0"/>
            </a:lvl1pPr>
            <a:lvl2pPr marL="0" indent="0">
              <a:buNone/>
              <a:defRPr/>
            </a:lvl2pPr>
          </a:lstStyle>
          <a:p>
            <a:pPr lvl="0"/>
            <a:r>
              <a:rPr lang="es-ES"/>
              <a:t>%DT[5]:Arcadis%</a:t>
            </a:r>
          </a:p>
          <a:p>
            <a:pPr lvl="0"/>
            <a:r>
              <a:rPr lang="es-ES"/>
              <a:t>Address Line 1</a:t>
            </a:r>
          </a:p>
          <a:p>
            <a:pPr lvl="0"/>
            <a:r>
              <a:rPr lang="es-ES"/>
              <a:t>Address Line 2</a:t>
            </a:r>
          </a:p>
          <a:p>
            <a:pPr lvl="0"/>
            <a:r>
              <a:rPr lang="es-ES"/>
              <a:t>Address Line 3</a:t>
            </a:r>
          </a:p>
        </p:txBody>
      </p:sp>
      <p:sp>
        <p:nvSpPr>
          <p:cNvPr id="20" name="Text Placeholder 18"/>
          <p:cNvSpPr>
            <a:spLocks noGrp="1"/>
          </p:cNvSpPr>
          <p:nvPr>
            <p:ph type="body" sz="quarter" idx="28" hasCustomPrompt="1"/>
          </p:nvPr>
        </p:nvSpPr>
        <p:spPr>
          <a:xfrm>
            <a:off x="2772002" y="4964406"/>
            <a:ext cx="8854851" cy="166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191" b="1" i="0" cap="all" baseline="0"/>
            </a:lvl1pPr>
            <a:lvl2pPr marL="0" indent="0">
              <a:buNone/>
              <a:defRPr/>
            </a:lvl2pPr>
          </a:lstStyle>
          <a:p>
            <a:pPr lvl="0"/>
            <a:r>
              <a:rPr lang="es-ES"/>
              <a:t>Firstname surname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29" hasCustomPrompt="1"/>
          </p:nvPr>
        </p:nvSpPr>
        <p:spPr>
          <a:xfrm>
            <a:off x="2772001" y="5166001"/>
            <a:ext cx="1295174" cy="75111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buNone/>
              <a:defRPr sz="994" b="0" i="0" cap="none" baseline="0"/>
            </a:lvl1pPr>
            <a:lvl2pPr marL="0" indent="0">
              <a:buNone/>
              <a:defRPr/>
            </a:lvl2pPr>
          </a:lstStyle>
          <a:p>
            <a:pPr lvl="0"/>
            <a:r>
              <a:rPr lang="es-ES"/>
              <a:t>Role</a:t>
            </a:r>
          </a:p>
        </p:txBody>
      </p:sp>
      <p:sp>
        <p:nvSpPr>
          <p:cNvPr id="22" name="dcContact1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8" y="5230686"/>
            <a:ext cx="3527425" cy="7128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marR="0" indent="0" algn="l" defTabSz="9075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78653" algn="l"/>
              </a:tabLst>
              <a:defRPr sz="894" b="0" i="0" cap="none" baseline="0"/>
            </a:lvl1pPr>
            <a:lvl2pPr marL="0" indent="0">
              <a:buNone/>
              <a:defRPr/>
            </a:lvl2pPr>
          </a:lstStyle>
          <a:p>
            <a:pPr lvl="0"/>
            <a:r>
              <a:rPr lang="es-ES"/>
              <a:t>%DT[5]:T%	+xx (0)xx xxxx xxxx</a:t>
            </a:r>
          </a:p>
          <a:p>
            <a:pPr lvl="0"/>
            <a:r>
              <a:rPr lang="es-ES"/>
              <a:t>%DT[5]:M%	+xx (0)xx xxxx xxxx</a:t>
            </a:r>
          </a:p>
          <a:p>
            <a:pPr lvl="0"/>
            <a:r>
              <a:rPr lang="es-ES"/>
              <a:t>%DT[5]:E%	firstname.lastname@arcadis.com</a:t>
            </a:r>
          </a:p>
        </p:txBody>
      </p:sp>
      <p:sp>
        <p:nvSpPr>
          <p:cNvPr id="23" name="dcLocation1"/>
          <p:cNvSpPr>
            <a:spLocks noGrp="1"/>
          </p:cNvSpPr>
          <p:nvPr>
            <p:ph type="body" sz="quarter" idx="31" hasCustomPrompt="1"/>
          </p:nvPr>
        </p:nvSpPr>
        <p:spPr>
          <a:xfrm>
            <a:off x="8099429" y="5230800"/>
            <a:ext cx="3513473" cy="7128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marR="0" indent="0" algn="l" defTabSz="9075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78653" algn="l"/>
              </a:tabLst>
              <a:defRPr sz="894" b="0" i="0" cap="none" baseline="0"/>
            </a:lvl1pPr>
            <a:lvl2pPr marL="0" indent="0">
              <a:buNone/>
              <a:defRPr/>
            </a:lvl2pPr>
          </a:lstStyle>
          <a:p>
            <a:pPr lvl="0"/>
            <a:r>
              <a:rPr lang="es-ES"/>
              <a:t>%DT[5]:Arcadis%</a:t>
            </a:r>
          </a:p>
          <a:p>
            <a:pPr lvl="0"/>
            <a:r>
              <a:rPr lang="es-ES"/>
              <a:t>Address Line 1</a:t>
            </a:r>
          </a:p>
          <a:p>
            <a:pPr lvl="0"/>
            <a:r>
              <a:rPr lang="es-ES"/>
              <a:t>Address Line 2</a:t>
            </a:r>
          </a:p>
          <a:p>
            <a:pPr lvl="0"/>
            <a:r>
              <a:rPr lang="es-ES"/>
              <a:t>Address Line 3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32" hasCustomPrompt="1"/>
          </p:nvPr>
        </p:nvSpPr>
        <p:spPr>
          <a:xfrm>
            <a:off x="1674000" y="3481200"/>
            <a:ext cx="9954000" cy="0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/>
          <a:lstStyle>
            <a:lvl1pPr>
              <a:buNone/>
              <a:defRPr/>
            </a:lvl1pPr>
            <a:lvl2pPr marL="0" indent="0">
              <a:buNone/>
              <a:defRPr/>
            </a:lvl2pPr>
            <a:lvl3pPr marL="267980" indent="0">
              <a:buNone/>
              <a:defRPr/>
            </a:lvl3pPr>
            <a:lvl4pPr marL="535960" indent="0">
              <a:buNone/>
              <a:defRPr/>
            </a:lvl4pPr>
            <a:lvl5pPr marL="803940" indent="0">
              <a:buNone/>
              <a:defRPr/>
            </a:lvl5pPr>
          </a:lstStyle>
          <a:p>
            <a:pPr lvl="0"/>
            <a:r>
              <a:rPr lang="es-ES"/>
              <a:t> 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33" hasCustomPrompt="1"/>
          </p:nvPr>
        </p:nvSpPr>
        <p:spPr>
          <a:xfrm>
            <a:off x="1674000" y="4795200"/>
            <a:ext cx="9954000" cy="0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/>
          <a:lstStyle>
            <a:lvl1pPr>
              <a:buNone/>
              <a:defRPr/>
            </a:lvl1pPr>
            <a:lvl2pPr marL="0" indent="0">
              <a:buNone/>
              <a:defRPr/>
            </a:lvl2pPr>
            <a:lvl3pPr marL="267980" indent="0">
              <a:buNone/>
              <a:defRPr/>
            </a:lvl3pPr>
            <a:lvl4pPr marL="535960" indent="0">
              <a:buNone/>
              <a:defRPr/>
            </a:lvl4pPr>
            <a:lvl5pPr marL="803940" indent="0">
              <a:buNone/>
              <a:defRPr/>
            </a:lvl5pPr>
          </a:lstStyle>
          <a:p>
            <a:pPr lvl="0"/>
            <a:r>
              <a:rPr lang="es-ES"/>
              <a:t> 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id="{A07373C5-72F8-48D5-8CF0-9897B810C668}"/>
              </a:ext>
            </a:extLst>
          </p:cNvPr>
          <p:cNvCxnSpPr>
            <a:cxnSpLocks/>
          </p:cNvCxnSpPr>
          <p:nvPr userDrawn="1"/>
        </p:nvCxnSpPr>
        <p:spPr>
          <a:xfrm>
            <a:off x="1451144" y="6529985"/>
            <a:ext cx="1074085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927941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ject Exa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099427" y="6408007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pPr/>
              <a:t>05/10/2025</a:t>
            </a:fld>
            <a:endParaRPr lang="es-E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319588" y="6408007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15" name="dcLeft"/>
          <p:cNvSpPr>
            <a:spLocks noGrp="1"/>
          </p:cNvSpPr>
          <p:nvPr>
            <p:ph type="body" sz="quarter" idx="25" hasCustomPrompt="1"/>
          </p:nvPr>
        </p:nvSpPr>
        <p:spPr>
          <a:xfrm>
            <a:off x="539754" y="2609857"/>
            <a:ext cx="1385888" cy="3307899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0"/>
              </a:spcAft>
              <a:defRPr sz="994" cap="all" baseline="0"/>
            </a:lvl1pPr>
            <a:lvl2pPr marL="0" indent="0">
              <a:spcBef>
                <a:spcPts val="200"/>
              </a:spcBef>
              <a:buNone/>
              <a:defRPr sz="894">
                <a:solidFill>
                  <a:schemeClr val="accent1"/>
                </a:solidFill>
              </a:defRPr>
            </a:lvl2pPr>
            <a:lvl3pPr marL="0" marR="0" indent="-142923" algn="l" defTabSz="907559" rtl="0" eaLnBrk="1" fontAlgn="auto" latinLnBrk="0" hangingPunct="1">
              <a:lnSpc>
                <a:spcPct val="90000"/>
              </a:lnSpc>
              <a:spcBef>
                <a:spcPts val="297"/>
              </a:spcBef>
              <a:spcAft>
                <a:spcPts val="597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894">
                <a:solidFill>
                  <a:schemeClr val="accent1"/>
                </a:solidFill>
              </a:defRPr>
            </a:lvl3pPr>
            <a:lvl4pPr marL="803940" indent="-267980">
              <a:buFont typeface="Arial" panose="020B0604020202020204" pitchFamily="34" charset="0"/>
              <a:buChar char="-"/>
              <a:defRPr sz="894"/>
            </a:lvl4pPr>
            <a:lvl5pPr marL="142923" indent="-142923">
              <a:spcBef>
                <a:spcPts val="200"/>
              </a:spcBef>
              <a:buFont typeface="Arial" panose="020B0604020202020204" pitchFamily="34" charset="0"/>
              <a:buChar char="•"/>
              <a:defRPr sz="894"/>
            </a:lvl5pPr>
            <a:lvl6pPr marL="142923" indent="-142923">
              <a:spcBef>
                <a:spcPts val="200"/>
              </a:spcBef>
              <a:buFont typeface="Arial" panose="020B0604020202020204" pitchFamily="34" charset="0"/>
              <a:buChar char="•"/>
              <a:defRPr sz="894"/>
            </a:lvl6pPr>
            <a:lvl7pPr marL="142923" indent="-142923">
              <a:spcBef>
                <a:spcPts val="200"/>
              </a:spcBef>
              <a:buFont typeface="Arial" panose="020B0604020202020204" pitchFamily="34" charset="0"/>
              <a:buChar char="•"/>
              <a:defRPr sz="894" baseline="0"/>
            </a:lvl7pPr>
            <a:lvl8pPr marL="142923" indent="-142923">
              <a:spcBef>
                <a:spcPts val="200"/>
              </a:spcBef>
              <a:buFont typeface="Arial" panose="020B0604020202020204" pitchFamily="34" charset="0"/>
              <a:buChar char="•"/>
              <a:defRPr sz="894" baseline="0"/>
            </a:lvl8pPr>
            <a:lvl9pPr marL="142923" indent="-142923">
              <a:spcBef>
                <a:spcPts val="200"/>
              </a:spcBef>
              <a:buFont typeface="Arial" panose="020B0604020202020204" pitchFamily="34" charset="0"/>
              <a:buChar char="•"/>
              <a:defRPr sz="894" baseline="0"/>
            </a:lvl9pPr>
          </a:lstStyle>
          <a:p>
            <a:pPr lvl="0"/>
            <a:r>
              <a:rPr lang="es-ES"/>
              <a:t>%DT:client%</a:t>
            </a:r>
          </a:p>
          <a:p>
            <a:pPr lvl="1"/>
            <a:r>
              <a:rPr lang="es-ES"/>
              <a:t>%DT:ClientName%</a:t>
            </a:r>
          </a:p>
          <a:p>
            <a:pPr lvl="0"/>
            <a:r>
              <a:rPr lang="es-ES"/>
              <a:t>%DT:Overallvalue%</a:t>
            </a:r>
          </a:p>
          <a:p>
            <a:pPr lvl="1"/>
            <a:r>
              <a:rPr lang="es-ES"/>
              <a:t>%DT:Amount%</a:t>
            </a:r>
          </a:p>
          <a:p>
            <a:pPr lvl="0"/>
            <a:r>
              <a:rPr lang="es-ES"/>
              <a:t>%DT:Productsservices%</a:t>
            </a:r>
          </a:p>
          <a:p>
            <a:pPr lvl="2"/>
            <a:r>
              <a:rPr lang="es-ES"/>
              <a:t>%DT:ProductService1%</a:t>
            </a:r>
          </a:p>
          <a:p>
            <a:pPr marL="0" marR="0" lvl="2" indent="-142923" algn="l" defTabSz="907559" rtl="0" eaLnBrk="1" fontAlgn="auto" latinLnBrk="0" hangingPunct="1">
              <a:lnSpc>
                <a:spcPct val="90000"/>
              </a:lnSpc>
              <a:spcBef>
                <a:spcPts val="297"/>
              </a:spcBef>
              <a:spcAft>
                <a:spcPts val="597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/>
              <a:t>%DT:ProductService2%</a:t>
            </a:r>
          </a:p>
          <a:p>
            <a:pPr marL="0" marR="0" lvl="2" indent="-142923" algn="l" defTabSz="907559" rtl="0" eaLnBrk="1" fontAlgn="auto" latinLnBrk="0" hangingPunct="1">
              <a:lnSpc>
                <a:spcPct val="90000"/>
              </a:lnSpc>
              <a:spcBef>
                <a:spcPts val="297"/>
              </a:spcBef>
              <a:spcAft>
                <a:spcPts val="597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/>
              <a:t>%DT:ProductService3%</a:t>
            </a:r>
          </a:p>
          <a:p>
            <a:pPr marL="0" marR="0" lvl="2" indent="-142923" algn="l" defTabSz="907559" rtl="0" eaLnBrk="1" fontAlgn="auto" latinLnBrk="0" hangingPunct="1">
              <a:lnSpc>
                <a:spcPct val="90000"/>
              </a:lnSpc>
              <a:spcBef>
                <a:spcPts val="297"/>
              </a:spcBef>
              <a:spcAft>
                <a:spcPts val="597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/>
              <a:t>%DT:ProductService4%</a:t>
            </a:r>
          </a:p>
          <a:p>
            <a:pPr lvl="0"/>
            <a:r>
              <a:rPr lang="es-ES"/>
              <a:t>%DT:ProjectDates%</a:t>
            </a:r>
          </a:p>
          <a:p>
            <a:pPr lvl="1"/>
            <a:r>
              <a:rPr lang="es-ES"/>
              <a:t>%DT:StartEndDates%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2" hasCustomPrompt="1"/>
          </p:nvPr>
        </p:nvSpPr>
        <p:spPr bwMode="ltGray">
          <a:xfrm flipH="1">
            <a:off x="538664" y="1006475"/>
            <a:ext cx="8316413" cy="1332000"/>
          </a:xfrm>
          <a:prstGeom prst="snip1Rect">
            <a:avLst>
              <a:gd name="adj" fmla="val 21836"/>
            </a:avLst>
          </a:prstGeom>
          <a:solidFill>
            <a:schemeClr val="accent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s-ES"/>
              <a:t> </a:t>
            </a:r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33"/>
          </p:nvPr>
        </p:nvSpPr>
        <p:spPr>
          <a:xfrm>
            <a:off x="8855078" y="1006475"/>
            <a:ext cx="2771775" cy="1332000"/>
          </a:xfrm>
          <a:prstGeom prst="rect">
            <a:avLst/>
          </a:prstGeo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</a:p>
        </p:txBody>
      </p:sp>
      <p:sp>
        <p:nvSpPr>
          <p:cNvPr id="18" name="dcBody"/>
          <p:cNvSpPr>
            <a:spLocks noGrp="1"/>
          </p:cNvSpPr>
          <p:nvPr>
            <p:ph type="body" sz="half" idx="2" hasCustomPrompt="1"/>
          </p:nvPr>
        </p:nvSpPr>
        <p:spPr>
          <a:xfrm>
            <a:off x="2176463" y="3103787"/>
            <a:ext cx="9450386" cy="2813969"/>
          </a:xfrm>
          <a:prstGeom prst="rect">
            <a:avLst/>
          </a:prstGeom>
        </p:spPr>
        <p:txBody>
          <a:bodyPr numCol="2" spcCol="252000">
            <a:normAutofit/>
          </a:bodyPr>
          <a:lstStyle>
            <a:lvl1pPr>
              <a:spcBef>
                <a:spcPts val="200"/>
              </a:spcBef>
              <a:spcAft>
                <a:spcPts val="397"/>
              </a:spcAft>
              <a:defRPr sz="1191" b="1">
                <a:solidFill>
                  <a:schemeClr val="accent1"/>
                </a:solidFill>
              </a:defRPr>
            </a:lvl1pPr>
            <a:lvl2pPr marL="0" indent="0">
              <a:spcBef>
                <a:spcPts val="200"/>
              </a:spcBef>
              <a:spcAft>
                <a:spcPts val="397"/>
              </a:spcAft>
              <a:buFont typeface="Arial" panose="020B0604020202020204" pitchFamily="34" charset="0"/>
              <a:buChar char="​"/>
              <a:defRPr sz="994"/>
            </a:lvl2pPr>
            <a:lvl3pPr marL="267980" indent="-26798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994"/>
            </a:lvl3pPr>
            <a:lvl4pPr marL="535960" indent="-26798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994"/>
            </a:lvl4pPr>
            <a:lvl5pPr marL="803940" indent="-26798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994"/>
            </a:lvl5pPr>
            <a:lvl6pPr marL="1071920" indent="-26798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994"/>
            </a:lvl6pPr>
            <a:lvl7pPr marL="1339900" indent="-26798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994"/>
            </a:lvl7pPr>
            <a:lvl8pPr marL="1607880" indent="-26798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994"/>
            </a:lvl8pPr>
            <a:lvl9pPr marL="1875861" indent="-26798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994" baseline="0"/>
            </a:lvl9pPr>
          </a:lstStyle>
          <a:p>
            <a:pPr lvl="0"/>
            <a:r>
              <a:rPr lang="es-ES"/>
              <a:t>%DT:OurRole%</a:t>
            </a:r>
          </a:p>
          <a:p>
            <a:pPr lvl="1"/>
            <a:r>
              <a:rPr lang="es-ES"/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lvl="1"/>
            <a:r>
              <a:rPr lang="es-ES"/>
              <a:t>Lorem ipsum dolor sit amet, consectetuer adipiscing elit. Maecenas porttitor congue massa. Fusce posuere, magna sed pulvinar ultricies, purus lectus malesuada libero, sit amet commodo magna eros quis urna.Third level</a:t>
            </a:r>
          </a:p>
          <a:p>
            <a:pPr lvl="0"/>
            <a:r>
              <a:rPr lang="es-ES"/>
              <a:t>%DT:KeyChallenges%</a:t>
            </a:r>
          </a:p>
          <a:p>
            <a:pPr lvl="1"/>
            <a:r>
              <a:rPr lang="es-ES"/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lvl="1"/>
            <a:r>
              <a:rPr lang="es-ES"/>
              <a:t>Lorem ipsum dolor sit amet, consectetuer adipiscing elit. Maecenas porttitor congue massa. </a:t>
            </a:r>
          </a:p>
          <a:p>
            <a:pPr lvl="0"/>
            <a:endParaRPr lang="es-ES"/>
          </a:p>
          <a:p>
            <a:pPr lvl="0"/>
            <a:endParaRPr lang="es-ES"/>
          </a:p>
          <a:p>
            <a:pPr lvl="0"/>
            <a:r>
              <a:rPr lang="es-ES"/>
              <a:t>%DT:InnovationBestPractice%</a:t>
            </a:r>
          </a:p>
          <a:p>
            <a:pPr lvl="1"/>
            <a:r>
              <a:rPr lang="es-ES"/>
              <a:t>Lorem ipsum dolor sit amet, consectetuer adipiscing elit. Maecenas porttitor congue massa. Fusce posuere, magna sed pulvinar ultricies, purus lectus malesuada libero, sit amet commodo magna eros quis urna</a:t>
            </a:r>
          </a:p>
          <a:p>
            <a:pPr lvl="0"/>
            <a:r>
              <a:rPr lang="es-ES"/>
              <a:t>%DT:WhatWeAreProudOf%</a:t>
            </a:r>
          </a:p>
          <a:p>
            <a:pPr lvl="1"/>
            <a:r>
              <a:rPr lang="es-ES"/>
              <a:t>Lorem ipsum dolor sit amet, consectetuer adipiscing elit. Maecenas porttitor congue massa. Fusce posuere, magna sed pulvinar ultricies, purus lectus malesuada libero, sit amet commodo magna eros quis urna.</a:t>
            </a:r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14" hasCustomPrompt="1"/>
          </p:nvPr>
        </p:nvSpPr>
        <p:spPr>
          <a:xfrm flipH="1">
            <a:off x="539750" y="1006475"/>
            <a:ext cx="288000" cy="288000"/>
          </a:xfrm>
          <a:prstGeom prst="rtTriangle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s-ES"/>
              <a:t> </a:t>
            </a:r>
          </a:p>
        </p:txBody>
      </p:sp>
      <p:sp>
        <p:nvSpPr>
          <p:cNvPr id="20" name="Title 11"/>
          <p:cNvSpPr>
            <a:spLocks noGrp="1"/>
          </p:cNvSpPr>
          <p:nvPr>
            <p:ph type="title" hasCustomPrompt="1"/>
          </p:nvPr>
        </p:nvSpPr>
        <p:spPr>
          <a:xfrm>
            <a:off x="864003" y="1294475"/>
            <a:ext cx="7738662" cy="498598"/>
          </a:xfrm>
          <a:prstGeom prst="rect">
            <a:avLst/>
          </a:prstGeom>
        </p:spPr>
        <p:txBody>
          <a:bodyPr/>
          <a:lstStyle>
            <a:lvl1pPr>
              <a:defRPr sz="1787" b="0" cap="all" baseline="0">
                <a:solidFill>
                  <a:schemeClr val="bg1"/>
                </a:solidFill>
              </a:defRPr>
            </a:lvl1pPr>
          </a:lstStyle>
          <a:p>
            <a:r>
              <a:rPr lang="es-ES"/>
              <a:t>Add title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864002" y="1894319"/>
            <a:ext cx="7738664" cy="221599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88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/>
              <a:t>Add subtitle</a:t>
            </a:r>
          </a:p>
        </p:txBody>
      </p:sp>
      <p:sp>
        <p:nvSpPr>
          <p:cNvPr id="26" name="dcProductDescription"/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2177226" y="2610000"/>
            <a:ext cx="9451232" cy="388800"/>
          </a:xfrm>
          <a:prstGeom prst="rect">
            <a:avLst/>
          </a:prstGeom>
        </p:spPr>
        <p:txBody>
          <a:bodyPr/>
          <a:lstStyle>
            <a:lvl1pPr>
              <a:buNone/>
              <a:defRPr sz="139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%DT:Introduction%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36" hasCustomPrompt="1"/>
          </p:nvPr>
        </p:nvSpPr>
        <p:spPr>
          <a:xfrm>
            <a:off x="7030800" y="5162400"/>
            <a:ext cx="4597200" cy="360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buNone/>
              <a:defRPr>
                <a:solidFill>
                  <a:schemeClr val="accent3"/>
                </a:solidFill>
              </a:defRPr>
            </a:lvl1pPr>
            <a:lvl2pPr marL="0" indent="0">
              <a:buNone/>
              <a:defRPr/>
            </a:lvl2pPr>
            <a:lvl3pPr marL="267980" indent="0">
              <a:buNone/>
              <a:defRPr/>
            </a:lvl3pPr>
            <a:lvl4pPr marL="535960" indent="0">
              <a:buNone/>
              <a:defRPr/>
            </a:lvl4pPr>
            <a:lvl5pPr marL="803940" indent="0">
              <a:buNone/>
              <a:defRPr/>
            </a:lvl5pPr>
          </a:lstStyle>
          <a:p>
            <a:pPr lvl="0"/>
            <a:r>
              <a:rPr lang="es-ES"/>
              <a:t> </a:t>
            </a:r>
          </a:p>
        </p:txBody>
      </p:sp>
      <p:sp>
        <p:nvSpPr>
          <p:cNvPr id="25" name="dcRelevance"/>
          <p:cNvSpPr>
            <a:spLocks noGrp="1"/>
          </p:cNvSpPr>
          <p:nvPr userDrawn="1">
            <p:ph type="body" sz="quarter" idx="15" hasCustomPrompt="1"/>
          </p:nvPr>
        </p:nvSpPr>
        <p:spPr bwMode="ltGray">
          <a:xfrm>
            <a:off x="7028954" y="5419331"/>
            <a:ext cx="4597896" cy="566859"/>
          </a:xfrm>
          <a:prstGeom prst="rect">
            <a:avLst/>
          </a:prstGeom>
          <a:solidFill>
            <a:schemeClr val="accent3"/>
          </a:solidFill>
        </p:spPr>
        <p:txBody>
          <a:bodyPr wrap="square" lIns="216000" rIns="216000" bIns="21600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buNone/>
              <a:defRPr sz="1191" b="1" cap="all" baseline="0"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994"/>
            </a:lvl2pPr>
            <a:lvl3pPr marL="267980" indent="0">
              <a:buNone/>
              <a:defRPr/>
            </a:lvl3pPr>
            <a:lvl4pPr marL="535960" indent="0">
              <a:buNone/>
              <a:defRPr/>
            </a:lvl4pPr>
            <a:lvl5pPr marL="803940" indent="0">
              <a:buNone/>
              <a:defRPr/>
            </a:lvl5pPr>
          </a:lstStyle>
          <a:p>
            <a:pPr lvl="0"/>
            <a:r>
              <a:rPr lang="es-ES"/>
              <a:t>%DT: RelevanceToThisOpportunity%</a:t>
            </a:r>
          </a:p>
          <a:p>
            <a:pPr lvl="1"/>
            <a:r>
              <a:rPr lang="es-ES"/>
              <a:t>%DT:RelevanceToThisOpportunityContent%</a:t>
            </a:r>
          </a:p>
        </p:txBody>
      </p:sp>
      <p:sp>
        <p:nvSpPr>
          <p:cNvPr id="22" name="Slide Number Placeholder 4">
            <a:extLst>
              <a:ext uri="{FF2B5EF4-FFF2-40B4-BE49-F238E27FC236}">
                <a16:creationId xmlns:a16="http://schemas.microsoft.com/office/drawing/2014/main" id="{96AAB6BC-E6A7-4070-BAB6-800D22E657C7}"/>
              </a:ext>
            </a:extLst>
          </p:cNvPr>
          <p:cNvSpPr txBox="1">
            <a:spLocks/>
          </p:cNvSpPr>
          <p:nvPr userDrawn="1"/>
        </p:nvSpPr>
        <p:spPr>
          <a:xfrm>
            <a:off x="11385653" y="6602370"/>
            <a:ext cx="241200" cy="1384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C1CACA2-8807-444A-80EF-366DD6953B54}" type="slidenum">
              <a:rPr lang="es-ES" sz="894" smtClean="0"/>
              <a:pPr/>
              <a:t>‹#›</a:t>
            </a:fld>
            <a:endParaRPr lang="es-ES" sz="894"/>
          </a:p>
        </p:txBody>
      </p:sp>
      <p:cxnSp>
        <p:nvCxnSpPr>
          <p:cNvPr id="23" name="Conector recto 22">
            <a:extLst>
              <a:ext uri="{FF2B5EF4-FFF2-40B4-BE49-F238E27FC236}">
                <a16:creationId xmlns:a16="http://schemas.microsoft.com/office/drawing/2014/main" id="{00F6FAD8-A4A8-4DAD-9921-481132B2E0ED}"/>
              </a:ext>
            </a:extLst>
          </p:cNvPr>
          <p:cNvCxnSpPr>
            <a:cxnSpLocks/>
          </p:cNvCxnSpPr>
          <p:nvPr userDrawn="1"/>
        </p:nvCxnSpPr>
        <p:spPr>
          <a:xfrm>
            <a:off x="1451144" y="6529985"/>
            <a:ext cx="1074085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688652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099427" y="6408007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pPr/>
              <a:t>05/10/2025</a:t>
            </a:fld>
            <a:endParaRPr lang="es-E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319588" y="6408007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6" name="dcLeft"/>
          <p:cNvSpPr>
            <a:spLocks noGrp="1"/>
          </p:cNvSpPr>
          <p:nvPr>
            <p:ph type="body" sz="quarter" idx="25" hasCustomPrompt="1"/>
          </p:nvPr>
        </p:nvSpPr>
        <p:spPr>
          <a:xfrm>
            <a:off x="539754" y="2302480"/>
            <a:ext cx="1385888" cy="3615275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0"/>
              </a:spcAft>
              <a:defRPr sz="994" cap="all" baseline="0"/>
            </a:lvl1pPr>
            <a:lvl2pPr marL="0" indent="0">
              <a:spcBef>
                <a:spcPts val="200"/>
              </a:spcBef>
              <a:buNone/>
              <a:defRPr sz="894">
                <a:solidFill>
                  <a:schemeClr val="accent1"/>
                </a:solidFill>
              </a:defRPr>
            </a:lvl2pPr>
            <a:lvl3pPr marL="0" marR="0" indent="-142923" algn="l" defTabSz="907559" rtl="0" eaLnBrk="1" fontAlgn="auto" latinLnBrk="0" hangingPunct="1">
              <a:lnSpc>
                <a:spcPct val="90000"/>
              </a:lnSpc>
              <a:spcBef>
                <a:spcPts val="297"/>
              </a:spcBef>
              <a:spcAft>
                <a:spcPts val="597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894">
                <a:solidFill>
                  <a:schemeClr val="accent1"/>
                </a:solidFill>
              </a:defRPr>
            </a:lvl3pPr>
            <a:lvl4pPr marL="803940" indent="-267980">
              <a:buFont typeface="Arial" panose="020B0604020202020204" pitchFamily="34" charset="0"/>
              <a:buChar char="-"/>
              <a:defRPr sz="894"/>
            </a:lvl4pPr>
            <a:lvl5pPr marL="142923" indent="-142923">
              <a:spcBef>
                <a:spcPts val="200"/>
              </a:spcBef>
              <a:buFont typeface="Arial" panose="020B0604020202020204" pitchFamily="34" charset="0"/>
              <a:buChar char="•"/>
              <a:defRPr sz="894"/>
            </a:lvl5pPr>
            <a:lvl6pPr marL="142923" indent="-142923">
              <a:spcBef>
                <a:spcPts val="200"/>
              </a:spcBef>
              <a:buFont typeface="Arial" panose="020B0604020202020204" pitchFamily="34" charset="0"/>
              <a:buChar char="•"/>
              <a:defRPr sz="894"/>
            </a:lvl6pPr>
            <a:lvl7pPr marL="142923" indent="-142923">
              <a:spcBef>
                <a:spcPts val="200"/>
              </a:spcBef>
              <a:buFont typeface="Arial" panose="020B0604020202020204" pitchFamily="34" charset="0"/>
              <a:buChar char="•"/>
              <a:defRPr sz="894" baseline="0"/>
            </a:lvl7pPr>
            <a:lvl8pPr marL="142923" indent="-142923">
              <a:spcBef>
                <a:spcPts val="200"/>
              </a:spcBef>
              <a:buFont typeface="Arial" panose="020B0604020202020204" pitchFamily="34" charset="0"/>
              <a:buChar char="•"/>
              <a:defRPr sz="894" baseline="0"/>
            </a:lvl8pPr>
            <a:lvl9pPr marL="142923" indent="-142923">
              <a:spcBef>
                <a:spcPts val="200"/>
              </a:spcBef>
              <a:buFont typeface="Arial" panose="020B0604020202020204" pitchFamily="34" charset="0"/>
              <a:buChar char="•"/>
              <a:defRPr sz="894" baseline="0"/>
            </a:lvl9pPr>
          </a:lstStyle>
          <a:p>
            <a:pPr lvl="0"/>
            <a:r>
              <a:rPr lang="es-ES"/>
              <a:t>%DT:AreasOfExpertise%</a:t>
            </a:r>
          </a:p>
          <a:p>
            <a:pPr lvl="1"/>
            <a:r>
              <a:rPr lang="es-ES"/>
              <a:t>%DT:Skill1%</a:t>
            </a:r>
          </a:p>
          <a:p>
            <a:pPr lvl="1"/>
            <a:r>
              <a:rPr lang="es-ES"/>
              <a:t>%DT:Skill2%</a:t>
            </a:r>
          </a:p>
          <a:p>
            <a:pPr lvl="1"/>
            <a:r>
              <a:rPr lang="es-ES"/>
              <a:t>%DT:Skill3%</a:t>
            </a:r>
          </a:p>
          <a:p>
            <a:pPr lvl="1"/>
            <a:r>
              <a:rPr lang="es-ES"/>
              <a:t>%DT:Skill4%</a:t>
            </a:r>
          </a:p>
          <a:p>
            <a:pPr lvl="0"/>
            <a:r>
              <a:rPr lang="es-ES"/>
              <a:t>%DT: Qualifications%</a:t>
            </a:r>
          </a:p>
          <a:p>
            <a:pPr lvl="1"/>
            <a:r>
              <a:rPr lang="es-ES"/>
              <a:t>%DT:Qualification1%</a:t>
            </a:r>
          </a:p>
          <a:p>
            <a:pPr lvl="1"/>
            <a:r>
              <a:rPr lang="es-ES"/>
              <a:t>%DT:Qualification2%</a:t>
            </a:r>
          </a:p>
          <a:p>
            <a:pPr lvl="1"/>
            <a:r>
              <a:rPr lang="es-ES"/>
              <a:t>%DT:Qualification3%</a:t>
            </a:r>
          </a:p>
          <a:p>
            <a:pPr lvl="0"/>
            <a:r>
              <a:rPr lang="es-ES"/>
              <a:t>%DT:Position%</a:t>
            </a:r>
          </a:p>
          <a:p>
            <a:pPr lvl="2"/>
            <a:r>
              <a:rPr lang="es-ES"/>
              <a:t>%DT:PositionHere%</a:t>
            </a:r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32" hasCustomPrompt="1"/>
          </p:nvPr>
        </p:nvSpPr>
        <p:spPr bwMode="ltGray">
          <a:xfrm flipH="1">
            <a:off x="538661" y="1006475"/>
            <a:ext cx="9199064" cy="1008000"/>
          </a:xfrm>
          <a:prstGeom prst="snip1Rect">
            <a:avLst>
              <a:gd name="adj" fmla="val 29152"/>
            </a:avLst>
          </a:prstGeom>
          <a:solidFill>
            <a:schemeClr val="accent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s-ES"/>
              <a:t> 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33"/>
          </p:nvPr>
        </p:nvSpPr>
        <p:spPr>
          <a:xfrm>
            <a:off x="9988552" y="1006475"/>
            <a:ext cx="1638299" cy="1008000"/>
          </a:xfrm>
          <a:prstGeom prst="rect">
            <a:avLst/>
          </a:prstGeo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</a:p>
        </p:txBody>
      </p:sp>
      <p:sp>
        <p:nvSpPr>
          <p:cNvPr id="9" name="Text Placeholder 14"/>
          <p:cNvSpPr>
            <a:spLocks noGrp="1"/>
          </p:cNvSpPr>
          <p:nvPr>
            <p:ph type="body" sz="quarter" idx="14" hasCustomPrompt="1"/>
          </p:nvPr>
        </p:nvSpPr>
        <p:spPr>
          <a:xfrm flipH="1">
            <a:off x="534985" y="1006475"/>
            <a:ext cx="288000" cy="288000"/>
          </a:xfrm>
          <a:prstGeom prst="rtTriangle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s-ES"/>
              <a:t> </a:t>
            </a:r>
          </a:p>
        </p:txBody>
      </p:sp>
      <p:sp>
        <p:nvSpPr>
          <p:cNvPr id="10" name="Title 11"/>
          <p:cNvSpPr>
            <a:spLocks noGrp="1"/>
          </p:cNvSpPr>
          <p:nvPr>
            <p:ph type="title" hasCustomPrompt="1"/>
          </p:nvPr>
        </p:nvSpPr>
        <p:spPr>
          <a:xfrm>
            <a:off x="864002" y="1294481"/>
            <a:ext cx="8661663" cy="24929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787" b="1" cap="all" baseline="0">
                <a:solidFill>
                  <a:schemeClr val="bg1"/>
                </a:solidFill>
              </a:defRPr>
            </a:lvl1pPr>
          </a:lstStyle>
          <a:p>
            <a:r>
              <a:rPr lang="es-ES"/>
              <a:t>Firstname Surnam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864002" y="1641603"/>
            <a:ext cx="8661665" cy="221599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39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/>
              <a:t>Description or Subtitle</a:t>
            </a:r>
          </a:p>
        </p:txBody>
      </p:sp>
      <p:sp>
        <p:nvSpPr>
          <p:cNvPr id="12" name="dcProductDescription"/>
          <p:cNvSpPr>
            <a:spLocks noGrp="1"/>
          </p:cNvSpPr>
          <p:nvPr>
            <p:ph type="body" sz="quarter" idx="35" hasCustomPrompt="1"/>
          </p:nvPr>
        </p:nvSpPr>
        <p:spPr>
          <a:xfrm>
            <a:off x="2176463" y="2304000"/>
            <a:ext cx="9450386" cy="388800"/>
          </a:xfrm>
          <a:prstGeom prst="rect">
            <a:avLst/>
          </a:prstGeom>
        </p:spPr>
        <p:txBody>
          <a:bodyPr/>
          <a:lstStyle>
            <a:lvl1pPr>
              <a:buNone/>
              <a:defRPr sz="1391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%DT:Introduction%</a:t>
            </a:r>
          </a:p>
        </p:txBody>
      </p:sp>
      <p:sp>
        <p:nvSpPr>
          <p:cNvPr id="13" name="dcBody"/>
          <p:cNvSpPr>
            <a:spLocks noGrp="1"/>
          </p:cNvSpPr>
          <p:nvPr>
            <p:ph type="body" sz="half" idx="2" hasCustomPrompt="1"/>
          </p:nvPr>
        </p:nvSpPr>
        <p:spPr>
          <a:xfrm>
            <a:off x="2176463" y="2811601"/>
            <a:ext cx="9450386" cy="3106150"/>
          </a:xfrm>
          <a:prstGeom prst="rect">
            <a:avLst/>
          </a:prstGeom>
        </p:spPr>
        <p:txBody>
          <a:bodyPr numCol="2" spcCol="252000">
            <a:normAutofit/>
          </a:bodyPr>
          <a:lstStyle>
            <a:lvl1pPr>
              <a:spcBef>
                <a:spcPts val="200"/>
              </a:spcBef>
              <a:spcAft>
                <a:spcPts val="397"/>
              </a:spcAft>
              <a:buNone/>
              <a:defRPr sz="994" b="1">
                <a:solidFill>
                  <a:schemeClr val="tx1"/>
                </a:solidFill>
              </a:defRPr>
            </a:lvl1pPr>
            <a:lvl2pPr marL="0" indent="0">
              <a:spcBef>
                <a:spcPts val="1191"/>
              </a:spcBef>
              <a:spcAft>
                <a:spcPts val="397"/>
              </a:spcAft>
              <a:buFont typeface="Arial" panose="020B0604020202020204" pitchFamily="34" charset="0"/>
              <a:buChar char="​"/>
              <a:defRPr sz="1391" b="0">
                <a:solidFill>
                  <a:schemeClr val="tx1"/>
                </a:solidFill>
              </a:defRPr>
            </a:lvl2pPr>
            <a:lvl3pPr marL="0" indent="0">
              <a:spcBef>
                <a:spcPts val="1191"/>
              </a:spcBef>
              <a:spcAft>
                <a:spcPts val="397"/>
              </a:spcAft>
              <a:buFont typeface="Arial" panose="020B0604020202020204" pitchFamily="34" charset="0"/>
              <a:buChar char="​"/>
              <a:defRPr sz="1191" b="1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397"/>
              </a:spcAft>
              <a:buFont typeface="Arial" panose="020B0604020202020204" pitchFamily="34" charset="0"/>
              <a:buChar char="​"/>
              <a:defRPr sz="1041"/>
            </a:lvl4pPr>
            <a:lvl5pPr marL="0" indent="0">
              <a:spcBef>
                <a:spcPts val="200"/>
              </a:spcBef>
              <a:spcAft>
                <a:spcPts val="397"/>
              </a:spcAft>
              <a:buFont typeface="Arial" panose="020B0604020202020204" pitchFamily="34" charset="0"/>
              <a:buChar char="​"/>
              <a:defRPr sz="994"/>
            </a:lvl5pPr>
            <a:lvl6pPr marL="267980" indent="-26798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994"/>
            </a:lvl6pPr>
            <a:lvl7pPr marL="535960" indent="-26798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994"/>
            </a:lvl7pPr>
            <a:lvl8pPr marL="803940" indent="-26798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994"/>
            </a:lvl8pPr>
            <a:lvl9pPr marL="1071920" indent="-26798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994" baseline="0"/>
            </a:lvl9pPr>
          </a:lstStyle>
          <a:p>
            <a:pPr lvl="0"/>
            <a:r>
              <a:rPr lang="es-ES"/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lvl="2"/>
            <a:r>
              <a:rPr lang="es-ES"/>
              <a:t>%DT: SuitabilityToTheRole%</a:t>
            </a:r>
          </a:p>
          <a:p>
            <a:pPr lvl="4"/>
            <a:r>
              <a:rPr lang="es-ES"/>
              <a:t>Lorem ipsum dolor sit amet, consectetuer adipiscing elit. Maecenas porttitor congue massa. Fusce posuere, magna sed pulvinar ultricies, purus lectus malesuada libero, sit amet commodo magna eros quis urna.Third level</a:t>
            </a:r>
          </a:p>
          <a:p>
            <a:pPr lvl="2"/>
            <a:r>
              <a:rPr lang="es-ES"/>
              <a:t>%DT: RelevanceOfExperience%</a:t>
            </a:r>
          </a:p>
          <a:p>
            <a:pPr lvl="4"/>
            <a:r>
              <a:rPr lang="es-ES"/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lvl="1"/>
            <a:endParaRPr lang="es-ES"/>
          </a:p>
          <a:p>
            <a:pPr lvl="1"/>
            <a:endParaRPr lang="es-ES"/>
          </a:p>
          <a:p>
            <a:pPr lvl="1"/>
            <a:r>
              <a:rPr lang="es-ES"/>
              <a:t>%DT:ProjectExperience%</a:t>
            </a:r>
          </a:p>
          <a:p>
            <a:pPr lvl="2"/>
            <a:r>
              <a:rPr lang="es-ES"/>
              <a:t>%DT:ProjectTitle%</a:t>
            </a:r>
          </a:p>
          <a:p>
            <a:pPr lvl="3"/>
            <a:r>
              <a:rPr lang="es-ES"/>
              <a:t>%DT:ClientNameDateFee%</a:t>
            </a:r>
          </a:p>
          <a:p>
            <a:pPr lvl="4"/>
            <a:r>
              <a:rPr lang="es-ES"/>
              <a:t>Lorem ipsum dolor sit amet, consectetuer adipiscing elit. Maecenas porttitor congue massa.</a:t>
            </a:r>
          </a:p>
          <a:p>
            <a:pPr lvl="2"/>
            <a:r>
              <a:rPr lang="es-ES"/>
              <a:t>%DT:ProjectTitle%</a:t>
            </a:r>
          </a:p>
          <a:p>
            <a:pPr lvl="3"/>
            <a:r>
              <a:rPr lang="es-ES"/>
              <a:t>%DT:ClientNameDateFee%</a:t>
            </a:r>
          </a:p>
          <a:p>
            <a:pPr lvl="4"/>
            <a:r>
              <a:rPr lang="es-ES"/>
              <a:t>Lorem ipsum dolor sit amet, consectetuer adipiscing elit. Maecenas porttitor congue massa.</a:t>
            </a:r>
          </a:p>
        </p:txBody>
      </p:sp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2070E854-3CC1-40F3-809F-1701D700979F}"/>
              </a:ext>
            </a:extLst>
          </p:cNvPr>
          <p:cNvSpPr txBox="1">
            <a:spLocks/>
          </p:cNvSpPr>
          <p:nvPr userDrawn="1"/>
        </p:nvSpPr>
        <p:spPr>
          <a:xfrm>
            <a:off x="11385653" y="6602370"/>
            <a:ext cx="241200" cy="1384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C1CACA2-8807-444A-80EF-366DD6953B54}" type="slidenum">
              <a:rPr lang="es-ES" sz="894" smtClean="0"/>
              <a:pPr/>
              <a:t>‹#›</a:t>
            </a:fld>
            <a:endParaRPr lang="es-ES" sz="894"/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905F495C-A051-4748-BD61-72E5573491B1}"/>
              </a:ext>
            </a:extLst>
          </p:cNvPr>
          <p:cNvCxnSpPr>
            <a:cxnSpLocks/>
          </p:cNvCxnSpPr>
          <p:nvPr userDrawn="1"/>
        </p:nvCxnSpPr>
        <p:spPr>
          <a:xfrm>
            <a:off x="1451144" y="6529985"/>
            <a:ext cx="1074085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74081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lide overlay -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C294B6CA-68F4-4F29-B1B2-5880C39BEB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50129"/>
            <a:ext cx="4571999" cy="1142998"/>
          </a:xfrm>
        </p:spPr>
        <p:txBody>
          <a:bodyPr>
            <a:noAutofit/>
          </a:bodyPr>
          <a:lstStyle>
            <a:lvl1pPr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7C602180-74AB-4C47-90BF-1DB0B4AE12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57800" y="2514600"/>
            <a:ext cx="6477000" cy="1828800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1" name="Date Placeholder 2">
            <a:extLst>
              <a:ext uri="{FF2B5EF4-FFF2-40B4-BE49-F238E27FC236}">
                <a16:creationId xmlns:a16="http://schemas.microsoft.com/office/drawing/2014/main" id="{28AD08C1-B77D-4287-BCF7-78919F309E7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67800" y="6446837"/>
            <a:ext cx="17145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8D8C3"/>
                </a:solidFill>
              </a:defRPr>
            </a:lvl1pPr>
          </a:lstStyle>
          <a:p>
            <a:fld id="{A0BEE50B-DF5F-4EE0-B2E4-70A3C4CF1C51}" type="datetime3">
              <a:rPr lang="en-US" smtClean="0"/>
              <a:t>5 October 2025</a:t>
            </a:fld>
            <a:endParaRPr lang="en-US"/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79DCEE6B-73BD-49ED-BF1B-ECFEB82FDE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446837"/>
            <a:ext cx="1676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8D8C3"/>
                </a:solidFill>
              </a:defRPr>
            </a:lvl1pPr>
          </a:lstStyle>
          <a:p>
            <a:r>
              <a:rPr lang="en-US"/>
              <a:t>© Arcadis 2020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412B5ACA-D86D-4C7B-8F05-0FDC0FB12B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0900" y="6446837"/>
            <a:ext cx="7239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FE63AA4-120D-435A-A130-F49443AF7CB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71971FC1-F2E6-4E68-8245-184991D6EF5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insert an image &gt; Right Click &gt; Send to Back</a:t>
            </a:r>
          </a:p>
        </p:txBody>
      </p:sp>
    </p:spTree>
    <p:extLst>
      <p:ext uri="{BB962C8B-B14F-4D97-AF65-F5344CB8AC3E}">
        <p14:creationId xmlns:p14="http://schemas.microsoft.com/office/powerpoint/2010/main" val="224620131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099427" y="6408007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pPr/>
              <a:t>05/10/2025</a:t>
            </a:fld>
            <a:endParaRPr lang="es-E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319588" y="6408007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2070E854-3CC1-40F3-809F-1701D700979F}"/>
              </a:ext>
            </a:extLst>
          </p:cNvPr>
          <p:cNvSpPr txBox="1">
            <a:spLocks/>
          </p:cNvSpPr>
          <p:nvPr userDrawn="1"/>
        </p:nvSpPr>
        <p:spPr>
          <a:xfrm>
            <a:off x="11385653" y="6602370"/>
            <a:ext cx="241200" cy="1384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C1CACA2-8807-444A-80EF-366DD6953B54}" type="slidenum">
              <a:rPr lang="es-ES" sz="894" smtClean="0"/>
              <a:pPr/>
              <a:t>‹#›</a:t>
            </a:fld>
            <a:endParaRPr lang="es-ES" sz="894"/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905F495C-A051-4748-BD61-72E5573491B1}"/>
              </a:ext>
            </a:extLst>
          </p:cNvPr>
          <p:cNvCxnSpPr>
            <a:cxnSpLocks/>
          </p:cNvCxnSpPr>
          <p:nvPr userDrawn="1"/>
        </p:nvCxnSpPr>
        <p:spPr>
          <a:xfrm>
            <a:off x="1451144" y="6529985"/>
            <a:ext cx="1074085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C93C7199-EA81-40C3-A851-BF595D9FAE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3" y="950400"/>
            <a:ext cx="11087100" cy="4985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/>
              <a:t>ADD TIT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F89303A7-20A4-4708-9546-8E48FECF70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753" y="1656006"/>
            <a:ext cx="11087100" cy="46606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styles</a:t>
            </a:r>
            <a:endParaRPr lang="es-ES"/>
          </a:p>
          <a:p>
            <a:pPr lvl="1"/>
            <a:r>
              <a:rPr lang="es-ES" err="1"/>
              <a:t>Level</a:t>
            </a:r>
            <a:r>
              <a:rPr lang="es-ES"/>
              <a:t> 2</a:t>
            </a:r>
          </a:p>
          <a:p>
            <a:pPr lvl="2"/>
            <a:r>
              <a:rPr lang="es-ES" err="1"/>
              <a:t>Level</a:t>
            </a:r>
            <a:r>
              <a:rPr lang="es-ES"/>
              <a:t> 3</a:t>
            </a:r>
          </a:p>
          <a:p>
            <a:pPr lvl="3"/>
            <a:r>
              <a:rPr lang="es-ES" err="1"/>
              <a:t>Level</a:t>
            </a:r>
            <a:r>
              <a:rPr lang="es-ES"/>
              <a:t> 4</a:t>
            </a:r>
          </a:p>
          <a:p>
            <a:pPr lvl="4"/>
            <a:r>
              <a:rPr lang="es-ES" err="1"/>
              <a:t>Level</a:t>
            </a:r>
            <a:r>
              <a:rPr lang="es-ES"/>
              <a:t> 5</a:t>
            </a:r>
          </a:p>
          <a:p>
            <a:pPr lvl="5"/>
            <a:r>
              <a:rPr lang="es-ES" err="1"/>
              <a:t>Level</a:t>
            </a:r>
            <a:r>
              <a:rPr lang="es-ES"/>
              <a:t> 6</a:t>
            </a:r>
          </a:p>
          <a:p>
            <a:pPr lvl="6"/>
            <a:r>
              <a:rPr lang="es-ES" err="1"/>
              <a:t>Level</a:t>
            </a:r>
            <a:r>
              <a:rPr lang="es-ES"/>
              <a:t> 7</a:t>
            </a:r>
          </a:p>
          <a:p>
            <a:pPr lvl="7"/>
            <a:r>
              <a:rPr lang="es-ES" err="1"/>
              <a:t>Level</a:t>
            </a:r>
            <a:r>
              <a:rPr lang="es-ES"/>
              <a:t> 8</a:t>
            </a:r>
          </a:p>
          <a:p>
            <a:pPr lvl="8"/>
            <a:r>
              <a:rPr lang="es-ES" err="1"/>
              <a:t>Level</a:t>
            </a:r>
            <a:r>
              <a:rPr lang="es-ES"/>
              <a:t> 9</a:t>
            </a:r>
          </a:p>
        </p:txBody>
      </p:sp>
    </p:spTree>
    <p:extLst>
      <p:ext uri="{BB962C8B-B14F-4D97-AF65-F5344CB8AC3E}">
        <p14:creationId xmlns:p14="http://schemas.microsoft.com/office/powerpoint/2010/main" val="36204942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Divi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nip Single Corner Rectangle 8"/>
          <p:cNvSpPr/>
          <p:nvPr userDrawn="1"/>
        </p:nvSpPr>
        <p:spPr bwMode="ltGray">
          <a:xfrm flipH="1">
            <a:off x="539753" y="1620000"/>
            <a:ext cx="11087100" cy="4696663"/>
          </a:xfrm>
          <a:prstGeom prst="snip1Rect">
            <a:avLst>
              <a:gd name="adj" fmla="val 618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87"/>
          </a:p>
        </p:txBody>
      </p:sp>
      <p:sp>
        <p:nvSpPr>
          <p:cNvPr id="10" name="Right Triangle 9"/>
          <p:cNvSpPr/>
          <p:nvPr userDrawn="1"/>
        </p:nvSpPr>
        <p:spPr>
          <a:xfrm flipH="1">
            <a:off x="539750" y="1620000"/>
            <a:ext cx="288000" cy="28800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87"/>
          </a:p>
        </p:txBody>
      </p:sp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>
          <a:xfrm>
            <a:off x="1200003" y="1928372"/>
            <a:ext cx="8758917" cy="49859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Add section title</a:t>
            </a:r>
          </a:p>
        </p:txBody>
      </p:sp>
      <p:pic>
        <p:nvPicPr>
          <p:cNvPr id="3" name="sLogo">
            <a:extLst>
              <a:ext uri="{FF2B5EF4-FFF2-40B4-BE49-F238E27FC236}">
                <a16:creationId xmlns:a16="http://schemas.microsoft.com/office/drawing/2014/main" id="{61B66949-E93E-4E27-A49D-3B26E5D3C1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02000" y="396000"/>
            <a:ext cx="2826000" cy="298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12295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Divider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nip Single Corner Rectangle 8"/>
          <p:cNvSpPr/>
          <p:nvPr userDrawn="1"/>
        </p:nvSpPr>
        <p:spPr bwMode="ltGray">
          <a:xfrm flipH="1">
            <a:off x="539753" y="1620000"/>
            <a:ext cx="11087100" cy="4696663"/>
          </a:xfrm>
          <a:prstGeom prst="snip1Rect">
            <a:avLst>
              <a:gd name="adj" fmla="val 6181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87"/>
          </a:p>
        </p:txBody>
      </p:sp>
      <p:sp>
        <p:nvSpPr>
          <p:cNvPr id="10" name="Right Triangle 9"/>
          <p:cNvSpPr/>
          <p:nvPr userDrawn="1"/>
        </p:nvSpPr>
        <p:spPr>
          <a:xfrm flipH="1">
            <a:off x="539750" y="1620000"/>
            <a:ext cx="288000" cy="28800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87"/>
          </a:p>
        </p:txBody>
      </p:sp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>
          <a:xfrm>
            <a:off x="1200003" y="1928372"/>
            <a:ext cx="8758917" cy="49859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Add section title</a:t>
            </a:r>
          </a:p>
        </p:txBody>
      </p:sp>
      <p:pic>
        <p:nvPicPr>
          <p:cNvPr id="3" name="sLogo">
            <a:extLst>
              <a:ext uri="{FF2B5EF4-FFF2-40B4-BE49-F238E27FC236}">
                <a16:creationId xmlns:a16="http://schemas.microsoft.com/office/drawing/2014/main" id="{27FF03B5-9ED8-4470-86A3-D469CD8DA6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02000" y="396000"/>
            <a:ext cx="2826000" cy="298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092529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3" y="950400"/>
            <a:ext cx="11087100" cy="49859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s-ES"/>
              <a:t>Add title</a:t>
            </a:r>
          </a:p>
        </p:txBody>
      </p:sp>
      <p:grpSp>
        <p:nvGrpSpPr>
          <p:cNvPr id="8" name="Group 7"/>
          <p:cNvGrpSpPr>
            <a:grpSpLocks/>
          </p:cNvGrpSpPr>
          <p:nvPr userDrawn="1"/>
        </p:nvGrpSpPr>
        <p:grpSpPr bwMode="auto">
          <a:xfrm>
            <a:off x="6334850" y="2029750"/>
            <a:ext cx="5292000" cy="3488400"/>
            <a:chOff x="2337" y="1166"/>
            <a:chExt cx="3011" cy="1984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2337" y="1166"/>
              <a:ext cx="1621" cy="1557"/>
            </a:xfrm>
            <a:custGeom>
              <a:avLst/>
              <a:gdLst>
                <a:gd name="T0" fmla="*/ 415 w 685"/>
                <a:gd name="T1" fmla="*/ 240 h 657"/>
                <a:gd name="T2" fmla="*/ 376 w 685"/>
                <a:gd name="T3" fmla="*/ 280 h 657"/>
                <a:gd name="T4" fmla="*/ 356 w 685"/>
                <a:gd name="T5" fmla="*/ 300 h 657"/>
                <a:gd name="T6" fmla="*/ 353 w 685"/>
                <a:gd name="T7" fmla="*/ 328 h 657"/>
                <a:gd name="T8" fmla="*/ 309 w 685"/>
                <a:gd name="T9" fmla="*/ 328 h 657"/>
                <a:gd name="T10" fmla="*/ 309 w 685"/>
                <a:gd name="T11" fmla="*/ 317 h 657"/>
                <a:gd name="T12" fmla="*/ 316 w 685"/>
                <a:gd name="T13" fmla="*/ 281 h 657"/>
                <a:gd name="T14" fmla="*/ 344 w 685"/>
                <a:gd name="T15" fmla="*/ 250 h 657"/>
                <a:gd name="T16" fmla="*/ 370 w 685"/>
                <a:gd name="T17" fmla="*/ 227 h 657"/>
                <a:gd name="T18" fmla="*/ 376 w 685"/>
                <a:gd name="T19" fmla="*/ 208 h 657"/>
                <a:gd name="T20" fmla="*/ 365 w 685"/>
                <a:gd name="T21" fmla="*/ 184 h 657"/>
                <a:gd name="T22" fmla="*/ 334 w 685"/>
                <a:gd name="T23" fmla="*/ 174 h 657"/>
                <a:gd name="T24" fmla="*/ 303 w 685"/>
                <a:gd name="T25" fmla="*/ 184 h 657"/>
                <a:gd name="T26" fmla="*/ 286 w 685"/>
                <a:gd name="T27" fmla="*/ 217 h 657"/>
                <a:gd name="T28" fmla="*/ 241 w 685"/>
                <a:gd name="T29" fmla="*/ 211 h 657"/>
                <a:gd name="T30" fmla="*/ 267 w 685"/>
                <a:gd name="T31" fmla="*/ 158 h 657"/>
                <a:gd name="T32" fmla="*/ 332 w 685"/>
                <a:gd name="T33" fmla="*/ 137 h 657"/>
                <a:gd name="T34" fmla="*/ 399 w 685"/>
                <a:gd name="T35" fmla="*/ 159 h 657"/>
                <a:gd name="T36" fmla="*/ 424 w 685"/>
                <a:gd name="T37" fmla="*/ 210 h 657"/>
                <a:gd name="T38" fmla="*/ 415 w 685"/>
                <a:gd name="T39" fmla="*/ 240 h 657"/>
                <a:gd name="T40" fmla="*/ 358 w 685"/>
                <a:gd name="T41" fmla="*/ 394 h 657"/>
                <a:gd name="T42" fmla="*/ 309 w 685"/>
                <a:gd name="T43" fmla="*/ 394 h 657"/>
                <a:gd name="T44" fmla="*/ 309 w 685"/>
                <a:gd name="T45" fmla="*/ 345 h 657"/>
                <a:gd name="T46" fmla="*/ 358 w 685"/>
                <a:gd name="T47" fmla="*/ 345 h 657"/>
                <a:gd name="T48" fmla="*/ 358 w 685"/>
                <a:gd name="T49" fmla="*/ 394 h 657"/>
                <a:gd name="T50" fmla="*/ 584 w 685"/>
                <a:gd name="T51" fmla="*/ 82 h 657"/>
                <a:gd name="T52" fmla="*/ 343 w 685"/>
                <a:gd name="T53" fmla="*/ 0 h 657"/>
                <a:gd name="T54" fmla="*/ 101 w 685"/>
                <a:gd name="T55" fmla="*/ 82 h 657"/>
                <a:gd name="T56" fmla="*/ 0 w 685"/>
                <a:gd name="T57" fmla="*/ 283 h 657"/>
                <a:gd name="T58" fmla="*/ 101 w 685"/>
                <a:gd name="T59" fmla="*/ 484 h 657"/>
                <a:gd name="T60" fmla="*/ 343 w 685"/>
                <a:gd name="T61" fmla="*/ 565 h 657"/>
                <a:gd name="T62" fmla="*/ 411 w 685"/>
                <a:gd name="T63" fmla="*/ 560 h 657"/>
                <a:gd name="T64" fmla="*/ 497 w 685"/>
                <a:gd name="T65" fmla="*/ 653 h 657"/>
                <a:gd name="T66" fmla="*/ 507 w 685"/>
                <a:gd name="T67" fmla="*/ 657 h 657"/>
                <a:gd name="T68" fmla="*/ 512 w 685"/>
                <a:gd name="T69" fmla="*/ 657 h 657"/>
                <a:gd name="T70" fmla="*/ 521 w 685"/>
                <a:gd name="T71" fmla="*/ 644 h 657"/>
                <a:gd name="T72" fmla="*/ 521 w 685"/>
                <a:gd name="T73" fmla="*/ 524 h 657"/>
                <a:gd name="T74" fmla="*/ 584 w 685"/>
                <a:gd name="T75" fmla="*/ 484 h 657"/>
                <a:gd name="T76" fmla="*/ 685 w 685"/>
                <a:gd name="T77" fmla="*/ 283 h 657"/>
                <a:gd name="T78" fmla="*/ 584 w 685"/>
                <a:gd name="T79" fmla="*/ 82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85" h="657">
                  <a:moveTo>
                    <a:pt x="415" y="240"/>
                  </a:moveTo>
                  <a:cubicBezTo>
                    <a:pt x="409" y="250"/>
                    <a:pt x="396" y="263"/>
                    <a:pt x="376" y="280"/>
                  </a:cubicBezTo>
                  <a:cubicBezTo>
                    <a:pt x="365" y="288"/>
                    <a:pt x="359" y="295"/>
                    <a:pt x="356" y="300"/>
                  </a:cubicBezTo>
                  <a:cubicBezTo>
                    <a:pt x="354" y="306"/>
                    <a:pt x="353" y="315"/>
                    <a:pt x="353" y="328"/>
                  </a:cubicBezTo>
                  <a:cubicBezTo>
                    <a:pt x="309" y="328"/>
                    <a:pt x="309" y="328"/>
                    <a:pt x="309" y="328"/>
                  </a:cubicBezTo>
                  <a:cubicBezTo>
                    <a:pt x="309" y="322"/>
                    <a:pt x="309" y="318"/>
                    <a:pt x="309" y="317"/>
                  </a:cubicBezTo>
                  <a:cubicBezTo>
                    <a:pt x="309" y="302"/>
                    <a:pt x="311" y="291"/>
                    <a:pt x="316" y="281"/>
                  </a:cubicBezTo>
                  <a:cubicBezTo>
                    <a:pt x="320" y="272"/>
                    <a:pt x="330" y="262"/>
                    <a:pt x="344" y="250"/>
                  </a:cubicBezTo>
                  <a:cubicBezTo>
                    <a:pt x="358" y="238"/>
                    <a:pt x="367" y="231"/>
                    <a:pt x="370" y="227"/>
                  </a:cubicBezTo>
                  <a:cubicBezTo>
                    <a:pt x="374" y="222"/>
                    <a:pt x="376" y="215"/>
                    <a:pt x="376" y="208"/>
                  </a:cubicBezTo>
                  <a:cubicBezTo>
                    <a:pt x="376" y="199"/>
                    <a:pt x="372" y="191"/>
                    <a:pt x="365" y="184"/>
                  </a:cubicBezTo>
                  <a:cubicBezTo>
                    <a:pt x="357" y="177"/>
                    <a:pt x="347" y="174"/>
                    <a:pt x="334" y="174"/>
                  </a:cubicBezTo>
                  <a:cubicBezTo>
                    <a:pt x="322" y="174"/>
                    <a:pt x="311" y="177"/>
                    <a:pt x="303" y="184"/>
                  </a:cubicBezTo>
                  <a:cubicBezTo>
                    <a:pt x="295" y="192"/>
                    <a:pt x="289" y="202"/>
                    <a:pt x="286" y="217"/>
                  </a:cubicBezTo>
                  <a:cubicBezTo>
                    <a:pt x="241" y="211"/>
                    <a:pt x="241" y="211"/>
                    <a:pt x="241" y="211"/>
                  </a:cubicBezTo>
                  <a:cubicBezTo>
                    <a:pt x="242" y="190"/>
                    <a:pt x="251" y="173"/>
                    <a:pt x="267" y="158"/>
                  </a:cubicBezTo>
                  <a:cubicBezTo>
                    <a:pt x="284" y="144"/>
                    <a:pt x="305" y="137"/>
                    <a:pt x="332" y="137"/>
                  </a:cubicBezTo>
                  <a:cubicBezTo>
                    <a:pt x="360" y="137"/>
                    <a:pt x="382" y="144"/>
                    <a:pt x="399" y="159"/>
                  </a:cubicBezTo>
                  <a:cubicBezTo>
                    <a:pt x="416" y="173"/>
                    <a:pt x="424" y="190"/>
                    <a:pt x="424" y="210"/>
                  </a:cubicBezTo>
                  <a:cubicBezTo>
                    <a:pt x="424" y="221"/>
                    <a:pt x="421" y="231"/>
                    <a:pt x="415" y="240"/>
                  </a:cubicBezTo>
                  <a:moveTo>
                    <a:pt x="358" y="394"/>
                  </a:moveTo>
                  <a:cubicBezTo>
                    <a:pt x="309" y="394"/>
                    <a:pt x="309" y="394"/>
                    <a:pt x="309" y="394"/>
                  </a:cubicBezTo>
                  <a:cubicBezTo>
                    <a:pt x="309" y="345"/>
                    <a:pt x="309" y="345"/>
                    <a:pt x="309" y="345"/>
                  </a:cubicBezTo>
                  <a:cubicBezTo>
                    <a:pt x="358" y="345"/>
                    <a:pt x="358" y="345"/>
                    <a:pt x="358" y="345"/>
                  </a:cubicBezTo>
                  <a:lnTo>
                    <a:pt x="358" y="394"/>
                  </a:lnTo>
                  <a:close/>
                  <a:moveTo>
                    <a:pt x="584" y="82"/>
                  </a:moveTo>
                  <a:cubicBezTo>
                    <a:pt x="520" y="29"/>
                    <a:pt x="434" y="0"/>
                    <a:pt x="343" y="0"/>
                  </a:cubicBezTo>
                  <a:cubicBezTo>
                    <a:pt x="252" y="0"/>
                    <a:pt x="166" y="29"/>
                    <a:pt x="101" y="82"/>
                  </a:cubicBezTo>
                  <a:cubicBezTo>
                    <a:pt x="36" y="136"/>
                    <a:pt x="0" y="207"/>
                    <a:pt x="0" y="283"/>
                  </a:cubicBezTo>
                  <a:cubicBezTo>
                    <a:pt x="0" y="359"/>
                    <a:pt x="36" y="430"/>
                    <a:pt x="101" y="484"/>
                  </a:cubicBezTo>
                  <a:cubicBezTo>
                    <a:pt x="166" y="536"/>
                    <a:pt x="252" y="565"/>
                    <a:pt x="343" y="565"/>
                  </a:cubicBezTo>
                  <a:cubicBezTo>
                    <a:pt x="366" y="565"/>
                    <a:pt x="389" y="564"/>
                    <a:pt x="411" y="560"/>
                  </a:cubicBezTo>
                  <a:cubicBezTo>
                    <a:pt x="497" y="653"/>
                    <a:pt x="497" y="653"/>
                    <a:pt x="497" y="653"/>
                  </a:cubicBezTo>
                  <a:cubicBezTo>
                    <a:pt x="500" y="656"/>
                    <a:pt x="504" y="657"/>
                    <a:pt x="507" y="657"/>
                  </a:cubicBezTo>
                  <a:cubicBezTo>
                    <a:pt x="509" y="657"/>
                    <a:pt x="511" y="657"/>
                    <a:pt x="512" y="657"/>
                  </a:cubicBezTo>
                  <a:cubicBezTo>
                    <a:pt x="518" y="654"/>
                    <a:pt x="521" y="649"/>
                    <a:pt x="521" y="644"/>
                  </a:cubicBezTo>
                  <a:cubicBezTo>
                    <a:pt x="521" y="524"/>
                    <a:pt x="521" y="524"/>
                    <a:pt x="521" y="524"/>
                  </a:cubicBezTo>
                  <a:cubicBezTo>
                    <a:pt x="544" y="513"/>
                    <a:pt x="565" y="499"/>
                    <a:pt x="584" y="484"/>
                  </a:cubicBezTo>
                  <a:cubicBezTo>
                    <a:pt x="649" y="430"/>
                    <a:pt x="685" y="359"/>
                    <a:pt x="685" y="283"/>
                  </a:cubicBezTo>
                  <a:cubicBezTo>
                    <a:pt x="685" y="207"/>
                    <a:pt x="649" y="136"/>
                    <a:pt x="584" y="82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sz="1787"/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745" y="1590"/>
              <a:ext cx="1603" cy="1560"/>
            </a:xfrm>
            <a:custGeom>
              <a:avLst/>
              <a:gdLst>
                <a:gd name="T0" fmla="*/ 499 w 677"/>
                <a:gd name="T1" fmla="*/ 316 h 658"/>
                <a:gd name="T2" fmla="*/ 457 w 677"/>
                <a:gd name="T3" fmla="*/ 275 h 658"/>
                <a:gd name="T4" fmla="*/ 499 w 677"/>
                <a:gd name="T5" fmla="*/ 234 h 658"/>
                <a:gd name="T6" fmla="*/ 540 w 677"/>
                <a:gd name="T7" fmla="*/ 275 h 658"/>
                <a:gd name="T8" fmla="*/ 499 w 677"/>
                <a:gd name="T9" fmla="*/ 316 h 658"/>
                <a:gd name="T10" fmla="*/ 335 w 677"/>
                <a:gd name="T11" fmla="*/ 316 h 658"/>
                <a:gd name="T12" fmla="*/ 293 w 677"/>
                <a:gd name="T13" fmla="*/ 275 h 658"/>
                <a:gd name="T14" fmla="*/ 335 w 677"/>
                <a:gd name="T15" fmla="*/ 234 h 658"/>
                <a:gd name="T16" fmla="*/ 376 w 677"/>
                <a:gd name="T17" fmla="*/ 275 h 658"/>
                <a:gd name="T18" fmla="*/ 335 w 677"/>
                <a:gd name="T19" fmla="*/ 316 h 658"/>
                <a:gd name="T20" fmla="*/ 170 w 677"/>
                <a:gd name="T21" fmla="*/ 316 h 658"/>
                <a:gd name="T22" fmla="*/ 129 w 677"/>
                <a:gd name="T23" fmla="*/ 275 h 658"/>
                <a:gd name="T24" fmla="*/ 170 w 677"/>
                <a:gd name="T25" fmla="*/ 234 h 658"/>
                <a:gd name="T26" fmla="*/ 211 w 677"/>
                <a:gd name="T27" fmla="*/ 275 h 658"/>
                <a:gd name="T28" fmla="*/ 170 w 677"/>
                <a:gd name="T29" fmla="*/ 316 h 658"/>
                <a:gd name="T30" fmla="*/ 575 w 677"/>
                <a:gd name="T31" fmla="*/ 82 h 658"/>
                <a:gd name="T32" fmla="*/ 334 w 677"/>
                <a:gd name="T33" fmla="*/ 0 h 658"/>
                <a:gd name="T34" fmla="*/ 126 w 677"/>
                <a:gd name="T35" fmla="*/ 59 h 658"/>
                <a:gd name="T36" fmla="*/ 129 w 677"/>
                <a:gd name="T37" fmla="*/ 104 h 658"/>
                <a:gd name="T38" fmla="*/ 14 w 677"/>
                <a:gd name="T39" fmla="*/ 335 h 658"/>
                <a:gd name="T40" fmla="*/ 0 w 677"/>
                <a:gd name="T41" fmla="*/ 345 h 658"/>
                <a:gd name="T42" fmla="*/ 93 w 677"/>
                <a:gd name="T43" fmla="*/ 484 h 658"/>
                <a:gd name="T44" fmla="*/ 156 w 677"/>
                <a:gd name="T45" fmla="*/ 524 h 658"/>
                <a:gd name="T46" fmla="*/ 156 w 677"/>
                <a:gd name="T47" fmla="*/ 644 h 658"/>
                <a:gd name="T48" fmla="*/ 164 w 677"/>
                <a:gd name="T49" fmla="*/ 657 h 658"/>
                <a:gd name="T50" fmla="*/ 169 w 677"/>
                <a:gd name="T51" fmla="*/ 658 h 658"/>
                <a:gd name="T52" fmla="*/ 180 w 677"/>
                <a:gd name="T53" fmla="*/ 653 h 658"/>
                <a:gd name="T54" fmla="*/ 266 w 677"/>
                <a:gd name="T55" fmla="*/ 560 h 658"/>
                <a:gd name="T56" fmla="*/ 334 w 677"/>
                <a:gd name="T57" fmla="*/ 565 h 658"/>
                <a:gd name="T58" fmla="*/ 575 w 677"/>
                <a:gd name="T59" fmla="*/ 484 h 658"/>
                <a:gd name="T60" fmla="*/ 677 w 677"/>
                <a:gd name="T61" fmla="*/ 283 h 658"/>
                <a:gd name="T62" fmla="*/ 575 w 677"/>
                <a:gd name="T63" fmla="*/ 82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77" h="658">
                  <a:moveTo>
                    <a:pt x="499" y="316"/>
                  </a:moveTo>
                  <a:cubicBezTo>
                    <a:pt x="476" y="316"/>
                    <a:pt x="457" y="298"/>
                    <a:pt x="457" y="275"/>
                  </a:cubicBezTo>
                  <a:cubicBezTo>
                    <a:pt x="457" y="252"/>
                    <a:pt x="476" y="234"/>
                    <a:pt x="499" y="234"/>
                  </a:cubicBezTo>
                  <a:cubicBezTo>
                    <a:pt x="521" y="234"/>
                    <a:pt x="540" y="252"/>
                    <a:pt x="540" y="275"/>
                  </a:cubicBezTo>
                  <a:cubicBezTo>
                    <a:pt x="540" y="298"/>
                    <a:pt x="521" y="316"/>
                    <a:pt x="499" y="316"/>
                  </a:cubicBezTo>
                  <a:moveTo>
                    <a:pt x="335" y="316"/>
                  </a:moveTo>
                  <a:cubicBezTo>
                    <a:pt x="312" y="316"/>
                    <a:pt x="293" y="298"/>
                    <a:pt x="293" y="275"/>
                  </a:cubicBezTo>
                  <a:cubicBezTo>
                    <a:pt x="293" y="252"/>
                    <a:pt x="312" y="234"/>
                    <a:pt x="335" y="234"/>
                  </a:cubicBezTo>
                  <a:cubicBezTo>
                    <a:pt x="357" y="234"/>
                    <a:pt x="376" y="252"/>
                    <a:pt x="376" y="275"/>
                  </a:cubicBezTo>
                  <a:cubicBezTo>
                    <a:pt x="376" y="298"/>
                    <a:pt x="357" y="316"/>
                    <a:pt x="335" y="316"/>
                  </a:cubicBezTo>
                  <a:moveTo>
                    <a:pt x="170" y="316"/>
                  </a:moveTo>
                  <a:cubicBezTo>
                    <a:pt x="147" y="316"/>
                    <a:pt x="129" y="298"/>
                    <a:pt x="129" y="275"/>
                  </a:cubicBezTo>
                  <a:cubicBezTo>
                    <a:pt x="129" y="252"/>
                    <a:pt x="147" y="234"/>
                    <a:pt x="170" y="234"/>
                  </a:cubicBezTo>
                  <a:cubicBezTo>
                    <a:pt x="192" y="234"/>
                    <a:pt x="211" y="252"/>
                    <a:pt x="211" y="275"/>
                  </a:cubicBezTo>
                  <a:cubicBezTo>
                    <a:pt x="211" y="298"/>
                    <a:pt x="192" y="316"/>
                    <a:pt x="170" y="316"/>
                  </a:cubicBezTo>
                  <a:moveTo>
                    <a:pt x="575" y="82"/>
                  </a:moveTo>
                  <a:cubicBezTo>
                    <a:pt x="511" y="29"/>
                    <a:pt x="425" y="0"/>
                    <a:pt x="334" y="0"/>
                  </a:cubicBezTo>
                  <a:cubicBezTo>
                    <a:pt x="258" y="0"/>
                    <a:pt x="185" y="21"/>
                    <a:pt x="126" y="59"/>
                  </a:cubicBezTo>
                  <a:cubicBezTo>
                    <a:pt x="128" y="73"/>
                    <a:pt x="129" y="89"/>
                    <a:pt x="129" y="104"/>
                  </a:cubicBezTo>
                  <a:cubicBezTo>
                    <a:pt x="129" y="192"/>
                    <a:pt x="88" y="274"/>
                    <a:pt x="14" y="335"/>
                  </a:cubicBezTo>
                  <a:cubicBezTo>
                    <a:pt x="9" y="338"/>
                    <a:pt x="5" y="342"/>
                    <a:pt x="0" y="345"/>
                  </a:cubicBezTo>
                  <a:cubicBezTo>
                    <a:pt x="14" y="397"/>
                    <a:pt x="46" y="445"/>
                    <a:pt x="93" y="484"/>
                  </a:cubicBezTo>
                  <a:cubicBezTo>
                    <a:pt x="112" y="499"/>
                    <a:pt x="133" y="513"/>
                    <a:pt x="156" y="524"/>
                  </a:cubicBezTo>
                  <a:cubicBezTo>
                    <a:pt x="156" y="644"/>
                    <a:pt x="156" y="644"/>
                    <a:pt x="156" y="644"/>
                  </a:cubicBezTo>
                  <a:cubicBezTo>
                    <a:pt x="156" y="649"/>
                    <a:pt x="159" y="655"/>
                    <a:pt x="164" y="657"/>
                  </a:cubicBezTo>
                  <a:cubicBezTo>
                    <a:pt x="166" y="657"/>
                    <a:pt x="168" y="658"/>
                    <a:pt x="169" y="658"/>
                  </a:cubicBezTo>
                  <a:cubicBezTo>
                    <a:pt x="173" y="658"/>
                    <a:pt x="177" y="656"/>
                    <a:pt x="180" y="653"/>
                  </a:cubicBezTo>
                  <a:cubicBezTo>
                    <a:pt x="266" y="560"/>
                    <a:pt x="266" y="560"/>
                    <a:pt x="266" y="560"/>
                  </a:cubicBezTo>
                  <a:cubicBezTo>
                    <a:pt x="288" y="564"/>
                    <a:pt x="311" y="565"/>
                    <a:pt x="334" y="565"/>
                  </a:cubicBezTo>
                  <a:cubicBezTo>
                    <a:pt x="425" y="565"/>
                    <a:pt x="511" y="536"/>
                    <a:pt x="575" y="484"/>
                  </a:cubicBezTo>
                  <a:cubicBezTo>
                    <a:pt x="641" y="430"/>
                    <a:pt x="677" y="359"/>
                    <a:pt x="677" y="283"/>
                  </a:cubicBezTo>
                  <a:cubicBezTo>
                    <a:pt x="677" y="207"/>
                    <a:pt x="641" y="136"/>
                    <a:pt x="575" y="82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sz="1787"/>
            </a:p>
          </p:txBody>
        </p:sp>
      </p:grpSp>
      <p:sp>
        <p:nvSpPr>
          <p:cNvPr id="6" name="Rectangle 5"/>
          <p:cNvSpPr/>
          <p:nvPr userDrawn="1"/>
        </p:nvSpPr>
        <p:spPr bwMode="white">
          <a:xfrm>
            <a:off x="0" y="6316670"/>
            <a:ext cx="12192000" cy="54133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87"/>
          </a:p>
        </p:txBody>
      </p:sp>
    </p:spTree>
    <p:extLst>
      <p:ext uri="{BB962C8B-B14F-4D97-AF65-F5344CB8AC3E}">
        <p14:creationId xmlns:p14="http://schemas.microsoft.com/office/powerpoint/2010/main" val="6223181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ltGray">
          <a:xfrm flipH="1">
            <a:off x="0" y="1800000"/>
            <a:ext cx="12192000" cy="50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87"/>
          </a:p>
        </p:txBody>
      </p:sp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>
          <a:xfrm>
            <a:off x="720000" y="2237470"/>
            <a:ext cx="10752000" cy="83099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5955">
                <a:solidFill>
                  <a:schemeClr val="bg1"/>
                </a:solidFill>
              </a:defRPr>
            </a:lvl1pPr>
          </a:lstStyle>
          <a:p>
            <a:r>
              <a:rPr lang="es-ES"/>
              <a:t>Add title</a:t>
            </a:r>
          </a:p>
        </p:txBody>
      </p:sp>
      <p:pic>
        <p:nvPicPr>
          <p:cNvPr id="3" name="sLogo">
            <a:extLst>
              <a:ext uri="{FF2B5EF4-FFF2-40B4-BE49-F238E27FC236}">
                <a16:creationId xmlns:a16="http://schemas.microsoft.com/office/drawing/2014/main" id="{17FDFA41-930C-48FD-9776-C0D284E842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8000" y="396000"/>
            <a:ext cx="3420000" cy="361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479542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proving Qua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099427" y="6408007"/>
            <a:ext cx="3178800" cy="138499"/>
          </a:xfrm>
          <a:prstGeom prst="rect">
            <a:avLst/>
          </a:prstGeom>
        </p:spPr>
        <p:txBody>
          <a:bodyPr/>
          <a:lstStyle/>
          <a:p>
            <a:fld id="{548A52B9-D91E-41DB-9BEE-856ED9C57045}" type="datetimeFigureOut">
              <a:rPr lang="es-ES" smtClean="0"/>
              <a:pPr/>
              <a:t>05/10/2025</a:t>
            </a:fld>
            <a:endParaRPr lang="es-E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319588" y="6408007"/>
            <a:ext cx="3527425" cy="138499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6" name="TextBox 5"/>
          <p:cNvSpPr txBox="1"/>
          <p:nvPr userDrawn="1"/>
        </p:nvSpPr>
        <p:spPr>
          <a:xfrm>
            <a:off x="540000" y="2792241"/>
            <a:ext cx="6084011" cy="122084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4416"/>
              </a:lnSpc>
            </a:pPr>
            <a:r>
              <a:rPr lang="es-ES" sz="4367">
                <a:solidFill>
                  <a:srgbClr val="000000"/>
                </a:solidFill>
                <a:latin typeface="Arial"/>
                <a:cs typeface="Arial"/>
              </a:rPr>
              <a:t>Arcadis.</a:t>
            </a:r>
          </a:p>
          <a:p>
            <a:pPr>
              <a:lnSpc>
                <a:spcPts val="4416"/>
              </a:lnSpc>
            </a:pPr>
            <a:r>
              <a:rPr lang="es-ES" sz="4367" err="1">
                <a:solidFill>
                  <a:srgbClr val="E4610F"/>
                </a:solidFill>
                <a:latin typeface="Arial"/>
                <a:cs typeface="Arial"/>
              </a:rPr>
              <a:t>Improving</a:t>
            </a:r>
            <a:r>
              <a:rPr lang="es-ES" sz="4367">
                <a:solidFill>
                  <a:srgbClr val="E4610F"/>
                </a:solidFill>
                <a:latin typeface="Arial"/>
                <a:cs typeface="Arial"/>
              </a:rPr>
              <a:t> </a:t>
            </a:r>
            <a:r>
              <a:rPr lang="es-ES" sz="4367" err="1">
                <a:solidFill>
                  <a:srgbClr val="E4610F"/>
                </a:solidFill>
                <a:latin typeface="Arial"/>
                <a:cs typeface="Arial"/>
              </a:rPr>
              <a:t>quality</a:t>
            </a:r>
            <a:r>
              <a:rPr lang="es-ES" sz="4367">
                <a:solidFill>
                  <a:srgbClr val="E4610F"/>
                </a:solidFill>
                <a:latin typeface="Arial"/>
                <a:cs typeface="Arial"/>
              </a:rPr>
              <a:t> </a:t>
            </a:r>
            <a:r>
              <a:rPr lang="es-ES" sz="4367" err="1">
                <a:solidFill>
                  <a:srgbClr val="E4610F"/>
                </a:solidFill>
                <a:latin typeface="Arial"/>
                <a:cs typeface="Arial"/>
              </a:rPr>
              <a:t>of</a:t>
            </a:r>
            <a:r>
              <a:rPr lang="es-ES" sz="4367">
                <a:solidFill>
                  <a:srgbClr val="E4610F"/>
                </a:solidFill>
                <a:latin typeface="Arial"/>
                <a:cs typeface="Arial"/>
              </a:rPr>
              <a:t> </a:t>
            </a:r>
            <a:r>
              <a:rPr lang="es-ES" sz="4367" err="1">
                <a:solidFill>
                  <a:srgbClr val="E4610F"/>
                </a:solidFill>
                <a:latin typeface="Arial"/>
                <a:cs typeface="Arial"/>
              </a:rPr>
              <a:t>life</a:t>
            </a:r>
            <a:r>
              <a:rPr lang="es-ES" sz="4367">
                <a:solidFill>
                  <a:srgbClr val="E4610F"/>
                </a:solidFill>
                <a:latin typeface="Arial"/>
                <a:cs typeface="Arial"/>
              </a:rPr>
              <a:t>.</a:t>
            </a:r>
          </a:p>
        </p:txBody>
      </p: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24B95631-314D-4621-869A-240677BEFBBA}"/>
              </a:ext>
            </a:extLst>
          </p:cNvPr>
          <p:cNvCxnSpPr>
            <a:cxnSpLocks/>
          </p:cNvCxnSpPr>
          <p:nvPr userDrawn="1"/>
        </p:nvCxnSpPr>
        <p:spPr>
          <a:xfrm>
            <a:off x="1451144" y="6529985"/>
            <a:ext cx="1074085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048597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AF43ADC-C920-4075-B458-FD54945B61DD}"/>
              </a:ext>
            </a:extLst>
          </p:cNvPr>
          <p:cNvSpPr/>
          <p:nvPr userDrawn="1"/>
        </p:nvSpPr>
        <p:spPr>
          <a:xfrm>
            <a:off x="0" y="0"/>
            <a:ext cx="12192000" cy="5341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7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3941810A-0CAA-459A-9935-4091C492EE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5244" y="287534"/>
            <a:ext cx="1571226" cy="238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874924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06_Divider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">
            <a:extLst>
              <a:ext uri="{FF2B5EF4-FFF2-40B4-BE49-F238E27FC236}">
                <a16:creationId xmlns:a16="http://schemas.microsoft.com/office/drawing/2014/main" id="{F4A0732C-B51B-4D7E-96CE-96902446D14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sz="2044"/>
          </a:p>
        </p:txBody>
      </p:sp>
      <p:sp>
        <p:nvSpPr>
          <p:cNvPr id="4" name="Subtitle">
            <a:extLst>
              <a:ext uri="{FF2B5EF4-FFF2-40B4-BE49-F238E27FC236}">
                <a16:creationId xmlns:a16="http://schemas.microsoft.com/office/drawing/2014/main" id="{25BFBBFB-8E08-48BD-8CC0-CA020C1072B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57200" y="3199502"/>
            <a:ext cx="112776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2095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Divider subtitle if required</a:t>
            </a: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0DE94DB5-0030-4178-945A-A963BB29DBC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57200" y="2285102"/>
            <a:ext cx="11277600" cy="6858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5586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title</a:t>
            </a:r>
          </a:p>
        </p:txBody>
      </p:sp>
      <p:sp>
        <p:nvSpPr>
          <p:cNvPr id="6" name="Section number - title">
            <a:extLst>
              <a:ext uri="{FF2B5EF4-FFF2-40B4-BE49-F238E27FC236}">
                <a16:creationId xmlns:a16="http://schemas.microsoft.com/office/drawing/2014/main" id="{D11D28BB-E46C-4756-BF17-F48487E51BE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819275"/>
            <a:ext cx="112776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2095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Number</a:t>
            </a:r>
          </a:p>
        </p:txBody>
      </p:sp>
    </p:spTree>
    <p:extLst>
      <p:ext uri="{BB962C8B-B14F-4D97-AF65-F5344CB8AC3E}">
        <p14:creationId xmlns:p14="http://schemas.microsoft.com/office/powerpoint/2010/main" val="1297567021"/>
      </p:ext>
    </p:extLst>
  </p:cSld>
  <p:clrMapOvr>
    <a:masterClrMapping/>
  </p:clrMapOvr>
  <p:transition spd="slow">
    <p:push dir="u"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Overlay n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">
            <a:extLst>
              <a:ext uri="{FF2B5EF4-FFF2-40B4-BE49-F238E27FC236}">
                <a16:creationId xmlns:a16="http://schemas.microsoft.com/office/drawing/2014/main" id="{19AF6AE8-D2B1-4EB5-BBB4-9077B1F7CB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743200"/>
            <a:ext cx="2466109" cy="2514600"/>
          </a:xfrm>
          <a:prstGeom prst="rect">
            <a:avLst/>
          </a:prstGeom>
        </p:spPr>
        <p:txBody>
          <a:bodyPr lIns="0" tIns="0" rIns="90000" bIns="0"/>
          <a:lstStyle>
            <a:lvl1pPr>
              <a:lnSpc>
                <a:spcPct val="100000"/>
              </a:lnSpc>
              <a:spcBef>
                <a:spcPts val="599"/>
              </a:spcBef>
              <a:spcAft>
                <a:spcPts val="1197"/>
              </a:spcAft>
              <a:defRPr sz="159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55ECC8B-4B56-4777-97FD-BF1D9B8F06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2" y="1600200"/>
            <a:ext cx="2466108" cy="914400"/>
          </a:xfrm>
        </p:spPr>
        <p:txBody>
          <a:bodyPr rIns="90000">
            <a:noAutofit/>
          </a:bodyPr>
          <a:lstStyle>
            <a:lvl1pPr>
              <a:defRPr sz="2793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Title</a:t>
            </a:r>
            <a:endParaRPr lang="en-PH"/>
          </a:p>
        </p:txBody>
      </p:sp>
      <p:sp>
        <p:nvSpPr>
          <p:cNvPr id="5" name="Picture">
            <a:extLst>
              <a:ext uri="{FF2B5EF4-FFF2-40B4-BE49-F238E27FC236}">
                <a16:creationId xmlns:a16="http://schemas.microsoft.com/office/drawing/2014/main" id="{0BD5BAE7-4431-416F-B7DF-ED27C96F92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38600" y="914400"/>
            <a:ext cx="7696200" cy="29718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r">
              <a:defRPr lang="en-US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64860548"/>
      </p:ext>
    </p:extLst>
  </p:cSld>
  <p:clrMapOvr>
    <a:masterClrMapping/>
  </p:clrMapOvr>
  <p:transition spd="slow">
    <p:push dir="u"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DF16A7-2413-4DEA-998F-44BA9197DA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2"/>
            <a:ext cx="11277600" cy="6857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Title</a:t>
            </a:r>
            <a:endParaRPr lang="en-PH"/>
          </a:p>
        </p:txBody>
      </p:sp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8E35D0D9-5B28-41AF-8FFF-51B3BB0B9F4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3672608"/>
            <a:ext cx="2628900" cy="2135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397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First Last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3AAFDD20-5CB4-4E7B-8A4B-580E186EB39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3969330"/>
            <a:ext cx="2628900" cy="228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3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87F9A40D-E5DD-4230-B23C-691D9FEB7FC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1" y="2071254"/>
            <a:ext cx="1094509" cy="1357746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ctr">
              <a:defRPr lang="en-US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Click to add an image</a:t>
            </a:r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DB885B5F-0954-49E7-AA53-075C3516A00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343400"/>
            <a:ext cx="2628900" cy="18288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mall description of a few lines to introduce a key fact or interesting talking point of this team member</a:t>
            </a:r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868D2F65-B2D4-4F26-8D5F-34C8339CF95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14700" y="3672608"/>
            <a:ext cx="2628900" cy="2135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397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First Last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ED96DA15-06C1-48C4-9502-4E8B56D8C91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14700" y="3969330"/>
            <a:ext cx="2628900" cy="228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3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DC739CA2-9BBD-46D8-959F-BD6B5478199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314701" y="2071254"/>
            <a:ext cx="1094509" cy="1357746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ctr">
              <a:defRPr lang="en-US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Click to add an image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E3666465-77EF-48D5-8577-2CB313F81FE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14700" y="4343400"/>
            <a:ext cx="2628900" cy="18288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mall description of a few lines to introduce a key fact or interesting talking point of this team member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6596144F-8291-4980-9EEA-CB143F3B343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10300" y="3672608"/>
            <a:ext cx="2628900" cy="2135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397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First Last</a:t>
            </a:r>
          </a:p>
        </p:txBody>
      </p:sp>
      <p:sp>
        <p:nvSpPr>
          <p:cNvPr id="21" name="Text Placeholder 16">
            <a:extLst>
              <a:ext uri="{FF2B5EF4-FFF2-40B4-BE49-F238E27FC236}">
                <a16:creationId xmlns:a16="http://schemas.microsoft.com/office/drawing/2014/main" id="{80EEFCF3-A6F0-40D5-BE23-0D575FC0BF4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10300" y="3969330"/>
            <a:ext cx="2628900" cy="228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3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812ADEC8-0B85-4CCE-B064-2F60ECB6FF9F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210301" y="2071254"/>
            <a:ext cx="1094509" cy="1357746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ctr">
              <a:defRPr lang="en-US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Click to add an image</a:t>
            </a:r>
          </a:p>
        </p:txBody>
      </p:sp>
      <p:sp>
        <p:nvSpPr>
          <p:cNvPr id="23" name="Text Placeholder 16">
            <a:extLst>
              <a:ext uri="{FF2B5EF4-FFF2-40B4-BE49-F238E27FC236}">
                <a16:creationId xmlns:a16="http://schemas.microsoft.com/office/drawing/2014/main" id="{4AD58B23-B3B7-4810-8563-90E425A88F1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10300" y="4343400"/>
            <a:ext cx="2628900" cy="18288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mall description of a few lines to introduce a key fact or interesting talking point of this team member</a:t>
            </a:r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id="{A108268C-8B6E-4DD2-9A95-7B5F9BDDDD5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67800" y="3672608"/>
            <a:ext cx="2628900" cy="2135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397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First Last</a:t>
            </a:r>
          </a:p>
        </p:txBody>
      </p:sp>
      <p:sp>
        <p:nvSpPr>
          <p:cNvPr id="25" name="Text Placeholder 16">
            <a:extLst>
              <a:ext uri="{FF2B5EF4-FFF2-40B4-BE49-F238E27FC236}">
                <a16:creationId xmlns:a16="http://schemas.microsoft.com/office/drawing/2014/main" id="{002DA79F-C7C5-476C-9A18-61B31B27993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67800" y="3969330"/>
            <a:ext cx="2628900" cy="228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3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FA7C9EED-B939-4DF9-8ECD-1BBC57725E75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067801" y="2071254"/>
            <a:ext cx="1094509" cy="1357746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algn="ctr">
              <a:defRPr lang="en-US" sz="1397" dirty="0">
                <a:solidFill>
                  <a:schemeClr val="tx2"/>
                </a:solidFill>
              </a:defRPr>
            </a:lvl1pPr>
          </a:lstStyle>
          <a:p>
            <a:pPr marR="0" lvl="0" algn="ctr" defTabSz="912114" fontAlgn="auto">
              <a:spcBef>
                <a:spcPts val="599"/>
              </a:spcBef>
              <a:spcAft>
                <a:spcPts val="1197"/>
              </a:spcAft>
              <a:buClrTx/>
              <a:buSzTx/>
              <a:tabLst/>
            </a:pPr>
            <a:r>
              <a:rPr lang="en-US"/>
              <a:t>Click to add an image</a:t>
            </a:r>
          </a:p>
        </p:txBody>
      </p:sp>
      <p:sp>
        <p:nvSpPr>
          <p:cNvPr id="27" name="Text Placeholder 16">
            <a:extLst>
              <a:ext uri="{FF2B5EF4-FFF2-40B4-BE49-F238E27FC236}">
                <a16:creationId xmlns:a16="http://schemas.microsoft.com/office/drawing/2014/main" id="{9CCE0E4F-F021-4673-AE69-FAAFAEDBA13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067800" y="4343400"/>
            <a:ext cx="2628900" cy="18288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mall description of a few lines to introduce a key fact or interesting talking point of this team member</a:t>
            </a:r>
          </a:p>
        </p:txBody>
      </p:sp>
    </p:spTree>
    <p:extLst>
      <p:ext uri="{BB962C8B-B14F-4D97-AF65-F5344CB8AC3E}">
        <p14:creationId xmlns:p14="http://schemas.microsoft.com/office/powerpoint/2010/main" val="24105023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al Slide Overlay - n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B4049965-34B5-48F5-8EBC-41C49A33113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insert an image &gt; Right Click &gt; Send to Back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2E1C252-F8D8-B245-A44E-63FC8C772147}"/>
              </a:ext>
            </a:extLst>
          </p:cNvPr>
          <p:cNvSpPr/>
          <p:nvPr userDrawn="1"/>
        </p:nvSpPr>
        <p:spPr>
          <a:xfrm>
            <a:off x="0" y="0"/>
            <a:ext cx="3075709" cy="6858000"/>
          </a:xfrm>
          <a:prstGeom prst="rect">
            <a:avLst/>
          </a:prstGeom>
          <a:solidFill>
            <a:schemeClr val="accent1">
              <a:alpha val="75000"/>
            </a:schemeClr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55ECC8B-4B56-4777-97FD-BF1D9B8F06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1600200"/>
            <a:ext cx="2466108" cy="914400"/>
          </a:xfrm>
        </p:spPr>
        <p:txBody>
          <a:bodyPr rIns="90000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19AF6AE8-D2B1-4EB5-BBB4-9077B1F7CB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743200"/>
            <a:ext cx="2466109" cy="2514600"/>
          </a:xfrm>
          <a:prstGeom prst="rect">
            <a:avLst/>
          </a:prstGeom>
        </p:spPr>
        <p:txBody>
          <a:bodyPr lIns="0" tIns="0" rIns="90000" bIns="0"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4" name="Date Placeholder 2">
            <a:extLst>
              <a:ext uri="{FF2B5EF4-FFF2-40B4-BE49-F238E27FC236}">
                <a16:creationId xmlns:a16="http://schemas.microsoft.com/office/drawing/2014/main" id="{F7EFBD7E-84AE-4193-97A7-6053CA8057A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67800" y="6446837"/>
            <a:ext cx="17145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C2C1C1"/>
                </a:solidFill>
              </a:defRPr>
            </a:lvl1pPr>
          </a:lstStyle>
          <a:p>
            <a:fld id="{728B004E-4B0B-4DF1-AA0F-92C7B3BE2D33}" type="datetime3">
              <a:rPr lang="en-US" smtClean="0"/>
              <a:t>5 October 2025</a:t>
            </a:fld>
            <a:endParaRPr lang="en-US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06ED1264-F351-4CA8-9D38-F5167E4E7F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446837"/>
            <a:ext cx="1676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C2C1C1"/>
                </a:solidFill>
              </a:defRPr>
            </a:lvl1pPr>
          </a:lstStyle>
          <a:p>
            <a:r>
              <a:rPr lang="en-US"/>
              <a:t>© Arcadis 2020</a:t>
            </a:r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574CAA3B-8EAA-4562-9B16-819D52DA0A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0900" y="6446837"/>
            <a:ext cx="7239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FE63AA4-120D-435A-A130-F49443AF7C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499051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Benefit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tatement">
            <a:extLst>
              <a:ext uri="{FF2B5EF4-FFF2-40B4-BE49-F238E27FC236}">
                <a16:creationId xmlns:a16="http://schemas.microsoft.com/office/drawing/2014/main" id="{87D24936-7028-4BCA-BA74-9157A23F8E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09701" y="2286000"/>
            <a:ext cx="9372600" cy="1600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2793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“An inspirational and credible client quote that backs up the key message throughout the document and is attempting to get across to the reader or assessor.”</a:t>
            </a:r>
          </a:p>
        </p:txBody>
      </p:sp>
      <p:sp>
        <p:nvSpPr>
          <p:cNvPr id="7" name="Name, Role Orga">
            <a:extLst>
              <a:ext uri="{FF2B5EF4-FFF2-40B4-BE49-F238E27FC236}">
                <a16:creationId xmlns:a16="http://schemas.microsoft.com/office/drawing/2014/main" id="{481759E4-DDDC-471A-82DE-8F17703FCF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09701" y="4114800"/>
            <a:ext cx="9372600" cy="13716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596" b="0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, Role Organization</a:t>
            </a:r>
          </a:p>
        </p:txBody>
      </p:sp>
    </p:spTree>
    <p:extLst>
      <p:ext uri="{BB962C8B-B14F-4D97-AF65-F5344CB8AC3E}">
        <p14:creationId xmlns:p14="http://schemas.microsoft.com/office/powerpoint/2010/main" val="401443671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2_Benefit Statement - oran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tatement">
            <a:extLst>
              <a:ext uri="{FF2B5EF4-FFF2-40B4-BE49-F238E27FC236}">
                <a16:creationId xmlns:a16="http://schemas.microsoft.com/office/drawing/2014/main" id="{87D24936-7028-4BCA-BA74-9157A23F8E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09701" y="2286000"/>
            <a:ext cx="9372600" cy="1600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2793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“An inspirational and credible client quote that backs up the key message throughout the document and is attempting to get across to the reader or assessor.”</a:t>
            </a:r>
          </a:p>
        </p:txBody>
      </p:sp>
      <p:sp>
        <p:nvSpPr>
          <p:cNvPr id="7" name="Name, Role Orga">
            <a:extLst>
              <a:ext uri="{FF2B5EF4-FFF2-40B4-BE49-F238E27FC236}">
                <a16:creationId xmlns:a16="http://schemas.microsoft.com/office/drawing/2014/main" id="{481759E4-DDDC-471A-82DE-8F17703FCF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09701" y="4114800"/>
            <a:ext cx="9372600" cy="13716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596" b="0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, Role Organization</a:t>
            </a:r>
          </a:p>
        </p:txBody>
      </p:sp>
    </p:spTree>
    <p:extLst>
      <p:ext uri="{BB962C8B-B14F-4D97-AF65-F5344CB8AC3E}">
        <p14:creationId xmlns:p14="http://schemas.microsoft.com/office/powerpoint/2010/main" val="245240291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Benefit Statement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C1CC7EE7-43B9-4C74-8054-B340C41D5EB2}"/>
              </a:ext>
            </a:extLst>
          </p:cNvPr>
          <p:cNvSpPr/>
          <p:nvPr userDrawn="1"/>
        </p:nvSpPr>
        <p:spPr>
          <a:xfrm>
            <a:off x="10148455" y="280554"/>
            <a:ext cx="1724891" cy="574964"/>
          </a:xfrm>
          <a:prstGeom prst="rect">
            <a:avLst/>
          </a:prstGeom>
          <a:solidFill>
            <a:schemeClr val="bg1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4"/>
          </a:p>
        </p:txBody>
      </p:sp>
      <p:sp>
        <p:nvSpPr>
          <p:cNvPr id="9" name="Rectangle">
            <a:extLst>
              <a:ext uri="{FF2B5EF4-FFF2-40B4-BE49-F238E27FC236}">
                <a16:creationId xmlns:a16="http://schemas.microsoft.com/office/drawing/2014/main" id="{8591CADA-4197-ED4D-9D81-8B4649507CD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alpha val="75000"/>
            </a:schemeClr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44"/>
              <a:t> </a:t>
            </a:r>
            <a:endParaRPr lang="en-PH" sz="2044"/>
          </a:p>
        </p:txBody>
      </p:sp>
      <p:sp>
        <p:nvSpPr>
          <p:cNvPr id="19" name="Statement">
            <a:extLst>
              <a:ext uri="{FF2B5EF4-FFF2-40B4-BE49-F238E27FC236}">
                <a16:creationId xmlns:a16="http://schemas.microsoft.com/office/drawing/2014/main" id="{E5723794-4E50-48A6-BA6C-7CDB91BB63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09700" y="2286000"/>
            <a:ext cx="10325100" cy="13716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2793" b="0" i="1">
                <a:solidFill>
                  <a:schemeClr val="bg1"/>
                </a:solidFill>
              </a:defRPr>
            </a:lvl1pPr>
          </a:lstStyle>
          <a:p>
            <a:r>
              <a:rPr lang="en-US"/>
              <a:t>“An inspirational and credible client quote that backs up the key message throughout the document and is attempting to get across to the reader or assessor.”</a:t>
            </a:r>
          </a:p>
        </p:txBody>
      </p:sp>
      <p:sp>
        <p:nvSpPr>
          <p:cNvPr id="10" name="Name - Role - Organization">
            <a:extLst>
              <a:ext uri="{FF2B5EF4-FFF2-40B4-BE49-F238E27FC236}">
                <a16:creationId xmlns:a16="http://schemas.microsoft.com/office/drawing/2014/main" id="{D39C0890-09A9-490C-925E-79471BE2C27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09700" y="4114800"/>
            <a:ext cx="10325100" cy="13716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defRPr sz="1596" b="0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, Role Organization</a:t>
            </a:r>
          </a:p>
        </p:txBody>
      </p:sp>
      <p:sp>
        <p:nvSpPr>
          <p:cNvPr id="15" name="Picture">
            <a:extLst>
              <a:ext uri="{FF2B5EF4-FFF2-40B4-BE49-F238E27FC236}">
                <a16:creationId xmlns:a16="http://schemas.microsoft.com/office/drawing/2014/main" id="{47E987CF-25C4-46C4-83B9-E828B5CF9F2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1097">
                <a:solidFill>
                  <a:schemeClr val="tx2"/>
                </a:solidFill>
              </a:defRPr>
            </a:lvl1pPr>
          </a:lstStyle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6165121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Cover -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ver_Picture">
            <a:extLst>
              <a:ext uri="{FF2B5EF4-FFF2-40B4-BE49-F238E27FC236}">
                <a16:creationId xmlns:a16="http://schemas.microsoft.com/office/drawing/2014/main" id="{D30D7B8B-A8DD-49CA-973C-70BA95195D9A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2" y="0"/>
            <a:ext cx="12189883" cy="6858000"/>
          </a:xfrm>
          <a:prstGeom prst="rect">
            <a:avLst/>
          </a:prstGeom>
          <a:pattFill prst="wdUpDiag">
            <a:fgClr>
              <a:schemeClr val="accent2">
                <a:lumMod val="10000"/>
                <a:lumOff val="90000"/>
              </a:schemeClr>
            </a:fgClr>
            <a:bgClr>
              <a:prstClr val="white"/>
            </a:bgClr>
          </a:pattFill>
        </p:spPr>
        <p:txBody>
          <a:bodyPr anchor="ctr" anchorCtr="0"/>
          <a:lstStyle>
            <a:lvl1pPr marL="0" marR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 sz="1397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2114" rtl="0" eaLnBrk="1" fontAlgn="auto" latinLnBrk="0" hangingPunct="1">
              <a:lnSpc>
                <a:spcPct val="90000"/>
              </a:lnSpc>
              <a:spcBef>
                <a:spcPts val="599"/>
              </a:spcBef>
              <a:spcAft>
                <a:spcPts val="119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 </a:t>
            </a:r>
          </a:p>
        </p:txBody>
      </p:sp>
      <p:sp>
        <p:nvSpPr>
          <p:cNvPr id="11" name="Date">
            <a:extLst>
              <a:ext uri="{FF2B5EF4-FFF2-40B4-BE49-F238E27FC236}">
                <a16:creationId xmlns:a16="http://schemas.microsoft.com/office/drawing/2014/main" id="{A670293C-AB2F-4468-BF52-B377EE380E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5257800"/>
            <a:ext cx="45720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159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 2020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48109ABF-016F-4E47-9261-744ED08100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4814455"/>
            <a:ext cx="45720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2095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 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8EA2F65-C185-447C-ACCA-99B8A1EB92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971803"/>
            <a:ext cx="7429500" cy="137159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190">
                <a:solidFill>
                  <a:schemeClr val="bg1"/>
                </a:solidFill>
              </a:defRPr>
            </a:lvl1pPr>
          </a:lstStyle>
          <a:p>
            <a:r>
              <a:rPr lang="en-US"/>
              <a:t>Image-led cover title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309764486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Cover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Date">
            <a:extLst>
              <a:ext uri="{FF2B5EF4-FFF2-40B4-BE49-F238E27FC236}">
                <a16:creationId xmlns:a16="http://schemas.microsoft.com/office/drawing/2014/main" id="{60CA5305-0A60-41DB-809C-6E372BA944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4572000"/>
            <a:ext cx="112776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1596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E5723794-4E50-48A6-BA6C-7CDB91BB63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4103370"/>
            <a:ext cx="112776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2095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536FC3B7-CE63-45A8-AF2C-CCB25DA9F1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286000"/>
            <a:ext cx="11277600" cy="1371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0"/>
              </a:spcAft>
              <a:defRPr sz="558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Presentation</a:t>
            </a:r>
            <a:br>
              <a:rPr lang="en-US"/>
            </a:br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31619667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3_Cover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Date">
            <a:extLst>
              <a:ext uri="{FF2B5EF4-FFF2-40B4-BE49-F238E27FC236}">
                <a16:creationId xmlns:a16="http://schemas.microsoft.com/office/drawing/2014/main" id="{60CA5305-0A60-41DB-809C-6E372BA944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4572000"/>
            <a:ext cx="112776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1596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E5723794-4E50-48A6-BA6C-7CDB91BB63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4103370"/>
            <a:ext cx="11277600" cy="228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2095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536FC3B7-CE63-45A8-AF2C-CCB25DA9F1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286000"/>
            <a:ext cx="11277600" cy="13716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99"/>
              </a:spcBef>
              <a:spcAft>
                <a:spcPts val="1197"/>
              </a:spcAft>
              <a:defRPr sz="5586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</a:t>
            </a:r>
            <a:br>
              <a:rPr lang="en-US"/>
            </a:br>
            <a:r>
              <a:rPr lang="en-US"/>
              <a:t>Title</a:t>
            </a:r>
          </a:p>
        </p:txBody>
      </p:sp>
      <p:pic>
        <p:nvPicPr>
          <p:cNvPr id="8" name="Logo White" descr="&#10;">
            <a:extLst>
              <a:ext uri="{FF2B5EF4-FFF2-40B4-BE49-F238E27FC236}">
                <a16:creationId xmlns:a16="http://schemas.microsoft.com/office/drawing/2014/main" id="{4F2C4CC9-0394-41D2-8B4F-AF4D30E3E8D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6201" y="457201"/>
            <a:ext cx="1496045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044031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Agenda 6 x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6_Text">
            <a:extLst>
              <a:ext uri="{FF2B5EF4-FFF2-40B4-BE49-F238E27FC236}">
                <a16:creationId xmlns:a16="http://schemas.microsoft.com/office/drawing/2014/main" id="{7CD9D46E-1D14-4ED4-B92B-D635B6A4DA1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067800" y="4585853"/>
            <a:ext cx="2667000" cy="11222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rief description</a:t>
            </a:r>
          </a:p>
        </p:txBody>
      </p:sp>
      <p:sp>
        <p:nvSpPr>
          <p:cNvPr id="31" name="6_Title">
            <a:extLst>
              <a:ext uri="{FF2B5EF4-FFF2-40B4-BE49-F238E27FC236}">
                <a16:creationId xmlns:a16="http://schemas.microsoft.com/office/drawing/2014/main" id="{169D9B2C-EAE1-4BBA-83F4-628331339D9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067800" y="4128655"/>
            <a:ext cx="2667000" cy="44334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33" name="6">
            <a:extLst>
              <a:ext uri="{FF2B5EF4-FFF2-40B4-BE49-F238E27FC236}">
                <a16:creationId xmlns:a16="http://schemas.microsoft.com/office/drawing/2014/main" id="{67BA5F19-CDD6-485D-B65A-B6DFB8BB429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115300" y="4128653"/>
            <a:ext cx="7239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29" name="5_Text">
            <a:extLst>
              <a:ext uri="{FF2B5EF4-FFF2-40B4-BE49-F238E27FC236}">
                <a16:creationId xmlns:a16="http://schemas.microsoft.com/office/drawing/2014/main" id="{8BA42E28-AEFB-436A-9309-E614AD99AD1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257800" y="4585853"/>
            <a:ext cx="2628900" cy="11222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rief description</a:t>
            </a:r>
          </a:p>
        </p:txBody>
      </p:sp>
      <p:sp>
        <p:nvSpPr>
          <p:cNvPr id="28" name="5_Title">
            <a:extLst>
              <a:ext uri="{FF2B5EF4-FFF2-40B4-BE49-F238E27FC236}">
                <a16:creationId xmlns:a16="http://schemas.microsoft.com/office/drawing/2014/main" id="{838A750F-7B19-436E-816B-E0A0419F048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257800" y="4128655"/>
            <a:ext cx="2628900" cy="44334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30" name="5">
            <a:extLst>
              <a:ext uri="{FF2B5EF4-FFF2-40B4-BE49-F238E27FC236}">
                <a16:creationId xmlns:a16="http://schemas.microsoft.com/office/drawing/2014/main" id="{859D29E2-ABB3-4AD2-99D6-EC2E0AB684B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305300" y="4128653"/>
            <a:ext cx="7239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26" name="4_Text">
            <a:extLst>
              <a:ext uri="{FF2B5EF4-FFF2-40B4-BE49-F238E27FC236}">
                <a16:creationId xmlns:a16="http://schemas.microsoft.com/office/drawing/2014/main" id="{A0B31D11-CF69-405C-93F7-CB06714A074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409700" y="4585853"/>
            <a:ext cx="2628900" cy="11222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rief description</a:t>
            </a:r>
          </a:p>
        </p:txBody>
      </p:sp>
      <p:sp>
        <p:nvSpPr>
          <p:cNvPr id="25" name="4_Title">
            <a:extLst>
              <a:ext uri="{FF2B5EF4-FFF2-40B4-BE49-F238E27FC236}">
                <a16:creationId xmlns:a16="http://schemas.microsoft.com/office/drawing/2014/main" id="{73011CBA-9A19-4F30-ACD7-117613755E6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409700" y="4128655"/>
            <a:ext cx="2628900" cy="44334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7" name="4">
            <a:extLst>
              <a:ext uri="{FF2B5EF4-FFF2-40B4-BE49-F238E27FC236}">
                <a16:creationId xmlns:a16="http://schemas.microsoft.com/office/drawing/2014/main" id="{F77C7971-AD10-4979-8E30-7CB7030D879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7201" y="4128653"/>
            <a:ext cx="7239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23" name="3_Text">
            <a:extLst>
              <a:ext uri="{FF2B5EF4-FFF2-40B4-BE49-F238E27FC236}">
                <a16:creationId xmlns:a16="http://schemas.microsoft.com/office/drawing/2014/main" id="{94202B5C-1CAC-4915-9A0A-B1BF367BD45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67800" y="2514600"/>
            <a:ext cx="2667000" cy="1143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rief description</a:t>
            </a:r>
          </a:p>
        </p:txBody>
      </p:sp>
      <p:sp>
        <p:nvSpPr>
          <p:cNvPr id="22" name="3_Title">
            <a:extLst>
              <a:ext uri="{FF2B5EF4-FFF2-40B4-BE49-F238E27FC236}">
                <a16:creationId xmlns:a16="http://schemas.microsoft.com/office/drawing/2014/main" id="{70AD79E9-43D9-4C8D-A8CF-810BC004B2A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67800" y="2057400"/>
            <a:ext cx="26670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4" name="3">
            <a:extLst>
              <a:ext uri="{FF2B5EF4-FFF2-40B4-BE49-F238E27FC236}">
                <a16:creationId xmlns:a16="http://schemas.microsoft.com/office/drawing/2014/main" id="{A672DDA7-CFC1-4BCC-93E2-F7D8DEC29C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15300" y="2057400"/>
            <a:ext cx="7239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20" name="2_Text">
            <a:extLst>
              <a:ext uri="{FF2B5EF4-FFF2-40B4-BE49-F238E27FC236}">
                <a16:creationId xmlns:a16="http://schemas.microsoft.com/office/drawing/2014/main" id="{E55DDE99-7262-400F-B216-385B8CD0929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57800" y="2514600"/>
            <a:ext cx="2628900" cy="1143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rief description</a:t>
            </a:r>
          </a:p>
        </p:txBody>
      </p:sp>
      <p:sp>
        <p:nvSpPr>
          <p:cNvPr id="19" name="2_Title">
            <a:extLst>
              <a:ext uri="{FF2B5EF4-FFF2-40B4-BE49-F238E27FC236}">
                <a16:creationId xmlns:a16="http://schemas.microsoft.com/office/drawing/2014/main" id="{704B3F5D-456F-4F33-9435-402FF42EB7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57800" y="2057400"/>
            <a:ext cx="26289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1" name="2">
            <a:extLst>
              <a:ext uri="{FF2B5EF4-FFF2-40B4-BE49-F238E27FC236}">
                <a16:creationId xmlns:a16="http://schemas.microsoft.com/office/drawing/2014/main" id="{C69768B3-F736-452B-9775-EC16E279D5A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2057400"/>
            <a:ext cx="7239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17" name="1_Text">
            <a:extLst>
              <a:ext uri="{FF2B5EF4-FFF2-40B4-BE49-F238E27FC236}">
                <a16:creationId xmlns:a16="http://schemas.microsoft.com/office/drawing/2014/main" id="{CA3E38B9-57D3-4241-8001-2CF71DA7A59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09700" y="2514600"/>
            <a:ext cx="2628900" cy="1143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rief description</a:t>
            </a:r>
          </a:p>
        </p:txBody>
      </p:sp>
      <p:sp>
        <p:nvSpPr>
          <p:cNvPr id="16" name="1_Title">
            <a:extLst>
              <a:ext uri="{FF2B5EF4-FFF2-40B4-BE49-F238E27FC236}">
                <a16:creationId xmlns:a16="http://schemas.microsoft.com/office/drawing/2014/main" id="{74CB9AC7-D54D-4C82-AB92-62474793D3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09700" y="2057400"/>
            <a:ext cx="26289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8" name="1">
            <a:extLst>
              <a:ext uri="{FF2B5EF4-FFF2-40B4-BE49-F238E27FC236}">
                <a16:creationId xmlns:a16="http://schemas.microsoft.com/office/drawing/2014/main" id="{BC8DC81F-F6C8-4AE3-A187-6005D0D828D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201" y="2057400"/>
            <a:ext cx="7239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" name="Agenda Title">
            <a:extLst>
              <a:ext uri="{FF2B5EF4-FFF2-40B4-BE49-F238E27FC236}">
                <a16:creationId xmlns:a16="http://schemas.microsoft.com/office/drawing/2014/main" id="{518DF063-B0BD-4053-ADC6-99766F39F9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2"/>
            <a:ext cx="11277600" cy="6857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Title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370025174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Agenda 6 x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6_Text">
            <a:extLst>
              <a:ext uri="{FF2B5EF4-FFF2-40B4-BE49-F238E27FC236}">
                <a16:creationId xmlns:a16="http://schemas.microsoft.com/office/drawing/2014/main" id="{88F25C4D-D676-464B-9EDA-9B5F416A753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067800" y="4585853"/>
            <a:ext cx="2667000" cy="11222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Brief description</a:t>
            </a:r>
          </a:p>
        </p:txBody>
      </p:sp>
      <p:sp>
        <p:nvSpPr>
          <p:cNvPr id="61" name="6_Title">
            <a:extLst>
              <a:ext uri="{FF2B5EF4-FFF2-40B4-BE49-F238E27FC236}">
                <a16:creationId xmlns:a16="http://schemas.microsoft.com/office/drawing/2014/main" id="{A8907682-90F1-4444-B1A6-D4E75B18F62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067800" y="4128655"/>
            <a:ext cx="2667000" cy="44334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62" name="6">
            <a:extLst>
              <a:ext uri="{FF2B5EF4-FFF2-40B4-BE49-F238E27FC236}">
                <a16:creationId xmlns:a16="http://schemas.microsoft.com/office/drawing/2014/main" id="{6907FF93-540F-4AE6-9255-7CD926F7E51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115300" y="4128653"/>
            <a:ext cx="7239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63" name="5_Text">
            <a:extLst>
              <a:ext uri="{FF2B5EF4-FFF2-40B4-BE49-F238E27FC236}">
                <a16:creationId xmlns:a16="http://schemas.microsoft.com/office/drawing/2014/main" id="{E3B7F1EE-5F5A-4806-B5FB-CD7174BB211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257800" y="4585853"/>
            <a:ext cx="2628900" cy="11222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Brief description</a:t>
            </a:r>
          </a:p>
        </p:txBody>
      </p:sp>
      <p:sp>
        <p:nvSpPr>
          <p:cNvPr id="64" name="5_Title">
            <a:extLst>
              <a:ext uri="{FF2B5EF4-FFF2-40B4-BE49-F238E27FC236}">
                <a16:creationId xmlns:a16="http://schemas.microsoft.com/office/drawing/2014/main" id="{D0817310-DE03-489C-9EA2-745C389AE02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257800" y="4128655"/>
            <a:ext cx="2628900" cy="44334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65" name="5">
            <a:extLst>
              <a:ext uri="{FF2B5EF4-FFF2-40B4-BE49-F238E27FC236}">
                <a16:creationId xmlns:a16="http://schemas.microsoft.com/office/drawing/2014/main" id="{03047900-C327-47B8-A732-34AB753CF92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305300" y="4128653"/>
            <a:ext cx="7239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66" name="4_Text">
            <a:extLst>
              <a:ext uri="{FF2B5EF4-FFF2-40B4-BE49-F238E27FC236}">
                <a16:creationId xmlns:a16="http://schemas.microsoft.com/office/drawing/2014/main" id="{4D593BDF-7765-42AA-8E0A-3F568A07DF2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409700" y="4585853"/>
            <a:ext cx="2628900" cy="11222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Brief description</a:t>
            </a:r>
          </a:p>
        </p:txBody>
      </p:sp>
      <p:sp>
        <p:nvSpPr>
          <p:cNvPr id="67" name="4_Title">
            <a:extLst>
              <a:ext uri="{FF2B5EF4-FFF2-40B4-BE49-F238E27FC236}">
                <a16:creationId xmlns:a16="http://schemas.microsoft.com/office/drawing/2014/main" id="{0B73257D-9A03-4702-BE8B-92454B1B576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409700" y="4128655"/>
            <a:ext cx="2628900" cy="44334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68" name="4">
            <a:extLst>
              <a:ext uri="{FF2B5EF4-FFF2-40B4-BE49-F238E27FC236}">
                <a16:creationId xmlns:a16="http://schemas.microsoft.com/office/drawing/2014/main" id="{625C8E8D-3084-43F6-9E37-5818F9B9DA6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7201" y="4128653"/>
            <a:ext cx="7239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9" name="3_Text">
            <a:extLst>
              <a:ext uri="{FF2B5EF4-FFF2-40B4-BE49-F238E27FC236}">
                <a16:creationId xmlns:a16="http://schemas.microsoft.com/office/drawing/2014/main" id="{4850B7F0-493B-4B33-8C81-68E3A6C1D9D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67800" y="2514600"/>
            <a:ext cx="2667000" cy="1143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Brief description</a:t>
            </a:r>
          </a:p>
        </p:txBody>
      </p:sp>
      <p:sp>
        <p:nvSpPr>
          <p:cNvPr id="70" name="3_Title">
            <a:extLst>
              <a:ext uri="{FF2B5EF4-FFF2-40B4-BE49-F238E27FC236}">
                <a16:creationId xmlns:a16="http://schemas.microsoft.com/office/drawing/2014/main" id="{23278AD9-4912-48E0-8156-265F4CD7972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67800" y="2057400"/>
            <a:ext cx="26670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71" name="3">
            <a:extLst>
              <a:ext uri="{FF2B5EF4-FFF2-40B4-BE49-F238E27FC236}">
                <a16:creationId xmlns:a16="http://schemas.microsoft.com/office/drawing/2014/main" id="{D3E36498-2E01-4048-A324-7C8FE863425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15300" y="2057400"/>
            <a:ext cx="7239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72" name="2_Text">
            <a:extLst>
              <a:ext uri="{FF2B5EF4-FFF2-40B4-BE49-F238E27FC236}">
                <a16:creationId xmlns:a16="http://schemas.microsoft.com/office/drawing/2014/main" id="{D61E991A-9B0F-41F8-BC5A-214FBC2B9C3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57800" y="2514600"/>
            <a:ext cx="2628900" cy="1143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Brief description</a:t>
            </a:r>
          </a:p>
        </p:txBody>
      </p:sp>
      <p:sp>
        <p:nvSpPr>
          <p:cNvPr id="73" name="2_Title">
            <a:extLst>
              <a:ext uri="{FF2B5EF4-FFF2-40B4-BE49-F238E27FC236}">
                <a16:creationId xmlns:a16="http://schemas.microsoft.com/office/drawing/2014/main" id="{F81CA260-DB5A-4524-8D48-EBE6B26CE40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57800" y="2057400"/>
            <a:ext cx="26289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74" name="2">
            <a:extLst>
              <a:ext uri="{FF2B5EF4-FFF2-40B4-BE49-F238E27FC236}">
                <a16:creationId xmlns:a16="http://schemas.microsoft.com/office/drawing/2014/main" id="{41D59787-1AA5-4F06-BD5D-BC79461B3D4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2057400"/>
            <a:ext cx="7239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75" name="1_Text">
            <a:extLst>
              <a:ext uri="{FF2B5EF4-FFF2-40B4-BE49-F238E27FC236}">
                <a16:creationId xmlns:a16="http://schemas.microsoft.com/office/drawing/2014/main" id="{A08EB511-C38D-42C1-803B-DDFCAA4B03F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09700" y="2514600"/>
            <a:ext cx="2628900" cy="1143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Brief description</a:t>
            </a:r>
          </a:p>
        </p:txBody>
      </p:sp>
      <p:sp>
        <p:nvSpPr>
          <p:cNvPr id="76" name="1_Title">
            <a:extLst>
              <a:ext uri="{FF2B5EF4-FFF2-40B4-BE49-F238E27FC236}">
                <a16:creationId xmlns:a16="http://schemas.microsoft.com/office/drawing/2014/main" id="{2C4DC24D-BA17-4618-9773-45D92DA3826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09700" y="2057400"/>
            <a:ext cx="26289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77" name="1">
            <a:extLst>
              <a:ext uri="{FF2B5EF4-FFF2-40B4-BE49-F238E27FC236}">
                <a16:creationId xmlns:a16="http://schemas.microsoft.com/office/drawing/2014/main" id="{0F82B9B4-F81E-46A4-A116-564C2A964C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201" y="2057400"/>
            <a:ext cx="7239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78" name="Agenda Title">
            <a:extLst>
              <a:ext uri="{FF2B5EF4-FFF2-40B4-BE49-F238E27FC236}">
                <a16:creationId xmlns:a16="http://schemas.microsoft.com/office/drawing/2014/main" id="{3D9C9597-CBD5-4ABB-A54A-DFBE9CAD7F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2"/>
            <a:ext cx="11277600" cy="6857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Title</a:t>
            </a:r>
            <a:endParaRPr lang="en-PH"/>
          </a:p>
        </p:txBody>
      </p:sp>
      <p:pic>
        <p:nvPicPr>
          <p:cNvPr id="24" name="Logo White" descr="&#10;">
            <a:extLst>
              <a:ext uri="{FF2B5EF4-FFF2-40B4-BE49-F238E27FC236}">
                <a16:creationId xmlns:a16="http://schemas.microsoft.com/office/drawing/2014/main" id="{0B77F6CE-6922-439E-A862-5A5D46B2D26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6201" y="457201"/>
            <a:ext cx="1496045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728766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Agenda 8 x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8_Text">
            <a:extLst>
              <a:ext uri="{FF2B5EF4-FFF2-40B4-BE49-F238E27FC236}">
                <a16:creationId xmlns:a16="http://schemas.microsoft.com/office/drawing/2014/main" id="{D1B6D1AF-9D74-4A85-B7E1-7B96E1A558B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115300" y="5486400"/>
            <a:ext cx="2601190" cy="4433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rief description if needed.</a:t>
            </a:r>
          </a:p>
        </p:txBody>
      </p:sp>
      <p:sp>
        <p:nvSpPr>
          <p:cNvPr id="29" name="8_Title">
            <a:extLst>
              <a:ext uri="{FF2B5EF4-FFF2-40B4-BE49-F238E27FC236}">
                <a16:creationId xmlns:a16="http://schemas.microsoft.com/office/drawing/2014/main" id="{22F9D84F-2EA4-4D8D-BDF7-6EB3D868B4A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115300" y="5029200"/>
            <a:ext cx="260119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genda item 8 title</a:t>
            </a:r>
          </a:p>
        </p:txBody>
      </p:sp>
      <p:sp>
        <p:nvSpPr>
          <p:cNvPr id="31" name="8">
            <a:extLst>
              <a:ext uri="{FF2B5EF4-FFF2-40B4-BE49-F238E27FC236}">
                <a16:creationId xmlns:a16="http://schemas.microsoft.com/office/drawing/2014/main" id="{54C20AAC-ACA0-42AB-BCE9-56AA810FC58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162801" y="5029200"/>
            <a:ext cx="723900" cy="900546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8</a:t>
            </a:r>
          </a:p>
        </p:txBody>
      </p:sp>
      <p:sp>
        <p:nvSpPr>
          <p:cNvPr id="27" name="7_Text">
            <a:extLst>
              <a:ext uri="{FF2B5EF4-FFF2-40B4-BE49-F238E27FC236}">
                <a16:creationId xmlns:a16="http://schemas.microsoft.com/office/drawing/2014/main" id="{713DB33C-7EB8-4578-A2D2-DCCF4520676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115300" y="4357254"/>
            <a:ext cx="2601190" cy="4433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rief description if needed.</a:t>
            </a:r>
          </a:p>
        </p:txBody>
      </p:sp>
      <p:sp>
        <p:nvSpPr>
          <p:cNvPr id="26" name="7_Title">
            <a:extLst>
              <a:ext uri="{FF2B5EF4-FFF2-40B4-BE49-F238E27FC236}">
                <a16:creationId xmlns:a16="http://schemas.microsoft.com/office/drawing/2014/main" id="{92D29A6F-7B29-4D19-A9AB-E3CDAA617D6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115300" y="3900054"/>
            <a:ext cx="260119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genda item 7 title</a:t>
            </a:r>
          </a:p>
        </p:txBody>
      </p:sp>
      <p:sp>
        <p:nvSpPr>
          <p:cNvPr id="28" name="7">
            <a:extLst>
              <a:ext uri="{FF2B5EF4-FFF2-40B4-BE49-F238E27FC236}">
                <a16:creationId xmlns:a16="http://schemas.microsoft.com/office/drawing/2014/main" id="{5D990D95-93AC-4539-8642-BFEF3663DE4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162801" y="3900054"/>
            <a:ext cx="723900" cy="900546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7</a:t>
            </a:r>
          </a:p>
        </p:txBody>
      </p:sp>
      <p:sp>
        <p:nvSpPr>
          <p:cNvPr id="24" name="6_Text">
            <a:extLst>
              <a:ext uri="{FF2B5EF4-FFF2-40B4-BE49-F238E27FC236}">
                <a16:creationId xmlns:a16="http://schemas.microsoft.com/office/drawing/2014/main" id="{F537D0E4-9430-468F-96FA-C52F27D321E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115300" y="3200400"/>
            <a:ext cx="2601190" cy="4433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rief description if needed.</a:t>
            </a:r>
          </a:p>
        </p:txBody>
      </p:sp>
      <p:sp>
        <p:nvSpPr>
          <p:cNvPr id="23" name="6_Title">
            <a:extLst>
              <a:ext uri="{FF2B5EF4-FFF2-40B4-BE49-F238E27FC236}">
                <a16:creationId xmlns:a16="http://schemas.microsoft.com/office/drawing/2014/main" id="{D3D55642-1561-4CFF-B79B-78852798278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115300" y="2743200"/>
            <a:ext cx="260119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genda item 6 title</a:t>
            </a:r>
          </a:p>
        </p:txBody>
      </p:sp>
      <p:sp>
        <p:nvSpPr>
          <p:cNvPr id="25" name="6">
            <a:extLst>
              <a:ext uri="{FF2B5EF4-FFF2-40B4-BE49-F238E27FC236}">
                <a16:creationId xmlns:a16="http://schemas.microsoft.com/office/drawing/2014/main" id="{6FDAFE21-5787-40BD-BE6B-42F86C3548B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162801" y="2743200"/>
            <a:ext cx="723900" cy="900546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21" name="5_Text">
            <a:extLst>
              <a:ext uri="{FF2B5EF4-FFF2-40B4-BE49-F238E27FC236}">
                <a16:creationId xmlns:a16="http://schemas.microsoft.com/office/drawing/2014/main" id="{63B294A3-5269-4870-BA22-91A0F2576C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15300" y="2071254"/>
            <a:ext cx="2601190" cy="4433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rief description if needed.</a:t>
            </a:r>
          </a:p>
        </p:txBody>
      </p:sp>
      <p:sp>
        <p:nvSpPr>
          <p:cNvPr id="20" name="5_Title">
            <a:extLst>
              <a:ext uri="{FF2B5EF4-FFF2-40B4-BE49-F238E27FC236}">
                <a16:creationId xmlns:a16="http://schemas.microsoft.com/office/drawing/2014/main" id="{425E291D-C6D2-4A0E-856B-CDFBB4EE7B8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115300" y="1614054"/>
            <a:ext cx="260119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genda item 5 title</a:t>
            </a:r>
          </a:p>
        </p:txBody>
      </p:sp>
      <p:sp>
        <p:nvSpPr>
          <p:cNvPr id="22" name="5">
            <a:extLst>
              <a:ext uri="{FF2B5EF4-FFF2-40B4-BE49-F238E27FC236}">
                <a16:creationId xmlns:a16="http://schemas.microsoft.com/office/drawing/2014/main" id="{AD6CC0FA-801B-4C6B-97D2-B74D0C37B3A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162801" y="1614054"/>
            <a:ext cx="723900" cy="900546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18" name="4_Text">
            <a:extLst>
              <a:ext uri="{FF2B5EF4-FFF2-40B4-BE49-F238E27FC236}">
                <a16:creationId xmlns:a16="http://schemas.microsoft.com/office/drawing/2014/main" id="{897FE195-12FD-4EC5-A4A3-0D6AD5612C6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267200" y="5486400"/>
            <a:ext cx="2601190" cy="4433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rief description if needed.</a:t>
            </a:r>
          </a:p>
        </p:txBody>
      </p:sp>
      <p:sp>
        <p:nvSpPr>
          <p:cNvPr id="17" name="4_Title">
            <a:extLst>
              <a:ext uri="{FF2B5EF4-FFF2-40B4-BE49-F238E27FC236}">
                <a16:creationId xmlns:a16="http://schemas.microsoft.com/office/drawing/2014/main" id="{99218627-9DF4-4DC1-9A04-89B60B91093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67200" y="5029200"/>
            <a:ext cx="260119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genda item 4 title</a:t>
            </a:r>
          </a:p>
        </p:txBody>
      </p:sp>
      <p:sp>
        <p:nvSpPr>
          <p:cNvPr id="19" name="4">
            <a:extLst>
              <a:ext uri="{FF2B5EF4-FFF2-40B4-BE49-F238E27FC236}">
                <a16:creationId xmlns:a16="http://schemas.microsoft.com/office/drawing/2014/main" id="{A7EAAFE9-5464-46B3-939E-F208BB88175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14701" y="5029200"/>
            <a:ext cx="723900" cy="900546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15" name="3_Text">
            <a:extLst>
              <a:ext uri="{FF2B5EF4-FFF2-40B4-BE49-F238E27FC236}">
                <a16:creationId xmlns:a16="http://schemas.microsoft.com/office/drawing/2014/main" id="{F28B10F1-284B-4904-BFA3-824B1F9640A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67200" y="4357254"/>
            <a:ext cx="2601190" cy="4433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rief description if needed.</a:t>
            </a:r>
          </a:p>
        </p:txBody>
      </p:sp>
      <p:sp>
        <p:nvSpPr>
          <p:cNvPr id="14" name="3_Title">
            <a:extLst>
              <a:ext uri="{FF2B5EF4-FFF2-40B4-BE49-F238E27FC236}">
                <a16:creationId xmlns:a16="http://schemas.microsoft.com/office/drawing/2014/main" id="{2FC311F8-36DC-47B9-A8A5-AC899D0C93E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67200" y="3900054"/>
            <a:ext cx="260119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genda item 3 title</a:t>
            </a:r>
          </a:p>
        </p:txBody>
      </p:sp>
      <p:sp>
        <p:nvSpPr>
          <p:cNvPr id="16" name="3">
            <a:extLst>
              <a:ext uri="{FF2B5EF4-FFF2-40B4-BE49-F238E27FC236}">
                <a16:creationId xmlns:a16="http://schemas.microsoft.com/office/drawing/2014/main" id="{7283BFC4-D845-4FE4-8401-A18F675BA62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14701" y="3900054"/>
            <a:ext cx="723900" cy="900546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12" name="2_Text">
            <a:extLst>
              <a:ext uri="{FF2B5EF4-FFF2-40B4-BE49-F238E27FC236}">
                <a16:creationId xmlns:a16="http://schemas.microsoft.com/office/drawing/2014/main" id="{26C0E548-7870-429B-9B92-BE3E3CD5505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67200" y="3200400"/>
            <a:ext cx="2601190" cy="4433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rief description if needed.</a:t>
            </a:r>
          </a:p>
        </p:txBody>
      </p:sp>
      <p:sp>
        <p:nvSpPr>
          <p:cNvPr id="11" name="2_Title">
            <a:extLst>
              <a:ext uri="{FF2B5EF4-FFF2-40B4-BE49-F238E27FC236}">
                <a16:creationId xmlns:a16="http://schemas.microsoft.com/office/drawing/2014/main" id="{94C9C2AA-911A-4114-91C9-6EAE696FCFD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67200" y="2743200"/>
            <a:ext cx="260119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genda item 2 title</a:t>
            </a:r>
          </a:p>
        </p:txBody>
      </p:sp>
      <p:sp>
        <p:nvSpPr>
          <p:cNvPr id="13" name="2">
            <a:extLst>
              <a:ext uri="{FF2B5EF4-FFF2-40B4-BE49-F238E27FC236}">
                <a16:creationId xmlns:a16="http://schemas.microsoft.com/office/drawing/2014/main" id="{0D6A66BA-4543-4786-A6ED-D01CD326E12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314701" y="2743200"/>
            <a:ext cx="723900" cy="900546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9" name="1_Text">
            <a:extLst>
              <a:ext uri="{FF2B5EF4-FFF2-40B4-BE49-F238E27FC236}">
                <a16:creationId xmlns:a16="http://schemas.microsoft.com/office/drawing/2014/main" id="{41D393E6-10CC-413D-9A57-F7E0D262849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67200" y="2071254"/>
            <a:ext cx="2601190" cy="4433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rief description if needed.</a:t>
            </a:r>
          </a:p>
        </p:txBody>
      </p:sp>
      <p:sp>
        <p:nvSpPr>
          <p:cNvPr id="8" name="1_Title">
            <a:extLst>
              <a:ext uri="{FF2B5EF4-FFF2-40B4-BE49-F238E27FC236}">
                <a16:creationId xmlns:a16="http://schemas.microsoft.com/office/drawing/2014/main" id="{A77579DE-DB74-46FF-84F6-29EC955B4E6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67200" y="1614054"/>
            <a:ext cx="260119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genda item 1 title</a:t>
            </a:r>
          </a:p>
        </p:txBody>
      </p:sp>
      <p:sp>
        <p:nvSpPr>
          <p:cNvPr id="10" name="1">
            <a:extLst>
              <a:ext uri="{FF2B5EF4-FFF2-40B4-BE49-F238E27FC236}">
                <a16:creationId xmlns:a16="http://schemas.microsoft.com/office/drawing/2014/main" id="{3C026DCF-CD0E-413B-82F9-C0581F01DBE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14701" y="1614054"/>
            <a:ext cx="723900" cy="900546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2" name="Agenda Title">
            <a:extLst>
              <a:ext uri="{FF2B5EF4-FFF2-40B4-BE49-F238E27FC236}">
                <a16:creationId xmlns:a16="http://schemas.microsoft.com/office/drawing/2014/main" id="{CB0A3412-F8F5-4C34-944B-36CFCB7325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0"/>
            <a:ext cx="2628900" cy="5029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190"/>
            </a:lvl1pPr>
          </a:lstStyle>
          <a:p>
            <a:r>
              <a:rPr lang="en-US"/>
              <a:t>Agenda Title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230173487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4_Agenda 8 x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8_Text">
            <a:extLst>
              <a:ext uri="{FF2B5EF4-FFF2-40B4-BE49-F238E27FC236}">
                <a16:creationId xmlns:a16="http://schemas.microsoft.com/office/drawing/2014/main" id="{36E09BCD-217E-4435-8F44-C0D809A27D1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115300" y="5486400"/>
            <a:ext cx="2601190" cy="4433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Brief description if needed.</a:t>
            </a:r>
          </a:p>
        </p:txBody>
      </p:sp>
      <p:sp>
        <p:nvSpPr>
          <p:cNvPr id="34" name="8_Title">
            <a:extLst>
              <a:ext uri="{FF2B5EF4-FFF2-40B4-BE49-F238E27FC236}">
                <a16:creationId xmlns:a16="http://schemas.microsoft.com/office/drawing/2014/main" id="{647BC96F-593B-4C88-B373-67AEEA7D827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115300" y="5029200"/>
            <a:ext cx="260119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genda item 8 title</a:t>
            </a:r>
          </a:p>
        </p:txBody>
      </p:sp>
      <p:sp>
        <p:nvSpPr>
          <p:cNvPr id="35" name="8">
            <a:extLst>
              <a:ext uri="{FF2B5EF4-FFF2-40B4-BE49-F238E27FC236}">
                <a16:creationId xmlns:a16="http://schemas.microsoft.com/office/drawing/2014/main" id="{FB89AFB2-AF76-4882-8C19-4C0227DD60F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162801" y="5029200"/>
            <a:ext cx="723900" cy="900546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8</a:t>
            </a:r>
          </a:p>
        </p:txBody>
      </p:sp>
      <p:sp>
        <p:nvSpPr>
          <p:cNvPr id="36" name="7_Text">
            <a:extLst>
              <a:ext uri="{FF2B5EF4-FFF2-40B4-BE49-F238E27FC236}">
                <a16:creationId xmlns:a16="http://schemas.microsoft.com/office/drawing/2014/main" id="{A8B9A337-B09E-44C8-B997-088686176F7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115300" y="4357254"/>
            <a:ext cx="2601190" cy="4433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Brief description if needed.</a:t>
            </a:r>
          </a:p>
        </p:txBody>
      </p:sp>
      <p:sp>
        <p:nvSpPr>
          <p:cNvPr id="37" name="7_Title">
            <a:extLst>
              <a:ext uri="{FF2B5EF4-FFF2-40B4-BE49-F238E27FC236}">
                <a16:creationId xmlns:a16="http://schemas.microsoft.com/office/drawing/2014/main" id="{1FC8793C-934B-4EC3-8D05-A2200870E8D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115300" y="3900054"/>
            <a:ext cx="260119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genda item 7 title</a:t>
            </a:r>
          </a:p>
        </p:txBody>
      </p:sp>
      <p:sp>
        <p:nvSpPr>
          <p:cNvPr id="38" name="7">
            <a:extLst>
              <a:ext uri="{FF2B5EF4-FFF2-40B4-BE49-F238E27FC236}">
                <a16:creationId xmlns:a16="http://schemas.microsoft.com/office/drawing/2014/main" id="{C0B4BC5C-74B0-4DA6-A388-6F4E289869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162801" y="3900054"/>
            <a:ext cx="723900" cy="900546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7</a:t>
            </a:r>
          </a:p>
        </p:txBody>
      </p:sp>
      <p:sp>
        <p:nvSpPr>
          <p:cNvPr id="39" name="6_Text">
            <a:extLst>
              <a:ext uri="{FF2B5EF4-FFF2-40B4-BE49-F238E27FC236}">
                <a16:creationId xmlns:a16="http://schemas.microsoft.com/office/drawing/2014/main" id="{DF859178-845F-411C-AC81-DF1E0C6B53A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115300" y="3200400"/>
            <a:ext cx="2601190" cy="4433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Brief description if needed.</a:t>
            </a:r>
          </a:p>
        </p:txBody>
      </p:sp>
      <p:sp>
        <p:nvSpPr>
          <p:cNvPr id="40" name="6_Title">
            <a:extLst>
              <a:ext uri="{FF2B5EF4-FFF2-40B4-BE49-F238E27FC236}">
                <a16:creationId xmlns:a16="http://schemas.microsoft.com/office/drawing/2014/main" id="{F8FBB9A4-06B3-465E-956C-533D30756D1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115300" y="2743200"/>
            <a:ext cx="260119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genda item 6 title</a:t>
            </a:r>
          </a:p>
        </p:txBody>
      </p:sp>
      <p:sp>
        <p:nvSpPr>
          <p:cNvPr id="41" name="6">
            <a:extLst>
              <a:ext uri="{FF2B5EF4-FFF2-40B4-BE49-F238E27FC236}">
                <a16:creationId xmlns:a16="http://schemas.microsoft.com/office/drawing/2014/main" id="{19D6D7D1-4A70-4C04-94A8-C74FF738D77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162801" y="2743200"/>
            <a:ext cx="723900" cy="900546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42" name="5_Text">
            <a:extLst>
              <a:ext uri="{FF2B5EF4-FFF2-40B4-BE49-F238E27FC236}">
                <a16:creationId xmlns:a16="http://schemas.microsoft.com/office/drawing/2014/main" id="{362AB4B7-6F2D-4BFA-B059-A74FF859385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15300" y="2071254"/>
            <a:ext cx="2601190" cy="4433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Brief description if needed.</a:t>
            </a:r>
          </a:p>
        </p:txBody>
      </p:sp>
      <p:sp>
        <p:nvSpPr>
          <p:cNvPr id="43" name="5_Title">
            <a:extLst>
              <a:ext uri="{FF2B5EF4-FFF2-40B4-BE49-F238E27FC236}">
                <a16:creationId xmlns:a16="http://schemas.microsoft.com/office/drawing/2014/main" id="{3178FB60-8213-4A01-943F-041FC05D4FD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115300" y="1614054"/>
            <a:ext cx="260119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genda item 5 title</a:t>
            </a:r>
          </a:p>
        </p:txBody>
      </p:sp>
      <p:sp>
        <p:nvSpPr>
          <p:cNvPr id="44" name="5">
            <a:extLst>
              <a:ext uri="{FF2B5EF4-FFF2-40B4-BE49-F238E27FC236}">
                <a16:creationId xmlns:a16="http://schemas.microsoft.com/office/drawing/2014/main" id="{9DD6106F-58BF-49F8-B20B-78F24CF32F7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162801" y="1614054"/>
            <a:ext cx="723900" cy="900546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45" name="4_Text">
            <a:extLst>
              <a:ext uri="{FF2B5EF4-FFF2-40B4-BE49-F238E27FC236}">
                <a16:creationId xmlns:a16="http://schemas.microsoft.com/office/drawing/2014/main" id="{93BBAA2C-DE35-4456-8811-6128293FDB4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267200" y="5486400"/>
            <a:ext cx="2601190" cy="4433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Brief description if needed.</a:t>
            </a:r>
          </a:p>
        </p:txBody>
      </p:sp>
      <p:sp>
        <p:nvSpPr>
          <p:cNvPr id="46" name="4_Title">
            <a:extLst>
              <a:ext uri="{FF2B5EF4-FFF2-40B4-BE49-F238E27FC236}">
                <a16:creationId xmlns:a16="http://schemas.microsoft.com/office/drawing/2014/main" id="{74DE5AAC-CF1D-4136-A57C-BC24C7D1BC5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67200" y="5029200"/>
            <a:ext cx="260119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genda item 4 title</a:t>
            </a:r>
          </a:p>
        </p:txBody>
      </p:sp>
      <p:sp>
        <p:nvSpPr>
          <p:cNvPr id="47" name="4">
            <a:extLst>
              <a:ext uri="{FF2B5EF4-FFF2-40B4-BE49-F238E27FC236}">
                <a16:creationId xmlns:a16="http://schemas.microsoft.com/office/drawing/2014/main" id="{F57DB76E-CBD5-4F74-BFD7-4CE6718A2CA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14701" y="5029200"/>
            <a:ext cx="723900" cy="900546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48" name="3_Text">
            <a:extLst>
              <a:ext uri="{FF2B5EF4-FFF2-40B4-BE49-F238E27FC236}">
                <a16:creationId xmlns:a16="http://schemas.microsoft.com/office/drawing/2014/main" id="{1008D2F1-459A-44D5-B721-4EDB2F8CD86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67200" y="4357254"/>
            <a:ext cx="2601190" cy="4433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Brief description if needed.</a:t>
            </a:r>
          </a:p>
        </p:txBody>
      </p:sp>
      <p:sp>
        <p:nvSpPr>
          <p:cNvPr id="49" name="3_Title">
            <a:extLst>
              <a:ext uri="{FF2B5EF4-FFF2-40B4-BE49-F238E27FC236}">
                <a16:creationId xmlns:a16="http://schemas.microsoft.com/office/drawing/2014/main" id="{0817BC48-2BC0-45FA-9BF4-CBF717646A2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67200" y="3900054"/>
            <a:ext cx="260119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genda item 3 title</a:t>
            </a:r>
          </a:p>
        </p:txBody>
      </p:sp>
      <p:sp>
        <p:nvSpPr>
          <p:cNvPr id="50" name="3">
            <a:extLst>
              <a:ext uri="{FF2B5EF4-FFF2-40B4-BE49-F238E27FC236}">
                <a16:creationId xmlns:a16="http://schemas.microsoft.com/office/drawing/2014/main" id="{750B73EC-C9DE-47D2-AE93-C43CAD8F542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14701" y="3900054"/>
            <a:ext cx="723900" cy="900546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51" name="2_Text">
            <a:extLst>
              <a:ext uri="{FF2B5EF4-FFF2-40B4-BE49-F238E27FC236}">
                <a16:creationId xmlns:a16="http://schemas.microsoft.com/office/drawing/2014/main" id="{6490C4B8-6D16-4746-9D81-8B2591D137C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67200" y="3200400"/>
            <a:ext cx="2601190" cy="4433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Brief description if needed.</a:t>
            </a:r>
          </a:p>
        </p:txBody>
      </p:sp>
      <p:sp>
        <p:nvSpPr>
          <p:cNvPr id="52" name="2_Title">
            <a:extLst>
              <a:ext uri="{FF2B5EF4-FFF2-40B4-BE49-F238E27FC236}">
                <a16:creationId xmlns:a16="http://schemas.microsoft.com/office/drawing/2014/main" id="{02E96F9C-7D1A-43FC-B88B-AD700EBFBCF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67200" y="2743200"/>
            <a:ext cx="260119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genda item 2 title</a:t>
            </a:r>
          </a:p>
        </p:txBody>
      </p:sp>
      <p:sp>
        <p:nvSpPr>
          <p:cNvPr id="53" name="2">
            <a:extLst>
              <a:ext uri="{FF2B5EF4-FFF2-40B4-BE49-F238E27FC236}">
                <a16:creationId xmlns:a16="http://schemas.microsoft.com/office/drawing/2014/main" id="{22E629E1-3B00-415B-A1E2-00BDBB0037E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314701" y="2743200"/>
            <a:ext cx="723900" cy="900546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4" name="1_Text">
            <a:extLst>
              <a:ext uri="{FF2B5EF4-FFF2-40B4-BE49-F238E27FC236}">
                <a16:creationId xmlns:a16="http://schemas.microsoft.com/office/drawing/2014/main" id="{9A0174B7-E502-48AD-A283-41510A46D9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67200" y="2071254"/>
            <a:ext cx="2601190" cy="4433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19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Brief description if needed.</a:t>
            </a:r>
          </a:p>
        </p:txBody>
      </p:sp>
      <p:sp>
        <p:nvSpPr>
          <p:cNvPr id="55" name="1_Title">
            <a:extLst>
              <a:ext uri="{FF2B5EF4-FFF2-40B4-BE49-F238E27FC236}">
                <a16:creationId xmlns:a16="http://schemas.microsoft.com/office/drawing/2014/main" id="{4BD7BDCD-0317-4EFD-856E-9D0C812402D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67200" y="1614054"/>
            <a:ext cx="260119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159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genda item 1 title</a:t>
            </a:r>
          </a:p>
        </p:txBody>
      </p:sp>
      <p:sp>
        <p:nvSpPr>
          <p:cNvPr id="56" name="1">
            <a:extLst>
              <a:ext uri="{FF2B5EF4-FFF2-40B4-BE49-F238E27FC236}">
                <a16:creationId xmlns:a16="http://schemas.microsoft.com/office/drawing/2014/main" id="{25F20F26-9370-4C16-8B85-033F2397F4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14701" y="1614054"/>
            <a:ext cx="723900" cy="900546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90000"/>
              </a:lnSpc>
              <a:spcBef>
                <a:spcPts val="299"/>
              </a:spcBef>
              <a:spcAft>
                <a:spcPts val="599"/>
              </a:spcAft>
              <a:buClr>
                <a:schemeClr val="bg1"/>
              </a:buClr>
              <a:buFont typeface="Arial" panose="020B0604020202020204" pitchFamily="34" charset="0"/>
              <a:buNone/>
              <a:defRPr sz="279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57" name="Agenda Title">
            <a:extLst>
              <a:ext uri="{FF2B5EF4-FFF2-40B4-BE49-F238E27FC236}">
                <a16:creationId xmlns:a16="http://schemas.microsoft.com/office/drawing/2014/main" id="{04AB9D07-B480-4039-8CAE-64631CC2A2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914400"/>
            <a:ext cx="2628900" cy="5029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190"/>
            </a:lvl1pPr>
          </a:lstStyle>
          <a:p>
            <a:r>
              <a:rPr lang="en-US"/>
              <a:t>Agenda Title</a:t>
            </a:r>
            <a:endParaRPr lang="en-PH"/>
          </a:p>
        </p:txBody>
      </p:sp>
      <p:pic>
        <p:nvPicPr>
          <p:cNvPr id="29" name="Logo White" descr="&#10;">
            <a:extLst>
              <a:ext uri="{FF2B5EF4-FFF2-40B4-BE49-F238E27FC236}">
                <a16:creationId xmlns:a16="http://schemas.microsoft.com/office/drawing/2014/main" id="{EA3FF2DE-34CE-4541-A44C-11E877A70A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6201" y="457201"/>
            <a:ext cx="1496045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81609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1.xml"/><Relationship Id="rId30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42.xml"/><Relationship Id="rId299" Type="http://schemas.openxmlformats.org/officeDocument/2006/relationships/slideLayout" Target="../slideLayouts/slideLayout324.xml"/><Relationship Id="rId21" Type="http://schemas.openxmlformats.org/officeDocument/2006/relationships/slideLayout" Target="../slideLayouts/slideLayout46.xml"/><Relationship Id="rId63" Type="http://schemas.openxmlformats.org/officeDocument/2006/relationships/slideLayout" Target="../slideLayouts/slideLayout88.xml"/><Relationship Id="rId159" Type="http://schemas.openxmlformats.org/officeDocument/2006/relationships/slideLayout" Target="../slideLayouts/slideLayout184.xml"/><Relationship Id="rId170" Type="http://schemas.openxmlformats.org/officeDocument/2006/relationships/slideLayout" Target="../slideLayouts/slideLayout195.xml"/><Relationship Id="rId226" Type="http://schemas.openxmlformats.org/officeDocument/2006/relationships/slideLayout" Target="../slideLayouts/slideLayout251.xml"/><Relationship Id="rId268" Type="http://schemas.openxmlformats.org/officeDocument/2006/relationships/slideLayout" Target="../slideLayouts/slideLayout293.xml"/><Relationship Id="rId32" Type="http://schemas.openxmlformats.org/officeDocument/2006/relationships/slideLayout" Target="../slideLayouts/slideLayout57.xml"/><Relationship Id="rId74" Type="http://schemas.openxmlformats.org/officeDocument/2006/relationships/slideLayout" Target="../slideLayouts/slideLayout99.xml"/><Relationship Id="rId128" Type="http://schemas.openxmlformats.org/officeDocument/2006/relationships/slideLayout" Target="../slideLayouts/slideLayout153.xml"/><Relationship Id="rId5" Type="http://schemas.openxmlformats.org/officeDocument/2006/relationships/slideLayout" Target="../slideLayouts/slideLayout30.xml"/><Relationship Id="rId181" Type="http://schemas.openxmlformats.org/officeDocument/2006/relationships/slideLayout" Target="../slideLayouts/slideLayout206.xml"/><Relationship Id="rId237" Type="http://schemas.openxmlformats.org/officeDocument/2006/relationships/slideLayout" Target="../slideLayouts/slideLayout262.xml"/><Relationship Id="rId279" Type="http://schemas.openxmlformats.org/officeDocument/2006/relationships/slideLayout" Target="../slideLayouts/slideLayout304.xml"/><Relationship Id="rId43" Type="http://schemas.openxmlformats.org/officeDocument/2006/relationships/slideLayout" Target="../slideLayouts/slideLayout68.xml"/><Relationship Id="rId139" Type="http://schemas.openxmlformats.org/officeDocument/2006/relationships/slideLayout" Target="../slideLayouts/slideLayout164.xml"/><Relationship Id="rId290" Type="http://schemas.openxmlformats.org/officeDocument/2006/relationships/slideLayout" Target="../slideLayouts/slideLayout315.xml"/><Relationship Id="rId304" Type="http://schemas.openxmlformats.org/officeDocument/2006/relationships/slideLayout" Target="../slideLayouts/slideLayout329.xml"/><Relationship Id="rId85" Type="http://schemas.openxmlformats.org/officeDocument/2006/relationships/slideLayout" Target="../slideLayouts/slideLayout110.xml"/><Relationship Id="rId150" Type="http://schemas.openxmlformats.org/officeDocument/2006/relationships/slideLayout" Target="../slideLayouts/slideLayout175.xml"/><Relationship Id="rId192" Type="http://schemas.openxmlformats.org/officeDocument/2006/relationships/slideLayout" Target="../slideLayouts/slideLayout217.xml"/><Relationship Id="rId206" Type="http://schemas.openxmlformats.org/officeDocument/2006/relationships/slideLayout" Target="../slideLayouts/slideLayout231.xml"/><Relationship Id="rId248" Type="http://schemas.openxmlformats.org/officeDocument/2006/relationships/slideLayout" Target="../slideLayouts/slideLayout273.xml"/><Relationship Id="rId12" Type="http://schemas.openxmlformats.org/officeDocument/2006/relationships/slideLayout" Target="../slideLayouts/slideLayout37.xml"/><Relationship Id="rId108" Type="http://schemas.openxmlformats.org/officeDocument/2006/relationships/slideLayout" Target="../slideLayouts/slideLayout133.xml"/><Relationship Id="rId315" Type="http://schemas.openxmlformats.org/officeDocument/2006/relationships/slideLayout" Target="../slideLayouts/slideLayout340.xml"/><Relationship Id="rId54" Type="http://schemas.openxmlformats.org/officeDocument/2006/relationships/slideLayout" Target="../slideLayouts/slideLayout79.xml"/><Relationship Id="rId96" Type="http://schemas.openxmlformats.org/officeDocument/2006/relationships/slideLayout" Target="../slideLayouts/slideLayout121.xml"/><Relationship Id="rId161" Type="http://schemas.openxmlformats.org/officeDocument/2006/relationships/slideLayout" Target="../slideLayouts/slideLayout186.xml"/><Relationship Id="rId217" Type="http://schemas.openxmlformats.org/officeDocument/2006/relationships/slideLayout" Target="../slideLayouts/slideLayout242.xml"/><Relationship Id="rId259" Type="http://schemas.openxmlformats.org/officeDocument/2006/relationships/slideLayout" Target="../slideLayouts/slideLayout284.xml"/><Relationship Id="rId23" Type="http://schemas.openxmlformats.org/officeDocument/2006/relationships/slideLayout" Target="../slideLayouts/slideLayout48.xml"/><Relationship Id="rId119" Type="http://schemas.openxmlformats.org/officeDocument/2006/relationships/slideLayout" Target="../slideLayouts/slideLayout144.xml"/><Relationship Id="rId270" Type="http://schemas.openxmlformats.org/officeDocument/2006/relationships/slideLayout" Target="../slideLayouts/slideLayout295.xml"/><Relationship Id="rId65" Type="http://schemas.openxmlformats.org/officeDocument/2006/relationships/slideLayout" Target="../slideLayouts/slideLayout90.xml"/><Relationship Id="rId130" Type="http://schemas.openxmlformats.org/officeDocument/2006/relationships/slideLayout" Target="../slideLayouts/slideLayout155.xml"/><Relationship Id="rId172" Type="http://schemas.openxmlformats.org/officeDocument/2006/relationships/slideLayout" Target="../slideLayouts/slideLayout197.xml"/><Relationship Id="rId193" Type="http://schemas.openxmlformats.org/officeDocument/2006/relationships/slideLayout" Target="../slideLayouts/slideLayout218.xml"/><Relationship Id="rId207" Type="http://schemas.openxmlformats.org/officeDocument/2006/relationships/slideLayout" Target="../slideLayouts/slideLayout232.xml"/><Relationship Id="rId228" Type="http://schemas.openxmlformats.org/officeDocument/2006/relationships/slideLayout" Target="../slideLayouts/slideLayout253.xml"/><Relationship Id="rId249" Type="http://schemas.openxmlformats.org/officeDocument/2006/relationships/slideLayout" Target="../slideLayouts/slideLayout274.xml"/><Relationship Id="rId13" Type="http://schemas.openxmlformats.org/officeDocument/2006/relationships/slideLayout" Target="../slideLayouts/slideLayout38.xml"/><Relationship Id="rId109" Type="http://schemas.openxmlformats.org/officeDocument/2006/relationships/slideLayout" Target="../slideLayouts/slideLayout134.xml"/><Relationship Id="rId260" Type="http://schemas.openxmlformats.org/officeDocument/2006/relationships/slideLayout" Target="../slideLayouts/slideLayout285.xml"/><Relationship Id="rId281" Type="http://schemas.openxmlformats.org/officeDocument/2006/relationships/slideLayout" Target="../slideLayouts/slideLayout306.xml"/><Relationship Id="rId316" Type="http://schemas.openxmlformats.org/officeDocument/2006/relationships/theme" Target="../theme/theme2.xml"/><Relationship Id="rId34" Type="http://schemas.openxmlformats.org/officeDocument/2006/relationships/slideLayout" Target="../slideLayouts/slideLayout59.xml"/><Relationship Id="rId55" Type="http://schemas.openxmlformats.org/officeDocument/2006/relationships/slideLayout" Target="../slideLayouts/slideLayout80.xml"/><Relationship Id="rId76" Type="http://schemas.openxmlformats.org/officeDocument/2006/relationships/slideLayout" Target="../slideLayouts/slideLayout101.xml"/><Relationship Id="rId97" Type="http://schemas.openxmlformats.org/officeDocument/2006/relationships/slideLayout" Target="../slideLayouts/slideLayout122.xml"/><Relationship Id="rId120" Type="http://schemas.openxmlformats.org/officeDocument/2006/relationships/slideLayout" Target="../slideLayouts/slideLayout145.xml"/><Relationship Id="rId141" Type="http://schemas.openxmlformats.org/officeDocument/2006/relationships/slideLayout" Target="../slideLayouts/slideLayout166.xml"/><Relationship Id="rId7" Type="http://schemas.openxmlformats.org/officeDocument/2006/relationships/slideLayout" Target="../slideLayouts/slideLayout32.xml"/><Relationship Id="rId162" Type="http://schemas.openxmlformats.org/officeDocument/2006/relationships/slideLayout" Target="../slideLayouts/slideLayout187.xml"/><Relationship Id="rId183" Type="http://schemas.openxmlformats.org/officeDocument/2006/relationships/slideLayout" Target="../slideLayouts/slideLayout208.xml"/><Relationship Id="rId218" Type="http://schemas.openxmlformats.org/officeDocument/2006/relationships/slideLayout" Target="../slideLayouts/slideLayout243.xml"/><Relationship Id="rId239" Type="http://schemas.openxmlformats.org/officeDocument/2006/relationships/slideLayout" Target="../slideLayouts/slideLayout264.xml"/><Relationship Id="rId250" Type="http://schemas.openxmlformats.org/officeDocument/2006/relationships/slideLayout" Target="../slideLayouts/slideLayout275.xml"/><Relationship Id="rId271" Type="http://schemas.openxmlformats.org/officeDocument/2006/relationships/slideLayout" Target="../slideLayouts/slideLayout296.xml"/><Relationship Id="rId292" Type="http://schemas.openxmlformats.org/officeDocument/2006/relationships/slideLayout" Target="../slideLayouts/slideLayout317.xml"/><Relationship Id="rId306" Type="http://schemas.openxmlformats.org/officeDocument/2006/relationships/slideLayout" Target="../slideLayouts/slideLayout331.xml"/><Relationship Id="rId24" Type="http://schemas.openxmlformats.org/officeDocument/2006/relationships/slideLayout" Target="../slideLayouts/slideLayout49.xml"/><Relationship Id="rId45" Type="http://schemas.openxmlformats.org/officeDocument/2006/relationships/slideLayout" Target="../slideLayouts/slideLayout70.xml"/><Relationship Id="rId66" Type="http://schemas.openxmlformats.org/officeDocument/2006/relationships/slideLayout" Target="../slideLayouts/slideLayout91.xml"/><Relationship Id="rId87" Type="http://schemas.openxmlformats.org/officeDocument/2006/relationships/slideLayout" Target="../slideLayouts/slideLayout112.xml"/><Relationship Id="rId110" Type="http://schemas.openxmlformats.org/officeDocument/2006/relationships/slideLayout" Target="../slideLayouts/slideLayout135.xml"/><Relationship Id="rId131" Type="http://schemas.openxmlformats.org/officeDocument/2006/relationships/slideLayout" Target="../slideLayouts/slideLayout156.xml"/><Relationship Id="rId152" Type="http://schemas.openxmlformats.org/officeDocument/2006/relationships/slideLayout" Target="../slideLayouts/slideLayout177.xml"/><Relationship Id="rId173" Type="http://schemas.openxmlformats.org/officeDocument/2006/relationships/slideLayout" Target="../slideLayouts/slideLayout198.xml"/><Relationship Id="rId194" Type="http://schemas.openxmlformats.org/officeDocument/2006/relationships/slideLayout" Target="../slideLayouts/slideLayout219.xml"/><Relationship Id="rId208" Type="http://schemas.openxmlformats.org/officeDocument/2006/relationships/slideLayout" Target="../slideLayouts/slideLayout233.xml"/><Relationship Id="rId229" Type="http://schemas.openxmlformats.org/officeDocument/2006/relationships/slideLayout" Target="../slideLayouts/slideLayout254.xml"/><Relationship Id="rId240" Type="http://schemas.openxmlformats.org/officeDocument/2006/relationships/slideLayout" Target="../slideLayouts/slideLayout265.xml"/><Relationship Id="rId261" Type="http://schemas.openxmlformats.org/officeDocument/2006/relationships/slideLayout" Target="../slideLayouts/slideLayout286.xml"/><Relationship Id="rId14" Type="http://schemas.openxmlformats.org/officeDocument/2006/relationships/slideLayout" Target="../slideLayouts/slideLayout39.xml"/><Relationship Id="rId35" Type="http://schemas.openxmlformats.org/officeDocument/2006/relationships/slideLayout" Target="../slideLayouts/slideLayout60.xml"/><Relationship Id="rId56" Type="http://schemas.openxmlformats.org/officeDocument/2006/relationships/slideLayout" Target="../slideLayouts/slideLayout81.xml"/><Relationship Id="rId77" Type="http://schemas.openxmlformats.org/officeDocument/2006/relationships/slideLayout" Target="../slideLayouts/slideLayout102.xml"/><Relationship Id="rId100" Type="http://schemas.openxmlformats.org/officeDocument/2006/relationships/slideLayout" Target="../slideLayouts/slideLayout125.xml"/><Relationship Id="rId282" Type="http://schemas.openxmlformats.org/officeDocument/2006/relationships/slideLayout" Target="../slideLayouts/slideLayout307.xml"/><Relationship Id="rId8" Type="http://schemas.openxmlformats.org/officeDocument/2006/relationships/slideLayout" Target="../slideLayouts/slideLayout33.xml"/><Relationship Id="rId98" Type="http://schemas.openxmlformats.org/officeDocument/2006/relationships/slideLayout" Target="../slideLayouts/slideLayout123.xml"/><Relationship Id="rId121" Type="http://schemas.openxmlformats.org/officeDocument/2006/relationships/slideLayout" Target="../slideLayouts/slideLayout146.xml"/><Relationship Id="rId142" Type="http://schemas.openxmlformats.org/officeDocument/2006/relationships/slideLayout" Target="../slideLayouts/slideLayout167.xml"/><Relationship Id="rId163" Type="http://schemas.openxmlformats.org/officeDocument/2006/relationships/slideLayout" Target="../slideLayouts/slideLayout188.xml"/><Relationship Id="rId184" Type="http://schemas.openxmlformats.org/officeDocument/2006/relationships/slideLayout" Target="../slideLayouts/slideLayout209.xml"/><Relationship Id="rId219" Type="http://schemas.openxmlformats.org/officeDocument/2006/relationships/slideLayout" Target="../slideLayouts/slideLayout244.xml"/><Relationship Id="rId230" Type="http://schemas.openxmlformats.org/officeDocument/2006/relationships/slideLayout" Target="../slideLayouts/slideLayout255.xml"/><Relationship Id="rId251" Type="http://schemas.openxmlformats.org/officeDocument/2006/relationships/slideLayout" Target="../slideLayouts/slideLayout276.xml"/><Relationship Id="rId25" Type="http://schemas.openxmlformats.org/officeDocument/2006/relationships/slideLayout" Target="../slideLayouts/slideLayout50.xml"/><Relationship Id="rId46" Type="http://schemas.openxmlformats.org/officeDocument/2006/relationships/slideLayout" Target="../slideLayouts/slideLayout71.xml"/><Relationship Id="rId67" Type="http://schemas.openxmlformats.org/officeDocument/2006/relationships/slideLayout" Target="../slideLayouts/slideLayout92.xml"/><Relationship Id="rId272" Type="http://schemas.openxmlformats.org/officeDocument/2006/relationships/slideLayout" Target="../slideLayouts/slideLayout297.xml"/><Relationship Id="rId293" Type="http://schemas.openxmlformats.org/officeDocument/2006/relationships/slideLayout" Target="../slideLayouts/slideLayout318.xml"/><Relationship Id="rId307" Type="http://schemas.openxmlformats.org/officeDocument/2006/relationships/slideLayout" Target="../slideLayouts/slideLayout332.xml"/><Relationship Id="rId88" Type="http://schemas.openxmlformats.org/officeDocument/2006/relationships/slideLayout" Target="../slideLayouts/slideLayout113.xml"/><Relationship Id="rId111" Type="http://schemas.openxmlformats.org/officeDocument/2006/relationships/slideLayout" Target="../slideLayouts/slideLayout136.xml"/><Relationship Id="rId132" Type="http://schemas.openxmlformats.org/officeDocument/2006/relationships/slideLayout" Target="../slideLayouts/slideLayout157.xml"/><Relationship Id="rId153" Type="http://schemas.openxmlformats.org/officeDocument/2006/relationships/slideLayout" Target="../slideLayouts/slideLayout178.xml"/><Relationship Id="rId174" Type="http://schemas.openxmlformats.org/officeDocument/2006/relationships/slideLayout" Target="../slideLayouts/slideLayout199.xml"/><Relationship Id="rId195" Type="http://schemas.openxmlformats.org/officeDocument/2006/relationships/slideLayout" Target="../slideLayouts/slideLayout220.xml"/><Relationship Id="rId209" Type="http://schemas.openxmlformats.org/officeDocument/2006/relationships/slideLayout" Target="../slideLayouts/slideLayout234.xml"/><Relationship Id="rId220" Type="http://schemas.openxmlformats.org/officeDocument/2006/relationships/slideLayout" Target="../slideLayouts/slideLayout245.xml"/><Relationship Id="rId241" Type="http://schemas.openxmlformats.org/officeDocument/2006/relationships/slideLayout" Target="../slideLayouts/slideLayout266.xml"/><Relationship Id="rId15" Type="http://schemas.openxmlformats.org/officeDocument/2006/relationships/slideLayout" Target="../slideLayouts/slideLayout40.xml"/><Relationship Id="rId36" Type="http://schemas.openxmlformats.org/officeDocument/2006/relationships/slideLayout" Target="../slideLayouts/slideLayout61.xml"/><Relationship Id="rId57" Type="http://schemas.openxmlformats.org/officeDocument/2006/relationships/slideLayout" Target="../slideLayouts/slideLayout82.xml"/><Relationship Id="rId262" Type="http://schemas.openxmlformats.org/officeDocument/2006/relationships/slideLayout" Target="../slideLayouts/slideLayout287.xml"/><Relationship Id="rId283" Type="http://schemas.openxmlformats.org/officeDocument/2006/relationships/slideLayout" Target="../slideLayouts/slideLayout308.xml"/><Relationship Id="rId78" Type="http://schemas.openxmlformats.org/officeDocument/2006/relationships/slideLayout" Target="../slideLayouts/slideLayout103.xml"/><Relationship Id="rId99" Type="http://schemas.openxmlformats.org/officeDocument/2006/relationships/slideLayout" Target="../slideLayouts/slideLayout124.xml"/><Relationship Id="rId101" Type="http://schemas.openxmlformats.org/officeDocument/2006/relationships/slideLayout" Target="../slideLayouts/slideLayout126.xml"/><Relationship Id="rId122" Type="http://schemas.openxmlformats.org/officeDocument/2006/relationships/slideLayout" Target="../slideLayouts/slideLayout147.xml"/><Relationship Id="rId143" Type="http://schemas.openxmlformats.org/officeDocument/2006/relationships/slideLayout" Target="../slideLayouts/slideLayout168.xml"/><Relationship Id="rId164" Type="http://schemas.openxmlformats.org/officeDocument/2006/relationships/slideLayout" Target="../slideLayouts/slideLayout189.xml"/><Relationship Id="rId185" Type="http://schemas.openxmlformats.org/officeDocument/2006/relationships/slideLayout" Target="../slideLayouts/slideLayout210.xml"/><Relationship Id="rId9" Type="http://schemas.openxmlformats.org/officeDocument/2006/relationships/slideLayout" Target="../slideLayouts/slideLayout34.xml"/><Relationship Id="rId210" Type="http://schemas.openxmlformats.org/officeDocument/2006/relationships/slideLayout" Target="../slideLayouts/slideLayout235.xml"/><Relationship Id="rId26" Type="http://schemas.openxmlformats.org/officeDocument/2006/relationships/slideLayout" Target="../slideLayouts/slideLayout51.xml"/><Relationship Id="rId231" Type="http://schemas.openxmlformats.org/officeDocument/2006/relationships/slideLayout" Target="../slideLayouts/slideLayout256.xml"/><Relationship Id="rId252" Type="http://schemas.openxmlformats.org/officeDocument/2006/relationships/slideLayout" Target="../slideLayouts/slideLayout277.xml"/><Relationship Id="rId273" Type="http://schemas.openxmlformats.org/officeDocument/2006/relationships/slideLayout" Target="../slideLayouts/slideLayout298.xml"/><Relationship Id="rId294" Type="http://schemas.openxmlformats.org/officeDocument/2006/relationships/slideLayout" Target="../slideLayouts/slideLayout319.xml"/><Relationship Id="rId308" Type="http://schemas.openxmlformats.org/officeDocument/2006/relationships/slideLayout" Target="../slideLayouts/slideLayout333.xml"/><Relationship Id="rId47" Type="http://schemas.openxmlformats.org/officeDocument/2006/relationships/slideLayout" Target="../slideLayouts/slideLayout72.xml"/><Relationship Id="rId68" Type="http://schemas.openxmlformats.org/officeDocument/2006/relationships/slideLayout" Target="../slideLayouts/slideLayout93.xml"/><Relationship Id="rId89" Type="http://schemas.openxmlformats.org/officeDocument/2006/relationships/slideLayout" Target="../slideLayouts/slideLayout114.xml"/><Relationship Id="rId112" Type="http://schemas.openxmlformats.org/officeDocument/2006/relationships/slideLayout" Target="../slideLayouts/slideLayout137.xml"/><Relationship Id="rId133" Type="http://schemas.openxmlformats.org/officeDocument/2006/relationships/slideLayout" Target="../slideLayouts/slideLayout158.xml"/><Relationship Id="rId154" Type="http://schemas.openxmlformats.org/officeDocument/2006/relationships/slideLayout" Target="../slideLayouts/slideLayout179.xml"/><Relationship Id="rId175" Type="http://schemas.openxmlformats.org/officeDocument/2006/relationships/slideLayout" Target="../slideLayouts/slideLayout200.xml"/><Relationship Id="rId196" Type="http://schemas.openxmlformats.org/officeDocument/2006/relationships/slideLayout" Target="../slideLayouts/slideLayout221.xml"/><Relationship Id="rId200" Type="http://schemas.openxmlformats.org/officeDocument/2006/relationships/slideLayout" Target="../slideLayouts/slideLayout225.xml"/><Relationship Id="rId16" Type="http://schemas.openxmlformats.org/officeDocument/2006/relationships/slideLayout" Target="../slideLayouts/slideLayout41.xml"/><Relationship Id="rId221" Type="http://schemas.openxmlformats.org/officeDocument/2006/relationships/slideLayout" Target="../slideLayouts/slideLayout246.xml"/><Relationship Id="rId242" Type="http://schemas.openxmlformats.org/officeDocument/2006/relationships/slideLayout" Target="../slideLayouts/slideLayout267.xml"/><Relationship Id="rId263" Type="http://schemas.openxmlformats.org/officeDocument/2006/relationships/slideLayout" Target="../slideLayouts/slideLayout288.xml"/><Relationship Id="rId284" Type="http://schemas.openxmlformats.org/officeDocument/2006/relationships/slideLayout" Target="../slideLayouts/slideLayout309.xml"/><Relationship Id="rId37" Type="http://schemas.openxmlformats.org/officeDocument/2006/relationships/slideLayout" Target="../slideLayouts/slideLayout62.xml"/><Relationship Id="rId58" Type="http://schemas.openxmlformats.org/officeDocument/2006/relationships/slideLayout" Target="../slideLayouts/slideLayout83.xml"/><Relationship Id="rId79" Type="http://schemas.openxmlformats.org/officeDocument/2006/relationships/slideLayout" Target="../slideLayouts/slideLayout104.xml"/><Relationship Id="rId102" Type="http://schemas.openxmlformats.org/officeDocument/2006/relationships/slideLayout" Target="../slideLayouts/slideLayout127.xml"/><Relationship Id="rId123" Type="http://schemas.openxmlformats.org/officeDocument/2006/relationships/slideLayout" Target="../slideLayouts/slideLayout148.xml"/><Relationship Id="rId144" Type="http://schemas.openxmlformats.org/officeDocument/2006/relationships/slideLayout" Target="../slideLayouts/slideLayout169.xml"/><Relationship Id="rId90" Type="http://schemas.openxmlformats.org/officeDocument/2006/relationships/slideLayout" Target="../slideLayouts/slideLayout115.xml"/><Relationship Id="rId165" Type="http://schemas.openxmlformats.org/officeDocument/2006/relationships/slideLayout" Target="../slideLayouts/slideLayout190.xml"/><Relationship Id="rId186" Type="http://schemas.openxmlformats.org/officeDocument/2006/relationships/slideLayout" Target="../slideLayouts/slideLayout211.xml"/><Relationship Id="rId211" Type="http://schemas.openxmlformats.org/officeDocument/2006/relationships/slideLayout" Target="../slideLayouts/slideLayout236.xml"/><Relationship Id="rId232" Type="http://schemas.openxmlformats.org/officeDocument/2006/relationships/slideLayout" Target="../slideLayouts/slideLayout257.xml"/><Relationship Id="rId253" Type="http://schemas.openxmlformats.org/officeDocument/2006/relationships/slideLayout" Target="../slideLayouts/slideLayout278.xml"/><Relationship Id="rId274" Type="http://schemas.openxmlformats.org/officeDocument/2006/relationships/slideLayout" Target="../slideLayouts/slideLayout299.xml"/><Relationship Id="rId295" Type="http://schemas.openxmlformats.org/officeDocument/2006/relationships/slideLayout" Target="../slideLayouts/slideLayout320.xml"/><Relationship Id="rId309" Type="http://schemas.openxmlformats.org/officeDocument/2006/relationships/slideLayout" Target="../slideLayouts/slideLayout334.xml"/><Relationship Id="rId27" Type="http://schemas.openxmlformats.org/officeDocument/2006/relationships/slideLayout" Target="../slideLayouts/slideLayout52.xml"/><Relationship Id="rId48" Type="http://schemas.openxmlformats.org/officeDocument/2006/relationships/slideLayout" Target="../slideLayouts/slideLayout73.xml"/><Relationship Id="rId69" Type="http://schemas.openxmlformats.org/officeDocument/2006/relationships/slideLayout" Target="../slideLayouts/slideLayout94.xml"/><Relationship Id="rId113" Type="http://schemas.openxmlformats.org/officeDocument/2006/relationships/slideLayout" Target="../slideLayouts/slideLayout138.xml"/><Relationship Id="rId134" Type="http://schemas.openxmlformats.org/officeDocument/2006/relationships/slideLayout" Target="../slideLayouts/slideLayout159.xml"/><Relationship Id="rId80" Type="http://schemas.openxmlformats.org/officeDocument/2006/relationships/slideLayout" Target="../slideLayouts/slideLayout105.xml"/><Relationship Id="rId155" Type="http://schemas.openxmlformats.org/officeDocument/2006/relationships/slideLayout" Target="../slideLayouts/slideLayout180.xml"/><Relationship Id="rId176" Type="http://schemas.openxmlformats.org/officeDocument/2006/relationships/slideLayout" Target="../slideLayouts/slideLayout201.xml"/><Relationship Id="rId197" Type="http://schemas.openxmlformats.org/officeDocument/2006/relationships/slideLayout" Target="../slideLayouts/slideLayout222.xml"/><Relationship Id="rId201" Type="http://schemas.openxmlformats.org/officeDocument/2006/relationships/slideLayout" Target="../slideLayouts/slideLayout226.xml"/><Relationship Id="rId222" Type="http://schemas.openxmlformats.org/officeDocument/2006/relationships/slideLayout" Target="../slideLayouts/slideLayout247.xml"/><Relationship Id="rId243" Type="http://schemas.openxmlformats.org/officeDocument/2006/relationships/slideLayout" Target="../slideLayouts/slideLayout268.xml"/><Relationship Id="rId264" Type="http://schemas.openxmlformats.org/officeDocument/2006/relationships/slideLayout" Target="../slideLayouts/slideLayout289.xml"/><Relationship Id="rId285" Type="http://schemas.openxmlformats.org/officeDocument/2006/relationships/slideLayout" Target="../slideLayouts/slideLayout310.xml"/><Relationship Id="rId17" Type="http://schemas.openxmlformats.org/officeDocument/2006/relationships/slideLayout" Target="../slideLayouts/slideLayout42.xml"/><Relationship Id="rId38" Type="http://schemas.openxmlformats.org/officeDocument/2006/relationships/slideLayout" Target="../slideLayouts/slideLayout63.xml"/><Relationship Id="rId59" Type="http://schemas.openxmlformats.org/officeDocument/2006/relationships/slideLayout" Target="../slideLayouts/slideLayout84.xml"/><Relationship Id="rId103" Type="http://schemas.openxmlformats.org/officeDocument/2006/relationships/slideLayout" Target="../slideLayouts/slideLayout128.xml"/><Relationship Id="rId124" Type="http://schemas.openxmlformats.org/officeDocument/2006/relationships/slideLayout" Target="../slideLayouts/slideLayout149.xml"/><Relationship Id="rId310" Type="http://schemas.openxmlformats.org/officeDocument/2006/relationships/slideLayout" Target="../slideLayouts/slideLayout335.xml"/><Relationship Id="rId70" Type="http://schemas.openxmlformats.org/officeDocument/2006/relationships/slideLayout" Target="../slideLayouts/slideLayout95.xml"/><Relationship Id="rId91" Type="http://schemas.openxmlformats.org/officeDocument/2006/relationships/slideLayout" Target="../slideLayouts/slideLayout116.xml"/><Relationship Id="rId145" Type="http://schemas.openxmlformats.org/officeDocument/2006/relationships/slideLayout" Target="../slideLayouts/slideLayout170.xml"/><Relationship Id="rId166" Type="http://schemas.openxmlformats.org/officeDocument/2006/relationships/slideLayout" Target="../slideLayouts/slideLayout191.xml"/><Relationship Id="rId187" Type="http://schemas.openxmlformats.org/officeDocument/2006/relationships/slideLayout" Target="../slideLayouts/slideLayout212.xml"/><Relationship Id="rId1" Type="http://schemas.openxmlformats.org/officeDocument/2006/relationships/slideLayout" Target="../slideLayouts/slideLayout26.xml"/><Relationship Id="rId212" Type="http://schemas.openxmlformats.org/officeDocument/2006/relationships/slideLayout" Target="../slideLayouts/slideLayout237.xml"/><Relationship Id="rId233" Type="http://schemas.openxmlformats.org/officeDocument/2006/relationships/slideLayout" Target="../slideLayouts/slideLayout258.xml"/><Relationship Id="rId254" Type="http://schemas.openxmlformats.org/officeDocument/2006/relationships/slideLayout" Target="../slideLayouts/slideLayout279.xml"/><Relationship Id="rId28" Type="http://schemas.openxmlformats.org/officeDocument/2006/relationships/slideLayout" Target="../slideLayouts/slideLayout53.xml"/><Relationship Id="rId49" Type="http://schemas.openxmlformats.org/officeDocument/2006/relationships/slideLayout" Target="../slideLayouts/slideLayout74.xml"/><Relationship Id="rId114" Type="http://schemas.openxmlformats.org/officeDocument/2006/relationships/slideLayout" Target="../slideLayouts/slideLayout139.xml"/><Relationship Id="rId275" Type="http://schemas.openxmlformats.org/officeDocument/2006/relationships/slideLayout" Target="../slideLayouts/slideLayout300.xml"/><Relationship Id="rId296" Type="http://schemas.openxmlformats.org/officeDocument/2006/relationships/slideLayout" Target="../slideLayouts/slideLayout321.xml"/><Relationship Id="rId300" Type="http://schemas.openxmlformats.org/officeDocument/2006/relationships/slideLayout" Target="../slideLayouts/slideLayout325.xml"/><Relationship Id="rId60" Type="http://schemas.openxmlformats.org/officeDocument/2006/relationships/slideLayout" Target="../slideLayouts/slideLayout85.xml"/><Relationship Id="rId81" Type="http://schemas.openxmlformats.org/officeDocument/2006/relationships/slideLayout" Target="../slideLayouts/slideLayout106.xml"/><Relationship Id="rId135" Type="http://schemas.openxmlformats.org/officeDocument/2006/relationships/slideLayout" Target="../slideLayouts/slideLayout160.xml"/><Relationship Id="rId156" Type="http://schemas.openxmlformats.org/officeDocument/2006/relationships/slideLayout" Target="../slideLayouts/slideLayout181.xml"/><Relationship Id="rId177" Type="http://schemas.openxmlformats.org/officeDocument/2006/relationships/slideLayout" Target="../slideLayouts/slideLayout202.xml"/><Relationship Id="rId198" Type="http://schemas.openxmlformats.org/officeDocument/2006/relationships/slideLayout" Target="../slideLayouts/slideLayout223.xml"/><Relationship Id="rId202" Type="http://schemas.openxmlformats.org/officeDocument/2006/relationships/slideLayout" Target="../slideLayouts/slideLayout227.xml"/><Relationship Id="rId223" Type="http://schemas.openxmlformats.org/officeDocument/2006/relationships/slideLayout" Target="../slideLayouts/slideLayout248.xml"/><Relationship Id="rId244" Type="http://schemas.openxmlformats.org/officeDocument/2006/relationships/slideLayout" Target="../slideLayouts/slideLayout269.xml"/><Relationship Id="rId18" Type="http://schemas.openxmlformats.org/officeDocument/2006/relationships/slideLayout" Target="../slideLayouts/slideLayout43.xml"/><Relationship Id="rId39" Type="http://schemas.openxmlformats.org/officeDocument/2006/relationships/slideLayout" Target="../slideLayouts/slideLayout64.xml"/><Relationship Id="rId265" Type="http://schemas.openxmlformats.org/officeDocument/2006/relationships/slideLayout" Target="../slideLayouts/slideLayout290.xml"/><Relationship Id="rId286" Type="http://schemas.openxmlformats.org/officeDocument/2006/relationships/slideLayout" Target="../slideLayouts/slideLayout311.xml"/><Relationship Id="rId50" Type="http://schemas.openxmlformats.org/officeDocument/2006/relationships/slideLayout" Target="../slideLayouts/slideLayout75.xml"/><Relationship Id="rId104" Type="http://schemas.openxmlformats.org/officeDocument/2006/relationships/slideLayout" Target="../slideLayouts/slideLayout129.xml"/><Relationship Id="rId125" Type="http://schemas.openxmlformats.org/officeDocument/2006/relationships/slideLayout" Target="../slideLayouts/slideLayout150.xml"/><Relationship Id="rId146" Type="http://schemas.openxmlformats.org/officeDocument/2006/relationships/slideLayout" Target="../slideLayouts/slideLayout171.xml"/><Relationship Id="rId167" Type="http://schemas.openxmlformats.org/officeDocument/2006/relationships/slideLayout" Target="../slideLayouts/slideLayout192.xml"/><Relationship Id="rId188" Type="http://schemas.openxmlformats.org/officeDocument/2006/relationships/slideLayout" Target="../slideLayouts/slideLayout213.xml"/><Relationship Id="rId311" Type="http://schemas.openxmlformats.org/officeDocument/2006/relationships/slideLayout" Target="../slideLayouts/slideLayout336.xml"/><Relationship Id="rId71" Type="http://schemas.openxmlformats.org/officeDocument/2006/relationships/slideLayout" Target="../slideLayouts/slideLayout96.xml"/><Relationship Id="rId92" Type="http://schemas.openxmlformats.org/officeDocument/2006/relationships/slideLayout" Target="../slideLayouts/slideLayout117.xml"/><Relationship Id="rId213" Type="http://schemas.openxmlformats.org/officeDocument/2006/relationships/slideLayout" Target="../slideLayouts/slideLayout238.xml"/><Relationship Id="rId234" Type="http://schemas.openxmlformats.org/officeDocument/2006/relationships/slideLayout" Target="../slideLayouts/slideLayout259.xml"/><Relationship Id="rId2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54.xml"/><Relationship Id="rId255" Type="http://schemas.openxmlformats.org/officeDocument/2006/relationships/slideLayout" Target="../slideLayouts/slideLayout280.xml"/><Relationship Id="rId276" Type="http://schemas.openxmlformats.org/officeDocument/2006/relationships/slideLayout" Target="../slideLayouts/slideLayout301.xml"/><Relationship Id="rId297" Type="http://schemas.openxmlformats.org/officeDocument/2006/relationships/slideLayout" Target="../slideLayouts/slideLayout322.xml"/><Relationship Id="rId40" Type="http://schemas.openxmlformats.org/officeDocument/2006/relationships/slideLayout" Target="../slideLayouts/slideLayout65.xml"/><Relationship Id="rId115" Type="http://schemas.openxmlformats.org/officeDocument/2006/relationships/slideLayout" Target="../slideLayouts/slideLayout140.xml"/><Relationship Id="rId136" Type="http://schemas.openxmlformats.org/officeDocument/2006/relationships/slideLayout" Target="../slideLayouts/slideLayout161.xml"/><Relationship Id="rId157" Type="http://schemas.openxmlformats.org/officeDocument/2006/relationships/slideLayout" Target="../slideLayouts/slideLayout182.xml"/><Relationship Id="rId178" Type="http://schemas.openxmlformats.org/officeDocument/2006/relationships/slideLayout" Target="../slideLayouts/slideLayout203.xml"/><Relationship Id="rId301" Type="http://schemas.openxmlformats.org/officeDocument/2006/relationships/slideLayout" Target="../slideLayouts/slideLayout326.xml"/><Relationship Id="rId61" Type="http://schemas.openxmlformats.org/officeDocument/2006/relationships/slideLayout" Target="../slideLayouts/slideLayout86.xml"/><Relationship Id="rId82" Type="http://schemas.openxmlformats.org/officeDocument/2006/relationships/slideLayout" Target="../slideLayouts/slideLayout107.xml"/><Relationship Id="rId199" Type="http://schemas.openxmlformats.org/officeDocument/2006/relationships/slideLayout" Target="../slideLayouts/slideLayout224.xml"/><Relationship Id="rId203" Type="http://schemas.openxmlformats.org/officeDocument/2006/relationships/slideLayout" Target="../slideLayouts/slideLayout228.xml"/><Relationship Id="rId19" Type="http://schemas.openxmlformats.org/officeDocument/2006/relationships/slideLayout" Target="../slideLayouts/slideLayout44.xml"/><Relationship Id="rId224" Type="http://schemas.openxmlformats.org/officeDocument/2006/relationships/slideLayout" Target="../slideLayouts/slideLayout249.xml"/><Relationship Id="rId245" Type="http://schemas.openxmlformats.org/officeDocument/2006/relationships/slideLayout" Target="../slideLayouts/slideLayout270.xml"/><Relationship Id="rId266" Type="http://schemas.openxmlformats.org/officeDocument/2006/relationships/slideLayout" Target="../slideLayouts/slideLayout291.xml"/><Relationship Id="rId287" Type="http://schemas.openxmlformats.org/officeDocument/2006/relationships/slideLayout" Target="../slideLayouts/slideLayout312.xml"/><Relationship Id="rId30" Type="http://schemas.openxmlformats.org/officeDocument/2006/relationships/slideLayout" Target="../slideLayouts/slideLayout55.xml"/><Relationship Id="rId105" Type="http://schemas.openxmlformats.org/officeDocument/2006/relationships/slideLayout" Target="../slideLayouts/slideLayout130.xml"/><Relationship Id="rId126" Type="http://schemas.openxmlformats.org/officeDocument/2006/relationships/slideLayout" Target="../slideLayouts/slideLayout151.xml"/><Relationship Id="rId147" Type="http://schemas.openxmlformats.org/officeDocument/2006/relationships/slideLayout" Target="../slideLayouts/slideLayout172.xml"/><Relationship Id="rId168" Type="http://schemas.openxmlformats.org/officeDocument/2006/relationships/slideLayout" Target="../slideLayouts/slideLayout193.xml"/><Relationship Id="rId312" Type="http://schemas.openxmlformats.org/officeDocument/2006/relationships/slideLayout" Target="../slideLayouts/slideLayout337.xml"/><Relationship Id="rId51" Type="http://schemas.openxmlformats.org/officeDocument/2006/relationships/slideLayout" Target="../slideLayouts/slideLayout76.xml"/><Relationship Id="rId72" Type="http://schemas.openxmlformats.org/officeDocument/2006/relationships/slideLayout" Target="../slideLayouts/slideLayout97.xml"/><Relationship Id="rId93" Type="http://schemas.openxmlformats.org/officeDocument/2006/relationships/slideLayout" Target="../slideLayouts/slideLayout118.xml"/><Relationship Id="rId189" Type="http://schemas.openxmlformats.org/officeDocument/2006/relationships/slideLayout" Target="../slideLayouts/slideLayout214.xml"/><Relationship Id="rId3" Type="http://schemas.openxmlformats.org/officeDocument/2006/relationships/slideLayout" Target="../slideLayouts/slideLayout28.xml"/><Relationship Id="rId214" Type="http://schemas.openxmlformats.org/officeDocument/2006/relationships/slideLayout" Target="../slideLayouts/slideLayout239.xml"/><Relationship Id="rId235" Type="http://schemas.openxmlformats.org/officeDocument/2006/relationships/slideLayout" Target="../slideLayouts/slideLayout260.xml"/><Relationship Id="rId256" Type="http://schemas.openxmlformats.org/officeDocument/2006/relationships/slideLayout" Target="../slideLayouts/slideLayout281.xml"/><Relationship Id="rId277" Type="http://schemas.openxmlformats.org/officeDocument/2006/relationships/slideLayout" Target="../slideLayouts/slideLayout302.xml"/><Relationship Id="rId298" Type="http://schemas.openxmlformats.org/officeDocument/2006/relationships/slideLayout" Target="../slideLayouts/slideLayout323.xml"/><Relationship Id="rId116" Type="http://schemas.openxmlformats.org/officeDocument/2006/relationships/slideLayout" Target="../slideLayouts/slideLayout141.xml"/><Relationship Id="rId137" Type="http://schemas.openxmlformats.org/officeDocument/2006/relationships/slideLayout" Target="../slideLayouts/slideLayout162.xml"/><Relationship Id="rId158" Type="http://schemas.openxmlformats.org/officeDocument/2006/relationships/slideLayout" Target="../slideLayouts/slideLayout183.xml"/><Relationship Id="rId302" Type="http://schemas.openxmlformats.org/officeDocument/2006/relationships/slideLayout" Target="../slideLayouts/slideLayout327.xml"/><Relationship Id="rId20" Type="http://schemas.openxmlformats.org/officeDocument/2006/relationships/slideLayout" Target="../slideLayouts/slideLayout45.xml"/><Relationship Id="rId41" Type="http://schemas.openxmlformats.org/officeDocument/2006/relationships/slideLayout" Target="../slideLayouts/slideLayout66.xml"/><Relationship Id="rId62" Type="http://schemas.openxmlformats.org/officeDocument/2006/relationships/slideLayout" Target="../slideLayouts/slideLayout87.xml"/><Relationship Id="rId83" Type="http://schemas.openxmlformats.org/officeDocument/2006/relationships/slideLayout" Target="../slideLayouts/slideLayout108.xml"/><Relationship Id="rId179" Type="http://schemas.openxmlformats.org/officeDocument/2006/relationships/slideLayout" Target="../slideLayouts/slideLayout204.xml"/><Relationship Id="rId190" Type="http://schemas.openxmlformats.org/officeDocument/2006/relationships/slideLayout" Target="../slideLayouts/slideLayout215.xml"/><Relationship Id="rId204" Type="http://schemas.openxmlformats.org/officeDocument/2006/relationships/slideLayout" Target="../slideLayouts/slideLayout229.xml"/><Relationship Id="rId225" Type="http://schemas.openxmlformats.org/officeDocument/2006/relationships/slideLayout" Target="../slideLayouts/slideLayout250.xml"/><Relationship Id="rId246" Type="http://schemas.openxmlformats.org/officeDocument/2006/relationships/slideLayout" Target="../slideLayouts/slideLayout271.xml"/><Relationship Id="rId267" Type="http://schemas.openxmlformats.org/officeDocument/2006/relationships/slideLayout" Target="../slideLayouts/slideLayout292.xml"/><Relationship Id="rId288" Type="http://schemas.openxmlformats.org/officeDocument/2006/relationships/slideLayout" Target="../slideLayouts/slideLayout313.xml"/><Relationship Id="rId106" Type="http://schemas.openxmlformats.org/officeDocument/2006/relationships/slideLayout" Target="../slideLayouts/slideLayout131.xml"/><Relationship Id="rId127" Type="http://schemas.openxmlformats.org/officeDocument/2006/relationships/slideLayout" Target="../slideLayouts/slideLayout152.xml"/><Relationship Id="rId313" Type="http://schemas.openxmlformats.org/officeDocument/2006/relationships/slideLayout" Target="../slideLayouts/slideLayout338.xml"/><Relationship Id="rId10" Type="http://schemas.openxmlformats.org/officeDocument/2006/relationships/slideLayout" Target="../slideLayouts/slideLayout35.xml"/><Relationship Id="rId31" Type="http://schemas.openxmlformats.org/officeDocument/2006/relationships/slideLayout" Target="../slideLayouts/slideLayout56.xml"/><Relationship Id="rId52" Type="http://schemas.openxmlformats.org/officeDocument/2006/relationships/slideLayout" Target="../slideLayouts/slideLayout77.xml"/><Relationship Id="rId73" Type="http://schemas.openxmlformats.org/officeDocument/2006/relationships/slideLayout" Target="../slideLayouts/slideLayout98.xml"/><Relationship Id="rId94" Type="http://schemas.openxmlformats.org/officeDocument/2006/relationships/slideLayout" Target="../slideLayouts/slideLayout119.xml"/><Relationship Id="rId148" Type="http://schemas.openxmlformats.org/officeDocument/2006/relationships/slideLayout" Target="../slideLayouts/slideLayout173.xml"/><Relationship Id="rId169" Type="http://schemas.openxmlformats.org/officeDocument/2006/relationships/slideLayout" Target="../slideLayouts/slideLayout194.xml"/><Relationship Id="rId4" Type="http://schemas.openxmlformats.org/officeDocument/2006/relationships/slideLayout" Target="../slideLayouts/slideLayout29.xml"/><Relationship Id="rId180" Type="http://schemas.openxmlformats.org/officeDocument/2006/relationships/slideLayout" Target="../slideLayouts/slideLayout205.xml"/><Relationship Id="rId215" Type="http://schemas.openxmlformats.org/officeDocument/2006/relationships/slideLayout" Target="../slideLayouts/slideLayout240.xml"/><Relationship Id="rId236" Type="http://schemas.openxmlformats.org/officeDocument/2006/relationships/slideLayout" Target="../slideLayouts/slideLayout261.xml"/><Relationship Id="rId257" Type="http://schemas.openxmlformats.org/officeDocument/2006/relationships/slideLayout" Target="../slideLayouts/slideLayout282.xml"/><Relationship Id="rId278" Type="http://schemas.openxmlformats.org/officeDocument/2006/relationships/slideLayout" Target="../slideLayouts/slideLayout303.xml"/><Relationship Id="rId303" Type="http://schemas.openxmlformats.org/officeDocument/2006/relationships/slideLayout" Target="../slideLayouts/slideLayout328.xml"/><Relationship Id="rId42" Type="http://schemas.openxmlformats.org/officeDocument/2006/relationships/slideLayout" Target="../slideLayouts/slideLayout67.xml"/><Relationship Id="rId84" Type="http://schemas.openxmlformats.org/officeDocument/2006/relationships/slideLayout" Target="../slideLayouts/slideLayout109.xml"/><Relationship Id="rId138" Type="http://schemas.openxmlformats.org/officeDocument/2006/relationships/slideLayout" Target="../slideLayouts/slideLayout163.xml"/><Relationship Id="rId191" Type="http://schemas.openxmlformats.org/officeDocument/2006/relationships/slideLayout" Target="../slideLayouts/slideLayout216.xml"/><Relationship Id="rId205" Type="http://schemas.openxmlformats.org/officeDocument/2006/relationships/slideLayout" Target="../slideLayouts/slideLayout230.xml"/><Relationship Id="rId247" Type="http://schemas.openxmlformats.org/officeDocument/2006/relationships/slideLayout" Target="../slideLayouts/slideLayout272.xml"/><Relationship Id="rId107" Type="http://schemas.openxmlformats.org/officeDocument/2006/relationships/slideLayout" Target="../slideLayouts/slideLayout132.xml"/><Relationship Id="rId289" Type="http://schemas.openxmlformats.org/officeDocument/2006/relationships/slideLayout" Target="../slideLayouts/slideLayout314.xml"/><Relationship Id="rId11" Type="http://schemas.openxmlformats.org/officeDocument/2006/relationships/slideLayout" Target="../slideLayouts/slideLayout36.xml"/><Relationship Id="rId53" Type="http://schemas.openxmlformats.org/officeDocument/2006/relationships/slideLayout" Target="../slideLayouts/slideLayout78.xml"/><Relationship Id="rId149" Type="http://schemas.openxmlformats.org/officeDocument/2006/relationships/slideLayout" Target="../slideLayouts/slideLayout174.xml"/><Relationship Id="rId314" Type="http://schemas.openxmlformats.org/officeDocument/2006/relationships/slideLayout" Target="../slideLayouts/slideLayout339.xml"/><Relationship Id="rId95" Type="http://schemas.openxmlformats.org/officeDocument/2006/relationships/slideLayout" Target="../slideLayouts/slideLayout120.xml"/><Relationship Id="rId160" Type="http://schemas.openxmlformats.org/officeDocument/2006/relationships/slideLayout" Target="../slideLayouts/slideLayout185.xml"/><Relationship Id="rId216" Type="http://schemas.openxmlformats.org/officeDocument/2006/relationships/slideLayout" Target="../slideLayouts/slideLayout241.xml"/><Relationship Id="rId258" Type="http://schemas.openxmlformats.org/officeDocument/2006/relationships/slideLayout" Target="../slideLayouts/slideLayout283.xml"/><Relationship Id="rId22" Type="http://schemas.openxmlformats.org/officeDocument/2006/relationships/slideLayout" Target="../slideLayouts/slideLayout47.xml"/><Relationship Id="rId64" Type="http://schemas.openxmlformats.org/officeDocument/2006/relationships/slideLayout" Target="../slideLayouts/slideLayout89.xml"/><Relationship Id="rId118" Type="http://schemas.openxmlformats.org/officeDocument/2006/relationships/slideLayout" Target="../slideLayouts/slideLayout143.xml"/><Relationship Id="rId171" Type="http://schemas.openxmlformats.org/officeDocument/2006/relationships/slideLayout" Target="../slideLayouts/slideLayout196.xml"/><Relationship Id="rId227" Type="http://schemas.openxmlformats.org/officeDocument/2006/relationships/slideLayout" Target="../slideLayouts/slideLayout252.xml"/><Relationship Id="rId269" Type="http://schemas.openxmlformats.org/officeDocument/2006/relationships/slideLayout" Target="../slideLayouts/slideLayout294.xml"/><Relationship Id="rId33" Type="http://schemas.openxmlformats.org/officeDocument/2006/relationships/slideLayout" Target="../slideLayouts/slideLayout58.xml"/><Relationship Id="rId129" Type="http://schemas.openxmlformats.org/officeDocument/2006/relationships/slideLayout" Target="../slideLayouts/slideLayout154.xml"/><Relationship Id="rId280" Type="http://schemas.openxmlformats.org/officeDocument/2006/relationships/slideLayout" Target="../slideLayouts/slideLayout305.xml"/><Relationship Id="rId75" Type="http://schemas.openxmlformats.org/officeDocument/2006/relationships/slideLayout" Target="../slideLayouts/slideLayout100.xml"/><Relationship Id="rId140" Type="http://schemas.openxmlformats.org/officeDocument/2006/relationships/slideLayout" Target="../slideLayouts/slideLayout165.xml"/><Relationship Id="rId182" Type="http://schemas.openxmlformats.org/officeDocument/2006/relationships/slideLayout" Target="../slideLayouts/slideLayout207.xml"/><Relationship Id="rId6" Type="http://schemas.openxmlformats.org/officeDocument/2006/relationships/slideLayout" Target="../slideLayouts/slideLayout31.xml"/><Relationship Id="rId238" Type="http://schemas.openxmlformats.org/officeDocument/2006/relationships/slideLayout" Target="../slideLayouts/slideLayout263.xml"/><Relationship Id="rId291" Type="http://schemas.openxmlformats.org/officeDocument/2006/relationships/slideLayout" Target="../slideLayouts/slideLayout316.xml"/><Relationship Id="rId305" Type="http://schemas.openxmlformats.org/officeDocument/2006/relationships/slideLayout" Target="../slideLayouts/slideLayout330.xml"/><Relationship Id="rId44" Type="http://schemas.openxmlformats.org/officeDocument/2006/relationships/slideLayout" Target="../slideLayouts/slideLayout69.xml"/><Relationship Id="rId86" Type="http://schemas.openxmlformats.org/officeDocument/2006/relationships/slideLayout" Target="../slideLayouts/slideLayout111.xml"/><Relationship Id="rId151" Type="http://schemas.openxmlformats.org/officeDocument/2006/relationships/slideLayout" Target="../slideLayouts/slideLayout17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4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342.xml"/><Relationship Id="rId1" Type="http://schemas.openxmlformats.org/officeDocument/2006/relationships/slideLayout" Target="../slideLayouts/slideLayout341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34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344.xml"/><Relationship Id="rId9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3.xml"/><Relationship Id="rId3" Type="http://schemas.openxmlformats.org/officeDocument/2006/relationships/slideLayout" Target="../slideLayouts/slideLayout348.xml"/><Relationship Id="rId7" Type="http://schemas.openxmlformats.org/officeDocument/2006/relationships/slideLayout" Target="../slideLayouts/slideLayout352.xml"/><Relationship Id="rId2" Type="http://schemas.openxmlformats.org/officeDocument/2006/relationships/slideLayout" Target="../slideLayouts/slideLayout347.xml"/><Relationship Id="rId1" Type="http://schemas.openxmlformats.org/officeDocument/2006/relationships/slideLayout" Target="../slideLayouts/slideLayout346.xml"/><Relationship Id="rId6" Type="http://schemas.openxmlformats.org/officeDocument/2006/relationships/slideLayout" Target="../slideLayouts/slideLayout351.xml"/><Relationship Id="rId5" Type="http://schemas.openxmlformats.org/officeDocument/2006/relationships/slideLayout" Target="../slideLayouts/slideLayout350.xml"/><Relationship Id="rId4" Type="http://schemas.openxmlformats.org/officeDocument/2006/relationships/slideLayout" Target="../slideLayouts/slideLayout349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1.xml"/><Relationship Id="rId13" Type="http://schemas.openxmlformats.org/officeDocument/2006/relationships/slideLayout" Target="../slideLayouts/slideLayout366.xml"/><Relationship Id="rId18" Type="http://schemas.openxmlformats.org/officeDocument/2006/relationships/slideLayout" Target="../slideLayouts/slideLayout371.xml"/><Relationship Id="rId3" Type="http://schemas.openxmlformats.org/officeDocument/2006/relationships/slideLayout" Target="../slideLayouts/slideLayout356.xml"/><Relationship Id="rId7" Type="http://schemas.openxmlformats.org/officeDocument/2006/relationships/slideLayout" Target="../slideLayouts/slideLayout360.xml"/><Relationship Id="rId12" Type="http://schemas.openxmlformats.org/officeDocument/2006/relationships/slideLayout" Target="../slideLayouts/slideLayout365.xml"/><Relationship Id="rId17" Type="http://schemas.openxmlformats.org/officeDocument/2006/relationships/slideLayout" Target="../slideLayouts/slideLayout370.xml"/><Relationship Id="rId2" Type="http://schemas.openxmlformats.org/officeDocument/2006/relationships/slideLayout" Target="../slideLayouts/slideLayout355.xml"/><Relationship Id="rId16" Type="http://schemas.openxmlformats.org/officeDocument/2006/relationships/slideLayout" Target="../slideLayouts/slideLayout369.xml"/><Relationship Id="rId20" Type="http://schemas.openxmlformats.org/officeDocument/2006/relationships/theme" Target="../theme/theme5.xml"/><Relationship Id="rId1" Type="http://schemas.openxmlformats.org/officeDocument/2006/relationships/slideLayout" Target="../slideLayouts/slideLayout354.xml"/><Relationship Id="rId6" Type="http://schemas.openxmlformats.org/officeDocument/2006/relationships/slideLayout" Target="../slideLayouts/slideLayout359.xml"/><Relationship Id="rId11" Type="http://schemas.openxmlformats.org/officeDocument/2006/relationships/slideLayout" Target="../slideLayouts/slideLayout364.xml"/><Relationship Id="rId5" Type="http://schemas.openxmlformats.org/officeDocument/2006/relationships/slideLayout" Target="../slideLayouts/slideLayout358.xml"/><Relationship Id="rId15" Type="http://schemas.openxmlformats.org/officeDocument/2006/relationships/slideLayout" Target="../slideLayouts/slideLayout368.xml"/><Relationship Id="rId10" Type="http://schemas.openxmlformats.org/officeDocument/2006/relationships/slideLayout" Target="../slideLayouts/slideLayout363.xml"/><Relationship Id="rId19" Type="http://schemas.openxmlformats.org/officeDocument/2006/relationships/slideLayout" Target="../slideLayouts/slideLayout372.xml"/><Relationship Id="rId4" Type="http://schemas.openxmlformats.org/officeDocument/2006/relationships/slideLayout" Target="../slideLayouts/slideLayout357.xml"/><Relationship Id="rId9" Type="http://schemas.openxmlformats.org/officeDocument/2006/relationships/slideLayout" Target="../slideLayouts/slideLayout362.xml"/><Relationship Id="rId14" Type="http://schemas.openxmlformats.org/officeDocument/2006/relationships/slideLayout" Target="../slideLayouts/slideLayout36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5C76849-9E3A-40C7-BA87-98DFC0CB98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94632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498" imgH="499" progId="TCLayout.ActiveDocument.1">
                  <p:embed/>
                </p:oleObj>
              </mc:Choice>
              <mc:Fallback>
                <p:oleObj name="think-cell Slide" r:id="rId28" imgW="498" imgH="49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5C76849-9E3A-40C7-BA87-98DFC0CB98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Placeholder 14">
            <a:extLst>
              <a:ext uri="{FF2B5EF4-FFF2-40B4-BE49-F238E27FC236}">
                <a16:creationId xmlns:a16="http://schemas.microsoft.com/office/drawing/2014/main" id="{0A61E0FB-E446-42A1-AA26-CD4AB9F0BD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914400"/>
            <a:ext cx="11277600" cy="68579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80492B9-1DAA-B1DF-9E27-3BFA94454297}"/>
              </a:ext>
            </a:extLst>
          </p:cNvPr>
          <p:cNvSpPr/>
          <p:nvPr userDrawn="1"/>
        </p:nvSpPr>
        <p:spPr>
          <a:xfrm>
            <a:off x="11239144" y="6572233"/>
            <a:ext cx="827785" cy="225767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en-AU" sz="867" b="1" i="0">
                <a:solidFill>
                  <a:schemeClr val="bg1">
                    <a:lumMod val="75000"/>
                  </a:schemeClr>
                </a:solidFill>
                <a:latin typeface="FS Elliot Pro Thin" panose="02000503030000020004" pitchFamily="50" charset="0"/>
              </a:rPr>
              <a:t>© Arcadis 2023 </a:t>
            </a:r>
          </a:p>
        </p:txBody>
      </p:sp>
      <p:pic>
        <p:nvPicPr>
          <p:cNvPr id="5" name="Picture 7">
            <a:extLst>
              <a:ext uri="{FF2B5EF4-FFF2-40B4-BE49-F238E27FC236}">
                <a16:creationId xmlns:a16="http://schemas.microsoft.com/office/drawing/2014/main" id="{84D643AE-C331-786B-19DF-7AA59F88B73E}"/>
              </a:ext>
            </a:extLst>
          </p:cNvPr>
          <p:cNvPicPr>
            <a:picLocks noChangeAspect="1"/>
          </p:cNvPicPr>
          <p:nvPr userDrawn="1"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6200" y="457200"/>
            <a:ext cx="1498600" cy="228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14001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74" r:id="rId1"/>
    <p:sldLayoutId id="2147484646" r:id="rId2"/>
    <p:sldLayoutId id="2147484648" r:id="rId3"/>
    <p:sldLayoutId id="2147484653" r:id="rId4"/>
    <p:sldLayoutId id="2147484657" r:id="rId5"/>
    <p:sldLayoutId id="2147484659" r:id="rId6"/>
    <p:sldLayoutId id="2147484661" r:id="rId7"/>
    <p:sldLayoutId id="2147484663" r:id="rId8"/>
    <p:sldLayoutId id="2147484664" r:id="rId9"/>
    <p:sldLayoutId id="2147484667" r:id="rId10"/>
    <p:sldLayoutId id="2147484683" r:id="rId11"/>
    <p:sldLayoutId id="2147484684" r:id="rId12"/>
    <p:sldLayoutId id="2147484685" r:id="rId13"/>
    <p:sldLayoutId id="2147484691" r:id="rId14"/>
    <p:sldLayoutId id="2147484695" r:id="rId15"/>
    <p:sldLayoutId id="2147484696" r:id="rId16"/>
    <p:sldLayoutId id="2147484702" r:id="rId17"/>
    <p:sldLayoutId id="2147484740" r:id="rId18"/>
    <p:sldLayoutId id="2147484751" r:id="rId19"/>
    <p:sldLayoutId id="2147485954" r:id="rId20"/>
    <p:sldLayoutId id="2147485955" r:id="rId21"/>
    <p:sldLayoutId id="2147486250" r:id="rId22"/>
    <p:sldLayoutId id="2147486252" r:id="rId23"/>
    <p:sldLayoutId id="2147486253" r:id="rId24"/>
    <p:sldLayoutId id="2147486254" r:id="rId25"/>
  </p:sldLayoutIdLst>
  <p:hf hdr="0"/>
  <p:txStyles>
    <p:titleStyle>
      <a:lvl1pPr algn="l" defTabSz="986912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86912" rtl="0" eaLnBrk="1" latinLnBrk="0" hangingPunct="1">
        <a:lnSpc>
          <a:spcPct val="90000"/>
        </a:lnSpc>
        <a:spcBef>
          <a:spcPts val="3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en-US" sz="1800" b="1" kern="1200" dirty="0" smtClean="0">
          <a:solidFill>
            <a:schemeClr val="accent1"/>
          </a:solidFill>
          <a:latin typeface="+mn-lt"/>
          <a:ea typeface="+mn-ea"/>
          <a:cs typeface="+mn-cs"/>
        </a:defRPr>
      </a:lvl1pPr>
      <a:lvl2pPr marL="270000" indent="-270000" algn="l" defTabSz="986912" rtl="0" eaLnBrk="1" latinLnBrk="0" hangingPunct="1">
        <a:lnSpc>
          <a:spcPct val="90000"/>
        </a:lnSpc>
        <a:spcBef>
          <a:spcPts val="60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270000" algn="l" defTabSz="986912" rtl="0" eaLnBrk="1" latinLnBrk="0" hangingPunct="1">
        <a:lnSpc>
          <a:spcPct val="90000"/>
        </a:lnSpc>
        <a:spcBef>
          <a:spcPts val="60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–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09625" indent="-266700" algn="l" defTabSz="986912" rtl="0" eaLnBrk="1" latinLnBrk="0" hangingPunct="1">
        <a:lnSpc>
          <a:spcPct val="90000"/>
        </a:lnSpc>
        <a:spcBef>
          <a:spcPts val="600"/>
        </a:spcBef>
        <a:spcAft>
          <a:spcPts val="1200"/>
        </a:spcAft>
        <a:buClr>
          <a:schemeClr val="accent1"/>
        </a:buClr>
        <a:buFont typeface="Wingdings" panose="05000000000000000000" pitchFamily="2" charset="2"/>
        <a:buChar char="§"/>
        <a:tabLst>
          <a:tab pos="872115" algn="l"/>
        </a:tabLst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266700" algn="l" defTabSz="986912" rtl="0" eaLnBrk="1" latinLnBrk="0" hangingPunct="1">
        <a:lnSpc>
          <a:spcPct val="90000"/>
        </a:lnSpc>
        <a:spcBef>
          <a:spcPts val="60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714008" indent="-246728" algn="l" defTabSz="986912" rtl="0" eaLnBrk="1" latinLnBrk="0" hangingPunct="1">
        <a:lnSpc>
          <a:spcPct val="90000"/>
        </a:lnSpc>
        <a:spcBef>
          <a:spcPts val="540"/>
        </a:spcBef>
        <a:buFont typeface="Arial" panose="020B0604020202020204" pitchFamily="34" charset="0"/>
        <a:buChar char="•"/>
        <a:defRPr sz="1943" kern="1200">
          <a:solidFill>
            <a:schemeClr val="tx1"/>
          </a:solidFill>
          <a:latin typeface="+mn-lt"/>
          <a:ea typeface="+mn-ea"/>
          <a:cs typeface="+mn-cs"/>
        </a:defRPr>
      </a:lvl6pPr>
      <a:lvl7pPr marL="3207464" indent="-246728" algn="l" defTabSz="986912" rtl="0" eaLnBrk="1" latinLnBrk="0" hangingPunct="1">
        <a:lnSpc>
          <a:spcPct val="90000"/>
        </a:lnSpc>
        <a:spcBef>
          <a:spcPts val="540"/>
        </a:spcBef>
        <a:buFont typeface="Arial" panose="020B0604020202020204" pitchFamily="34" charset="0"/>
        <a:buChar char="•"/>
        <a:defRPr sz="1943" kern="1200">
          <a:solidFill>
            <a:schemeClr val="tx1"/>
          </a:solidFill>
          <a:latin typeface="+mn-lt"/>
          <a:ea typeface="+mn-ea"/>
          <a:cs typeface="+mn-cs"/>
        </a:defRPr>
      </a:lvl7pPr>
      <a:lvl8pPr marL="3700920" indent="-246728" algn="l" defTabSz="986912" rtl="0" eaLnBrk="1" latinLnBrk="0" hangingPunct="1">
        <a:lnSpc>
          <a:spcPct val="90000"/>
        </a:lnSpc>
        <a:spcBef>
          <a:spcPts val="540"/>
        </a:spcBef>
        <a:buFont typeface="Arial" panose="020B0604020202020204" pitchFamily="34" charset="0"/>
        <a:buChar char="•"/>
        <a:defRPr sz="1943" kern="1200">
          <a:solidFill>
            <a:schemeClr val="tx1"/>
          </a:solidFill>
          <a:latin typeface="+mn-lt"/>
          <a:ea typeface="+mn-ea"/>
          <a:cs typeface="+mn-cs"/>
        </a:defRPr>
      </a:lvl8pPr>
      <a:lvl9pPr marL="4194376" indent="-246728" algn="l" defTabSz="986912" rtl="0" eaLnBrk="1" latinLnBrk="0" hangingPunct="1">
        <a:lnSpc>
          <a:spcPct val="90000"/>
        </a:lnSpc>
        <a:spcBef>
          <a:spcPts val="540"/>
        </a:spcBef>
        <a:buFont typeface="Arial" panose="020B0604020202020204" pitchFamily="34" charset="0"/>
        <a:buChar char="•"/>
        <a:defRPr sz="194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869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1pPr>
      <a:lvl2pPr marL="493456" algn="l" defTabSz="9869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2pPr>
      <a:lvl3pPr marL="986912" algn="l" defTabSz="9869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3pPr>
      <a:lvl4pPr marL="1480368" algn="l" defTabSz="9869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4pPr>
      <a:lvl5pPr marL="1973824" algn="l" defTabSz="9869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5pPr>
      <a:lvl6pPr marL="2467280" algn="l" defTabSz="9869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6pPr>
      <a:lvl7pPr marL="2960736" algn="l" defTabSz="9869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7pPr>
      <a:lvl8pPr marL="3454192" algn="l" defTabSz="9869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8pPr>
      <a:lvl9pPr marL="3947648" algn="l" defTabSz="9869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8" orient="horz" pos="288">
          <p15:clr>
            <a:srgbClr val="F26B43"/>
          </p15:clr>
        </p15:guide>
        <p15:guide id="19" pos="288">
          <p15:clr>
            <a:srgbClr val="F26B43"/>
          </p15:clr>
        </p15:guide>
        <p15:guide id="20" orient="horz" pos="576">
          <p15:clr>
            <a:srgbClr val="F26B43"/>
          </p15:clr>
        </p15:guide>
        <p15:guide id="21" orient="horz" pos="4032">
          <p15:clr>
            <a:srgbClr val="F26B43"/>
          </p15:clr>
        </p15:guide>
        <p15:guide id="23" orient="horz" pos="432">
          <p15:clr>
            <a:srgbClr val="5ACBF0"/>
          </p15:clr>
        </p15:guide>
        <p15:guide id="24" orient="horz" pos="720">
          <p15:clr>
            <a:srgbClr val="5ACBF0"/>
          </p15:clr>
        </p15:guide>
        <p15:guide id="25" orient="horz" pos="864">
          <p15:clr>
            <a:srgbClr val="5ACBF0"/>
          </p15:clr>
        </p15:guide>
        <p15:guide id="26" orient="horz" pos="1008">
          <p15:clr>
            <a:srgbClr val="5ACBF0"/>
          </p15:clr>
        </p15:guide>
        <p15:guide id="27" orient="horz" pos="1152">
          <p15:clr>
            <a:srgbClr val="5ACBF0"/>
          </p15:clr>
        </p15:guide>
        <p15:guide id="28" orient="horz" pos="1296">
          <p15:clr>
            <a:srgbClr val="5ACBF0"/>
          </p15:clr>
        </p15:guide>
        <p15:guide id="30" orient="horz" pos="1584">
          <p15:clr>
            <a:srgbClr val="5ACBF0"/>
          </p15:clr>
        </p15:guide>
        <p15:guide id="31" orient="horz" pos="1728">
          <p15:clr>
            <a:srgbClr val="5ACBF0"/>
          </p15:clr>
        </p15:guide>
        <p15:guide id="32" orient="horz" pos="1872">
          <p15:clr>
            <a:srgbClr val="5ACBF0"/>
          </p15:clr>
        </p15:guide>
        <p15:guide id="33" orient="horz" pos="2016">
          <p15:clr>
            <a:srgbClr val="5ACBF0"/>
          </p15:clr>
        </p15:guide>
        <p15:guide id="34" orient="horz" pos="2160">
          <p15:clr>
            <a:srgbClr val="5ACBF0"/>
          </p15:clr>
        </p15:guide>
        <p15:guide id="35" orient="horz" pos="2304">
          <p15:clr>
            <a:srgbClr val="5ACBF0"/>
          </p15:clr>
        </p15:guide>
        <p15:guide id="36" orient="horz" pos="2448">
          <p15:clr>
            <a:srgbClr val="5ACBF0"/>
          </p15:clr>
        </p15:guide>
        <p15:guide id="37" orient="horz" pos="2592">
          <p15:clr>
            <a:srgbClr val="5ACBF0"/>
          </p15:clr>
        </p15:guide>
        <p15:guide id="38" orient="horz" pos="2736">
          <p15:clr>
            <a:srgbClr val="5ACBF0"/>
          </p15:clr>
        </p15:guide>
        <p15:guide id="39" orient="horz" pos="2880">
          <p15:clr>
            <a:srgbClr val="5ACBF0"/>
          </p15:clr>
        </p15:guide>
        <p15:guide id="40" orient="horz" pos="3024">
          <p15:clr>
            <a:srgbClr val="5ACBF0"/>
          </p15:clr>
        </p15:guide>
        <p15:guide id="41" orient="horz" pos="3168">
          <p15:clr>
            <a:srgbClr val="5ACBF0"/>
          </p15:clr>
        </p15:guide>
        <p15:guide id="42" orient="horz" pos="3312">
          <p15:clr>
            <a:srgbClr val="5ACBF0"/>
          </p15:clr>
        </p15:guide>
        <p15:guide id="43" orient="horz" pos="3456">
          <p15:clr>
            <a:srgbClr val="5ACBF0"/>
          </p15:clr>
        </p15:guide>
        <p15:guide id="44" orient="horz" pos="3600">
          <p15:clr>
            <a:srgbClr val="5ACBF0"/>
          </p15:clr>
        </p15:guide>
        <p15:guide id="45" orient="horz" pos="3744">
          <p15:clr>
            <a:srgbClr val="5ACBF0"/>
          </p15:clr>
        </p15:guide>
        <p15:guide id="46" orient="horz" pos="3888">
          <p15:clr>
            <a:srgbClr val="5ACBF0"/>
          </p15:clr>
        </p15:guide>
        <p15:guide id="47" orient="horz" pos="4176">
          <p15:clr>
            <a:srgbClr val="5ACBF0"/>
          </p15:clr>
        </p15:guide>
        <p15:guide id="48" pos="744">
          <p15:clr>
            <a:srgbClr val="C35EA4"/>
          </p15:clr>
        </p15:guide>
        <p15:guide id="49" pos="888">
          <p15:clr>
            <a:srgbClr val="C35EA4"/>
          </p15:clr>
        </p15:guide>
        <p15:guide id="50" pos="1344">
          <p15:clr>
            <a:srgbClr val="C35EA4"/>
          </p15:clr>
        </p15:guide>
        <p15:guide id="51" pos="1488">
          <p15:clr>
            <a:srgbClr val="C35EA4"/>
          </p15:clr>
        </p15:guide>
        <p15:guide id="52" pos="1944">
          <p15:clr>
            <a:srgbClr val="C35EA4"/>
          </p15:clr>
        </p15:guide>
        <p15:guide id="53" pos="2088">
          <p15:clr>
            <a:srgbClr val="C35EA4"/>
          </p15:clr>
        </p15:guide>
        <p15:guide id="54" pos="2544">
          <p15:clr>
            <a:srgbClr val="C35EA4"/>
          </p15:clr>
        </p15:guide>
        <p15:guide id="55" pos="2688">
          <p15:clr>
            <a:srgbClr val="C35EA4"/>
          </p15:clr>
        </p15:guide>
        <p15:guide id="56" pos="3168">
          <p15:clr>
            <a:srgbClr val="C35EA4"/>
          </p15:clr>
        </p15:guide>
        <p15:guide id="57" pos="3312">
          <p15:clr>
            <a:srgbClr val="C35EA4"/>
          </p15:clr>
        </p15:guide>
        <p15:guide id="58" pos="3768">
          <p15:clr>
            <a:srgbClr val="F26B43"/>
          </p15:clr>
        </p15:guide>
        <p15:guide id="59" pos="3912">
          <p15:clr>
            <a:srgbClr val="F26B43"/>
          </p15:clr>
        </p15:guide>
        <p15:guide id="60" pos="4368">
          <p15:clr>
            <a:srgbClr val="C35EA4"/>
          </p15:clr>
        </p15:guide>
        <p15:guide id="61" pos="4512">
          <p15:clr>
            <a:srgbClr val="C35EA4"/>
          </p15:clr>
        </p15:guide>
        <p15:guide id="62" pos="4968">
          <p15:clr>
            <a:srgbClr val="C35EA4"/>
          </p15:clr>
        </p15:guide>
        <p15:guide id="63" pos="5112">
          <p15:clr>
            <a:srgbClr val="C35EA4"/>
          </p15:clr>
        </p15:guide>
        <p15:guide id="64" pos="5568">
          <p15:clr>
            <a:srgbClr val="C35EA4"/>
          </p15:clr>
        </p15:guide>
        <p15:guide id="65" pos="5712">
          <p15:clr>
            <a:srgbClr val="C35EA4"/>
          </p15:clr>
        </p15:guide>
        <p15:guide id="66" pos="6168">
          <p15:clr>
            <a:srgbClr val="C35EA4"/>
          </p15:clr>
        </p15:guide>
        <p15:guide id="67" pos="6312">
          <p15:clr>
            <a:srgbClr val="C35EA4"/>
          </p15:clr>
        </p15:guide>
        <p15:guide id="68" pos="6792">
          <p15:clr>
            <a:srgbClr val="C35EA4"/>
          </p15:clr>
        </p15:guide>
        <p15:guide id="69" pos="6936">
          <p15:clr>
            <a:srgbClr val="C35EA4"/>
          </p15:clr>
        </p15:guide>
        <p15:guide id="70" pos="7392">
          <p15:clr>
            <a:srgbClr val="F26B43"/>
          </p15:clr>
        </p15:guide>
        <p15:guide id="71" orient="horz" pos="144">
          <p15:clr>
            <a:srgbClr val="5ACBF0"/>
          </p15:clr>
        </p15:guide>
        <p15:guide id="72" orient="horz" pos="1434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93314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61" r:id="rId1"/>
    <p:sldLayoutId id="2147486362" r:id="rId2"/>
    <p:sldLayoutId id="2147486363" r:id="rId3"/>
    <p:sldLayoutId id="2147486364" r:id="rId4"/>
    <p:sldLayoutId id="2147486365" r:id="rId5"/>
    <p:sldLayoutId id="2147486366" r:id="rId6"/>
    <p:sldLayoutId id="2147486367" r:id="rId7"/>
    <p:sldLayoutId id="2147486368" r:id="rId8"/>
    <p:sldLayoutId id="2147486370" r:id="rId9"/>
    <p:sldLayoutId id="2147486371" r:id="rId10"/>
    <p:sldLayoutId id="2147486372" r:id="rId11"/>
    <p:sldLayoutId id="2147486373" r:id="rId12"/>
    <p:sldLayoutId id="2147486374" r:id="rId13"/>
    <p:sldLayoutId id="2147486375" r:id="rId14"/>
    <p:sldLayoutId id="2147486376" r:id="rId15"/>
    <p:sldLayoutId id="2147486377" r:id="rId16"/>
    <p:sldLayoutId id="2147486378" r:id="rId17"/>
    <p:sldLayoutId id="2147486379" r:id="rId18"/>
    <p:sldLayoutId id="2147486380" r:id="rId19"/>
    <p:sldLayoutId id="2147486381" r:id="rId20"/>
    <p:sldLayoutId id="2147486382" r:id="rId21"/>
    <p:sldLayoutId id="2147486383" r:id="rId22"/>
    <p:sldLayoutId id="2147486384" r:id="rId23"/>
    <p:sldLayoutId id="2147486385" r:id="rId24"/>
    <p:sldLayoutId id="2147486386" r:id="rId25"/>
    <p:sldLayoutId id="2147486387" r:id="rId26"/>
    <p:sldLayoutId id="2147486388" r:id="rId27"/>
    <p:sldLayoutId id="2147486389" r:id="rId28"/>
    <p:sldLayoutId id="2147486390" r:id="rId29"/>
    <p:sldLayoutId id="2147486391" r:id="rId30"/>
    <p:sldLayoutId id="2147486392" r:id="rId31"/>
    <p:sldLayoutId id="2147486393" r:id="rId32"/>
    <p:sldLayoutId id="2147486394" r:id="rId33"/>
    <p:sldLayoutId id="2147486395" r:id="rId34"/>
    <p:sldLayoutId id="2147486396" r:id="rId35"/>
    <p:sldLayoutId id="2147486397" r:id="rId36"/>
    <p:sldLayoutId id="2147486398" r:id="rId37"/>
    <p:sldLayoutId id="2147486399" r:id="rId38"/>
    <p:sldLayoutId id="2147486401" r:id="rId39"/>
    <p:sldLayoutId id="2147486402" r:id="rId40"/>
    <p:sldLayoutId id="2147486403" r:id="rId41"/>
    <p:sldLayoutId id="2147486404" r:id="rId42"/>
    <p:sldLayoutId id="2147486405" r:id="rId43"/>
    <p:sldLayoutId id="2147486406" r:id="rId44"/>
    <p:sldLayoutId id="2147486407" r:id="rId45"/>
    <p:sldLayoutId id="2147486408" r:id="rId46"/>
    <p:sldLayoutId id="2147486409" r:id="rId47"/>
    <p:sldLayoutId id="2147486410" r:id="rId48"/>
    <p:sldLayoutId id="2147486411" r:id="rId49"/>
    <p:sldLayoutId id="2147486412" r:id="rId50"/>
    <p:sldLayoutId id="2147486413" r:id="rId51"/>
    <p:sldLayoutId id="2147486414" r:id="rId52"/>
    <p:sldLayoutId id="2147486415" r:id="rId53"/>
    <p:sldLayoutId id="2147486416" r:id="rId54"/>
    <p:sldLayoutId id="2147486417" r:id="rId55"/>
    <p:sldLayoutId id="2147486418" r:id="rId56"/>
    <p:sldLayoutId id="2147486419" r:id="rId57"/>
    <p:sldLayoutId id="2147486420" r:id="rId58"/>
    <p:sldLayoutId id="2147486421" r:id="rId59"/>
    <p:sldLayoutId id="2147486422" r:id="rId60"/>
    <p:sldLayoutId id="2147486423" r:id="rId61"/>
    <p:sldLayoutId id="2147486424" r:id="rId62"/>
    <p:sldLayoutId id="2147486425" r:id="rId63"/>
    <p:sldLayoutId id="2147486426" r:id="rId64"/>
    <p:sldLayoutId id="2147486427" r:id="rId65"/>
    <p:sldLayoutId id="2147486428" r:id="rId66"/>
    <p:sldLayoutId id="2147486429" r:id="rId67"/>
    <p:sldLayoutId id="2147486430" r:id="rId68"/>
    <p:sldLayoutId id="2147486431" r:id="rId69"/>
    <p:sldLayoutId id="2147486432" r:id="rId70"/>
    <p:sldLayoutId id="2147486433" r:id="rId71"/>
    <p:sldLayoutId id="2147486434" r:id="rId72"/>
    <p:sldLayoutId id="2147486435" r:id="rId73"/>
    <p:sldLayoutId id="2147486436" r:id="rId74"/>
    <p:sldLayoutId id="2147486437" r:id="rId75"/>
    <p:sldLayoutId id="2147486438" r:id="rId76"/>
    <p:sldLayoutId id="2147486439" r:id="rId77"/>
    <p:sldLayoutId id="2147486440" r:id="rId78"/>
    <p:sldLayoutId id="2147486441" r:id="rId79"/>
    <p:sldLayoutId id="2147486442" r:id="rId80"/>
    <p:sldLayoutId id="2147486443" r:id="rId81"/>
    <p:sldLayoutId id="2147486444" r:id="rId82"/>
    <p:sldLayoutId id="2147486445" r:id="rId83"/>
    <p:sldLayoutId id="2147486446" r:id="rId84"/>
    <p:sldLayoutId id="2147486447" r:id="rId85"/>
    <p:sldLayoutId id="2147486448" r:id="rId86"/>
    <p:sldLayoutId id="2147486449" r:id="rId87"/>
    <p:sldLayoutId id="2147486450" r:id="rId88"/>
    <p:sldLayoutId id="2147486451" r:id="rId89"/>
    <p:sldLayoutId id="2147486452" r:id="rId90"/>
    <p:sldLayoutId id="2147486453" r:id="rId91"/>
    <p:sldLayoutId id="2147486454" r:id="rId92"/>
    <p:sldLayoutId id="2147486455" r:id="rId93"/>
    <p:sldLayoutId id="2147486456" r:id="rId94"/>
    <p:sldLayoutId id="2147486457" r:id="rId95"/>
    <p:sldLayoutId id="2147486458" r:id="rId96"/>
    <p:sldLayoutId id="2147486459" r:id="rId97"/>
    <p:sldLayoutId id="2147486460" r:id="rId98"/>
    <p:sldLayoutId id="2147486461" r:id="rId99"/>
    <p:sldLayoutId id="2147486462" r:id="rId100"/>
    <p:sldLayoutId id="2147486463" r:id="rId101"/>
    <p:sldLayoutId id="2147486464" r:id="rId102"/>
    <p:sldLayoutId id="2147486465" r:id="rId103"/>
    <p:sldLayoutId id="2147486466" r:id="rId104"/>
    <p:sldLayoutId id="2147486467" r:id="rId105"/>
    <p:sldLayoutId id="2147486468" r:id="rId106"/>
    <p:sldLayoutId id="2147486469" r:id="rId107"/>
    <p:sldLayoutId id="2147486470" r:id="rId108"/>
    <p:sldLayoutId id="2147486471" r:id="rId109"/>
    <p:sldLayoutId id="2147486472" r:id="rId110"/>
    <p:sldLayoutId id="2147486473" r:id="rId111"/>
    <p:sldLayoutId id="2147486474" r:id="rId112"/>
    <p:sldLayoutId id="2147486475" r:id="rId113"/>
    <p:sldLayoutId id="2147486476" r:id="rId114"/>
    <p:sldLayoutId id="2147486477" r:id="rId115"/>
    <p:sldLayoutId id="2147486478" r:id="rId116"/>
    <p:sldLayoutId id="2147486479" r:id="rId117"/>
    <p:sldLayoutId id="2147486480" r:id="rId118"/>
    <p:sldLayoutId id="2147486481" r:id="rId119"/>
    <p:sldLayoutId id="2147486482" r:id="rId120"/>
    <p:sldLayoutId id="2147486483" r:id="rId121"/>
    <p:sldLayoutId id="2147486484" r:id="rId122"/>
    <p:sldLayoutId id="2147486485" r:id="rId123"/>
    <p:sldLayoutId id="2147486486" r:id="rId124"/>
    <p:sldLayoutId id="2147486487" r:id="rId125"/>
    <p:sldLayoutId id="2147486488" r:id="rId126"/>
    <p:sldLayoutId id="2147486489" r:id="rId127"/>
    <p:sldLayoutId id="2147486490" r:id="rId128"/>
    <p:sldLayoutId id="2147486491" r:id="rId129"/>
    <p:sldLayoutId id="2147486492" r:id="rId130"/>
    <p:sldLayoutId id="2147486493" r:id="rId131"/>
    <p:sldLayoutId id="2147486494" r:id="rId132"/>
    <p:sldLayoutId id="2147486495" r:id="rId133"/>
    <p:sldLayoutId id="2147486496" r:id="rId134"/>
    <p:sldLayoutId id="2147486497" r:id="rId135"/>
    <p:sldLayoutId id="2147486498" r:id="rId136"/>
    <p:sldLayoutId id="2147486499" r:id="rId137"/>
    <p:sldLayoutId id="2147486500" r:id="rId138"/>
    <p:sldLayoutId id="2147486501" r:id="rId139"/>
    <p:sldLayoutId id="2147486502" r:id="rId140"/>
    <p:sldLayoutId id="2147486503" r:id="rId141"/>
    <p:sldLayoutId id="2147486504" r:id="rId142"/>
    <p:sldLayoutId id="2147486505" r:id="rId143"/>
    <p:sldLayoutId id="2147486506" r:id="rId144"/>
    <p:sldLayoutId id="2147486507" r:id="rId145"/>
    <p:sldLayoutId id="2147486508" r:id="rId146"/>
    <p:sldLayoutId id="2147486509" r:id="rId147"/>
    <p:sldLayoutId id="2147486510" r:id="rId148"/>
    <p:sldLayoutId id="2147486511" r:id="rId149"/>
    <p:sldLayoutId id="2147486512" r:id="rId150"/>
    <p:sldLayoutId id="2147486513" r:id="rId151"/>
    <p:sldLayoutId id="2147486514" r:id="rId152"/>
    <p:sldLayoutId id="2147486515" r:id="rId153"/>
    <p:sldLayoutId id="2147486516" r:id="rId154"/>
    <p:sldLayoutId id="2147486517" r:id="rId155"/>
    <p:sldLayoutId id="2147486518" r:id="rId156"/>
    <p:sldLayoutId id="2147486519" r:id="rId157"/>
    <p:sldLayoutId id="2147486520" r:id="rId158"/>
    <p:sldLayoutId id="2147486521" r:id="rId159"/>
    <p:sldLayoutId id="2147486522" r:id="rId160"/>
    <p:sldLayoutId id="2147486523" r:id="rId161"/>
    <p:sldLayoutId id="2147486524" r:id="rId162"/>
    <p:sldLayoutId id="2147486525" r:id="rId163"/>
    <p:sldLayoutId id="2147486526" r:id="rId164"/>
    <p:sldLayoutId id="2147486527" r:id="rId165"/>
    <p:sldLayoutId id="2147486528" r:id="rId166"/>
    <p:sldLayoutId id="2147486529" r:id="rId167"/>
    <p:sldLayoutId id="2147486530" r:id="rId168"/>
    <p:sldLayoutId id="2147486531" r:id="rId169"/>
    <p:sldLayoutId id="2147486532" r:id="rId170"/>
    <p:sldLayoutId id="2147486533" r:id="rId171"/>
    <p:sldLayoutId id="2147486534" r:id="rId172"/>
    <p:sldLayoutId id="2147486535" r:id="rId173"/>
    <p:sldLayoutId id="2147486536" r:id="rId174"/>
    <p:sldLayoutId id="2147486537" r:id="rId175"/>
    <p:sldLayoutId id="2147486538" r:id="rId176"/>
    <p:sldLayoutId id="2147486539" r:id="rId177"/>
    <p:sldLayoutId id="2147486540" r:id="rId178"/>
    <p:sldLayoutId id="2147486541" r:id="rId179"/>
    <p:sldLayoutId id="2147486542" r:id="rId180"/>
    <p:sldLayoutId id="2147486543" r:id="rId181"/>
    <p:sldLayoutId id="2147486544" r:id="rId182"/>
    <p:sldLayoutId id="2147486545" r:id="rId183"/>
    <p:sldLayoutId id="2147486546" r:id="rId184"/>
    <p:sldLayoutId id="2147486547" r:id="rId185"/>
    <p:sldLayoutId id="2147486548" r:id="rId186"/>
    <p:sldLayoutId id="2147486549" r:id="rId187"/>
    <p:sldLayoutId id="2147486550" r:id="rId188"/>
    <p:sldLayoutId id="2147486551" r:id="rId189"/>
    <p:sldLayoutId id="2147486552" r:id="rId190"/>
    <p:sldLayoutId id="2147486553" r:id="rId191"/>
    <p:sldLayoutId id="2147486554" r:id="rId192"/>
    <p:sldLayoutId id="2147486555" r:id="rId193"/>
    <p:sldLayoutId id="2147486556" r:id="rId194"/>
    <p:sldLayoutId id="2147486557" r:id="rId195"/>
    <p:sldLayoutId id="2147486558" r:id="rId196"/>
    <p:sldLayoutId id="2147486559" r:id="rId197"/>
    <p:sldLayoutId id="2147486560" r:id="rId198"/>
    <p:sldLayoutId id="2147486561" r:id="rId199"/>
    <p:sldLayoutId id="2147486562" r:id="rId200"/>
    <p:sldLayoutId id="2147486563" r:id="rId201"/>
    <p:sldLayoutId id="2147486564" r:id="rId202"/>
    <p:sldLayoutId id="2147486565" r:id="rId203"/>
    <p:sldLayoutId id="2147486566" r:id="rId204"/>
    <p:sldLayoutId id="2147486567" r:id="rId205"/>
    <p:sldLayoutId id="2147486568" r:id="rId206"/>
    <p:sldLayoutId id="2147486569" r:id="rId207"/>
    <p:sldLayoutId id="2147486570" r:id="rId208"/>
    <p:sldLayoutId id="2147486571" r:id="rId209"/>
    <p:sldLayoutId id="2147486572" r:id="rId210"/>
    <p:sldLayoutId id="2147486573" r:id="rId211"/>
    <p:sldLayoutId id="2147486574" r:id="rId212"/>
    <p:sldLayoutId id="2147486575" r:id="rId213"/>
    <p:sldLayoutId id="2147486576" r:id="rId214"/>
    <p:sldLayoutId id="2147486577" r:id="rId215"/>
    <p:sldLayoutId id="2147486578" r:id="rId216"/>
    <p:sldLayoutId id="2147486579" r:id="rId217"/>
    <p:sldLayoutId id="2147486580" r:id="rId218"/>
    <p:sldLayoutId id="2147486581" r:id="rId219"/>
    <p:sldLayoutId id="2147486582" r:id="rId220"/>
    <p:sldLayoutId id="2147486583" r:id="rId221"/>
    <p:sldLayoutId id="2147486584" r:id="rId222"/>
    <p:sldLayoutId id="2147486585" r:id="rId223"/>
    <p:sldLayoutId id="2147486586" r:id="rId224"/>
    <p:sldLayoutId id="2147486587" r:id="rId225"/>
    <p:sldLayoutId id="2147486588" r:id="rId226"/>
    <p:sldLayoutId id="2147486589" r:id="rId227"/>
    <p:sldLayoutId id="2147486590" r:id="rId228"/>
    <p:sldLayoutId id="2147486595" r:id="rId229"/>
    <p:sldLayoutId id="2147486598" r:id="rId230"/>
    <p:sldLayoutId id="2147486599" r:id="rId231"/>
    <p:sldLayoutId id="2147486600" r:id="rId232"/>
    <p:sldLayoutId id="2147486601" r:id="rId233"/>
    <p:sldLayoutId id="2147486602" r:id="rId234"/>
    <p:sldLayoutId id="2147486603" r:id="rId235"/>
    <p:sldLayoutId id="2147486604" r:id="rId236"/>
    <p:sldLayoutId id="2147486605" r:id="rId237"/>
    <p:sldLayoutId id="2147486606" r:id="rId238"/>
    <p:sldLayoutId id="2147486607" r:id="rId239"/>
    <p:sldLayoutId id="2147486608" r:id="rId240"/>
    <p:sldLayoutId id="2147486609" r:id="rId241"/>
    <p:sldLayoutId id="2147486610" r:id="rId242"/>
    <p:sldLayoutId id="2147486611" r:id="rId243"/>
    <p:sldLayoutId id="2147486612" r:id="rId244"/>
    <p:sldLayoutId id="2147486613" r:id="rId245"/>
    <p:sldLayoutId id="2147486614" r:id="rId246"/>
    <p:sldLayoutId id="2147486615" r:id="rId247"/>
    <p:sldLayoutId id="2147486616" r:id="rId248"/>
    <p:sldLayoutId id="2147486617" r:id="rId249"/>
    <p:sldLayoutId id="2147486618" r:id="rId250"/>
    <p:sldLayoutId id="2147486619" r:id="rId251"/>
    <p:sldLayoutId id="2147486620" r:id="rId252"/>
    <p:sldLayoutId id="2147486621" r:id="rId253"/>
    <p:sldLayoutId id="2147486622" r:id="rId254"/>
    <p:sldLayoutId id="2147486623" r:id="rId255"/>
    <p:sldLayoutId id="2147486624" r:id="rId256"/>
    <p:sldLayoutId id="2147486625" r:id="rId257"/>
    <p:sldLayoutId id="2147486626" r:id="rId258"/>
    <p:sldLayoutId id="2147486627" r:id="rId259"/>
    <p:sldLayoutId id="2147486628" r:id="rId260"/>
    <p:sldLayoutId id="2147486629" r:id="rId261"/>
    <p:sldLayoutId id="2147486630" r:id="rId262"/>
    <p:sldLayoutId id="2147486631" r:id="rId263"/>
    <p:sldLayoutId id="2147486632" r:id="rId264"/>
    <p:sldLayoutId id="2147486633" r:id="rId265"/>
    <p:sldLayoutId id="2147486634" r:id="rId266"/>
    <p:sldLayoutId id="2147486635" r:id="rId267"/>
    <p:sldLayoutId id="2147486636" r:id="rId268"/>
    <p:sldLayoutId id="2147486637" r:id="rId269"/>
    <p:sldLayoutId id="2147486638" r:id="rId270"/>
    <p:sldLayoutId id="2147486639" r:id="rId271"/>
    <p:sldLayoutId id="2147486640" r:id="rId272"/>
    <p:sldLayoutId id="2147486641" r:id="rId273"/>
    <p:sldLayoutId id="2147486642" r:id="rId274"/>
    <p:sldLayoutId id="2147486643" r:id="rId275"/>
    <p:sldLayoutId id="2147486644" r:id="rId276"/>
    <p:sldLayoutId id="2147486645" r:id="rId277"/>
    <p:sldLayoutId id="2147486646" r:id="rId278"/>
    <p:sldLayoutId id="2147486647" r:id="rId279"/>
    <p:sldLayoutId id="2147486648" r:id="rId280"/>
    <p:sldLayoutId id="2147486649" r:id="rId281"/>
    <p:sldLayoutId id="2147486650" r:id="rId282"/>
    <p:sldLayoutId id="2147486651" r:id="rId283"/>
    <p:sldLayoutId id="2147486652" r:id="rId284"/>
    <p:sldLayoutId id="2147486654" r:id="rId285"/>
    <p:sldLayoutId id="2147486656" r:id="rId286"/>
    <p:sldLayoutId id="2147486657" r:id="rId287"/>
    <p:sldLayoutId id="2147486658" r:id="rId288"/>
    <p:sldLayoutId id="2147486659" r:id="rId289"/>
    <p:sldLayoutId id="2147486660" r:id="rId290"/>
    <p:sldLayoutId id="2147486661" r:id="rId291"/>
    <p:sldLayoutId id="2147486662" r:id="rId292"/>
    <p:sldLayoutId id="2147486663" r:id="rId293"/>
    <p:sldLayoutId id="2147486664" r:id="rId294"/>
    <p:sldLayoutId id="2147486665" r:id="rId295"/>
    <p:sldLayoutId id="2147486666" r:id="rId296"/>
    <p:sldLayoutId id="2147486667" r:id="rId297"/>
    <p:sldLayoutId id="2147486668" r:id="rId298"/>
    <p:sldLayoutId id="2147486669" r:id="rId299"/>
    <p:sldLayoutId id="2147486670" r:id="rId300"/>
    <p:sldLayoutId id="2147486671" r:id="rId301"/>
    <p:sldLayoutId id="2147486672" r:id="rId302"/>
    <p:sldLayoutId id="2147486673" r:id="rId303"/>
    <p:sldLayoutId id="2147486674" r:id="rId304"/>
    <p:sldLayoutId id="2147486675" r:id="rId305"/>
    <p:sldLayoutId id="2147486676" r:id="rId306"/>
    <p:sldLayoutId id="2147486677" r:id="rId307"/>
    <p:sldLayoutId id="2147486678" r:id="rId308"/>
    <p:sldLayoutId id="2147486679" r:id="rId309"/>
    <p:sldLayoutId id="2147486680" r:id="rId310"/>
    <p:sldLayoutId id="2147486681" r:id="rId311"/>
    <p:sldLayoutId id="2147486682" r:id="rId312"/>
    <p:sldLayoutId id="2147486740" r:id="rId313"/>
    <p:sldLayoutId id="2147486743" r:id="rId314"/>
    <p:sldLayoutId id="2147486744" r:id="rId315"/>
  </p:sldLayoutIdLst>
  <p:txStyles>
    <p:titleStyle>
      <a:lvl1pPr algn="l" defTabSz="912051" rtl="0" eaLnBrk="1" latinLnBrk="0" hangingPunct="1">
        <a:lnSpc>
          <a:spcPct val="90000"/>
        </a:lnSpc>
        <a:spcBef>
          <a:spcPct val="0"/>
        </a:spcBef>
        <a:buNone/>
        <a:defRPr sz="438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013" indent="-228013" algn="l" defTabSz="912051" rtl="0" eaLnBrk="1" latinLnBrk="0" hangingPunct="1">
        <a:lnSpc>
          <a:spcPct val="90000"/>
        </a:lnSpc>
        <a:spcBef>
          <a:spcPts val="997"/>
        </a:spcBef>
        <a:buFont typeface="Arial" panose="020B0604020202020204" pitchFamily="34" charset="0"/>
        <a:buChar char="•"/>
        <a:defRPr sz="2792" kern="1200">
          <a:solidFill>
            <a:schemeClr val="tx1"/>
          </a:solidFill>
          <a:latin typeface="+mn-lt"/>
          <a:ea typeface="+mn-ea"/>
          <a:cs typeface="+mn-cs"/>
        </a:defRPr>
      </a:lvl1pPr>
      <a:lvl2pPr marL="684038" indent="-228013" algn="l" defTabSz="912051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2394" kern="1200">
          <a:solidFill>
            <a:schemeClr val="tx1"/>
          </a:solidFill>
          <a:latin typeface="+mn-lt"/>
          <a:ea typeface="+mn-ea"/>
          <a:cs typeface="+mn-cs"/>
        </a:defRPr>
      </a:lvl2pPr>
      <a:lvl3pPr marL="1140064" indent="-228013" algn="l" defTabSz="912051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995" kern="1200">
          <a:solidFill>
            <a:schemeClr val="tx1"/>
          </a:solidFill>
          <a:latin typeface="+mn-lt"/>
          <a:ea typeface="+mn-ea"/>
          <a:cs typeface="+mn-cs"/>
        </a:defRPr>
      </a:lvl3pPr>
      <a:lvl4pPr marL="1596089" indent="-228013" algn="l" defTabSz="912051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5" kern="1200">
          <a:solidFill>
            <a:schemeClr val="tx1"/>
          </a:solidFill>
          <a:latin typeface="+mn-lt"/>
          <a:ea typeface="+mn-ea"/>
          <a:cs typeface="+mn-cs"/>
        </a:defRPr>
      </a:lvl4pPr>
      <a:lvl5pPr marL="2052115" indent="-228013" algn="l" defTabSz="912051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5" kern="1200">
          <a:solidFill>
            <a:schemeClr val="tx1"/>
          </a:solidFill>
          <a:latin typeface="+mn-lt"/>
          <a:ea typeface="+mn-ea"/>
          <a:cs typeface="+mn-cs"/>
        </a:defRPr>
      </a:lvl5pPr>
      <a:lvl6pPr marL="2508141" indent="-228013" algn="l" defTabSz="912051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5" kern="1200">
          <a:solidFill>
            <a:schemeClr val="tx1"/>
          </a:solidFill>
          <a:latin typeface="+mn-lt"/>
          <a:ea typeface="+mn-ea"/>
          <a:cs typeface="+mn-cs"/>
        </a:defRPr>
      </a:lvl6pPr>
      <a:lvl7pPr marL="2964166" indent="-228013" algn="l" defTabSz="912051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5" kern="1200">
          <a:solidFill>
            <a:schemeClr val="tx1"/>
          </a:solidFill>
          <a:latin typeface="+mn-lt"/>
          <a:ea typeface="+mn-ea"/>
          <a:cs typeface="+mn-cs"/>
        </a:defRPr>
      </a:lvl7pPr>
      <a:lvl8pPr marL="3420193" indent="-228013" algn="l" defTabSz="912051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5" kern="1200">
          <a:solidFill>
            <a:schemeClr val="tx1"/>
          </a:solidFill>
          <a:latin typeface="+mn-lt"/>
          <a:ea typeface="+mn-ea"/>
          <a:cs typeface="+mn-cs"/>
        </a:defRPr>
      </a:lvl8pPr>
      <a:lvl9pPr marL="3876217" indent="-228013" algn="l" defTabSz="912051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2051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1pPr>
      <a:lvl2pPr marL="456026" algn="l" defTabSz="912051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2pPr>
      <a:lvl3pPr marL="912051" algn="l" defTabSz="912051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3pPr>
      <a:lvl4pPr marL="1368077" algn="l" defTabSz="912051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4pPr>
      <a:lvl5pPr marL="1824102" algn="l" defTabSz="912051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5pPr>
      <a:lvl6pPr marL="2280128" algn="l" defTabSz="912051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6pPr>
      <a:lvl7pPr marL="2736153" algn="l" defTabSz="912051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7pPr>
      <a:lvl8pPr marL="3192179" algn="l" defTabSz="912051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8pPr>
      <a:lvl9pPr marL="3648204" algn="l" defTabSz="912051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5C76849-9E3A-40C7-BA87-98DFC0CB98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94632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98" imgH="499" progId="TCLayout.ActiveDocument.1">
                  <p:embed/>
                </p:oleObj>
              </mc:Choice>
              <mc:Fallback>
                <p:oleObj name="think-cell Slide" r:id="rId8" imgW="498" imgH="49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5C76849-9E3A-40C7-BA87-98DFC0CB98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Placeholder 14">
            <a:extLst>
              <a:ext uri="{FF2B5EF4-FFF2-40B4-BE49-F238E27FC236}">
                <a16:creationId xmlns:a16="http://schemas.microsoft.com/office/drawing/2014/main" id="{0A61E0FB-E446-42A1-AA26-CD4AB9F0BD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914400"/>
            <a:ext cx="11277600" cy="68579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80492B9-1DAA-B1DF-9E27-3BFA94454297}"/>
              </a:ext>
            </a:extLst>
          </p:cNvPr>
          <p:cNvSpPr/>
          <p:nvPr userDrawn="1"/>
        </p:nvSpPr>
        <p:spPr>
          <a:xfrm>
            <a:off x="11239144" y="6572233"/>
            <a:ext cx="827785" cy="225767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en-AU" sz="867" b="1" i="0">
                <a:solidFill>
                  <a:schemeClr val="bg1">
                    <a:lumMod val="75000"/>
                  </a:schemeClr>
                </a:solidFill>
                <a:latin typeface="FS Elliot Pro Thin" panose="02000503030000020004" pitchFamily="50" charset="0"/>
              </a:rPr>
              <a:t>© Arcadis 2023 </a:t>
            </a:r>
          </a:p>
        </p:txBody>
      </p:sp>
      <p:pic>
        <p:nvPicPr>
          <p:cNvPr id="5" name="Picture 7">
            <a:extLst>
              <a:ext uri="{FF2B5EF4-FFF2-40B4-BE49-F238E27FC236}">
                <a16:creationId xmlns:a16="http://schemas.microsoft.com/office/drawing/2014/main" id="{84D643AE-C331-786B-19DF-7AA59F88B73E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6200" y="407504"/>
            <a:ext cx="1498600" cy="228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9450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95" r:id="rId1"/>
    <p:sldLayoutId id="2147486897" r:id="rId2"/>
    <p:sldLayoutId id="2147486898" r:id="rId3"/>
    <p:sldLayoutId id="2147486899" r:id="rId4"/>
    <p:sldLayoutId id="2147486901" r:id="rId5"/>
  </p:sldLayoutIdLst>
  <p:hf hdr="0"/>
  <p:txStyles>
    <p:titleStyle>
      <a:lvl1pPr algn="l" defTabSz="986912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86912" rtl="0" eaLnBrk="1" latinLnBrk="0" hangingPunct="1">
        <a:lnSpc>
          <a:spcPct val="90000"/>
        </a:lnSpc>
        <a:spcBef>
          <a:spcPts val="3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en-US" sz="1800" b="1" kern="1200" dirty="0" smtClean="0">
          <a:solidFill>
            <a:schemeClr val="accent1"/>
          </a:solidFill>
          <a:latin typeface="+mn-lt"/>
          <a:ea typeface="+mn-ea"/>
          <a:cs typeface="+mn-cs"/>
        </a:defRPr>
      </a:lvl1pPr>
      <a:lvl2pPr marL="270000" indent="-270000" algn="l" defTabSz="986912" rtl="0" eaLnBrk="1" latinLnBrk="0" hangingPunct="1">
        <a:lnSpc>
          <a:spcPct val="90000"/>
        </a:lnSpc>
        <a:spcBef>
          <a:spcPts val="60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270000" algn="l" defTabSz="986912" rtl="0" eaLnBrk="1" latinLnBrk="0" hangingPunct="1">
        <a:lnSpc>
          <a:spcPct val="90000"/>
        </a:lnSpc>
        <a:spcBef>
          <a:spcPts val="60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–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09625" indent="-266700" algn="l" defTabSz="986912" rtl="0" eaLnBrk="1" latinLnBrk="0" hangingPunct="1">
        <a:lnSpc>
          <a:spcPct val="90000"/>
        </a:lnSpc>
        <a:spcBef>
          <a:spcPts val="600"/>
        </a:spcBef>
        <a:spcAft>
          <a:spcPts val="1200"/>
        </a:spcAft>
        <a:buClr>
          <a:schemeClr val="accent1"/>
        </a:buClr>
        <a:buFont typeface="Wingdings" panose="05000000000000000000" pitchFamily="2" charset="2"/>
        <a:buChar char="§"/>
        <a:tabLst>
          <a:tab pos="872115" algn="l"/>
        </a:tabLst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266700" algn="l" defTabSz="986912" rtl="0" eaLnBrk="1" latinLnBrk="0" hangingPunct="1">
        <a:lnSpc>
          <a:spcPct val="90000"/>
        </a:lnSpc>
        <a:spcBef>
          <a:spcPts val="60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714008" indent="-246728" algn="l" defTabSz="986912" rtl="0" eaLnBrk="1" latinLnBrk="0" hangingPunct="1">
        <a:lnSpc>
          <a:spcPct val="90000"/>
        </a:lnSpc>
        <a:spcBef>
          <a:spcPts val="540"/>
        </a:spcBef>
        <a:buFont typeface="Arial" panose="020B0604020202020204" pitchFamily="34" charset="0"/>
        <a:buChar char="•"/>
        <a:defRPr sz="1943" kern="1200">
          <a:solidFill>
            <a:schemeClr val="tx1"/>
          </a:solidFill>
          <a:latin typeface="+mn-lt"/>
          <a:ea typeface="+mn-ea"/>
          <a:cs typeface="+mn-cs"/>
        </a:defRPr>
      </a:lvl6pPr>
      <a:lvl7pPr marL="3207464" indent="-246728" algn="l" defTabSz="986912" rtl="0" eaLnBrk="1" latinLnBrk="0" hangingPunct="1">
        <a:lnSpc>
          <a:spcPct val="90000"/>
        </a:lnSpc>
        <a:spcBef>
          <a:spcPts val="540"/>
        </a:spcBef>
        <a:buFont typeface="Arial" panose="020B0604020202020204" pitchFamily="34" charset="0"/>
        <a:buChar char="•"/>
        <a:defRPr sz="1943" kern="1200">
          <a:solidFill>
            <a:schemeClr val="tx1"/>
          </a:solidFill>
          <a:latin typeface="+mn-lt"/>
          <a:ea typeface="+mn-ea"/>
          <a:cs typeface="+mn-cs"/>
        </a:defRPr>
      </a:lvl7pPr>
      <a:lvl8pPr marL="3700920" indent="-246728" algn="l" defTabSz="986912" rtl="0" eaLnBrk="1" latinLnBrk="0" hangingPunct="1">
        <a:lnSpc>
          <a:spcPct val="90000"/>
        </a:lnSpc>
        <a:spcBef>
          <a:spcPts val="540"/>
        </a:spcBef>
        <a:buFont typeface="Arial" panose="020B0604020202020204" pitchFamily="34" charset="0"/>
        <a:buChar char="•"/>
        <a:defRPr sz="1943" kern="1200">
          <a:solidFill>
            <a:schemeClr val="tx1"/>
          </a:solidFill>
          <a:latin typeface="+mn-lt"/>
          <a:ea typeface="+mn-ea"/>
          <a:cs typeface="+mn-cs"/>
        </a:defRPr>
      </a:lvl8pPr>
      <a:lvl9pPr marL="4194376" indent="-246728" algn="l" defTabSz="986912" rtl="0" eaLnBrk="1" latinLnBrk="0" hangingPunct="1">
        <a:lnSpc>
          <a:spcPct val="90000"/>
        </a:lnSpc>
        <a:spcBef>
          <a:spcPts val="540"/>
        </a:spcBef>
        <a:buFont typeface="Arial" panose="020B0604020202020204" pitchFamily="34" charset="0"/>
        <a:buChar char="•"/>
        <a:defRPr sz="194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869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1pPr>
      <a:lvl2pPr marL="493456" algn="l" defTabSz="9869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2pPr>
      <a:lvl3pPr marL="986912" algn="l" defTabSz="9869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3pPr>
      <a:lvl4pPr marL="1480368" algn="l" defTabSz="9869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4pPr>
      <a:lvl5pPr marL="1973824" algn="l" defTabSz="9869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5pPr>
      <a:lvl6pPr marL="2467280" algn="l" defTabSz="9869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6pPr>
      <a:lvl7pPr marL="2960736" algn="l" defTabSz="9869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7pPr>
      <a:lvl8pPr marL="3454192" algn="l" defTabSz="9869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8pPr>
      <a:lvl9pPr marL="3947648" algn="l" defTabSz="9869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8" orient="horz" pos="288">
          <p15:clr>
            <a:srgbClr val="F26B43"/>
          </p15:clr>
        </p15:guide>
        <p15:guide id="19" pos="288">
          <p15:clr>
            <a:srgbClr val="F26B43"/>
          </p15:clr>
        </p15:guide>
        <p15:guide id="20" orient="horz" pos="576">
          <p15:clr>
            <a:srgbClr val="F26B43"/>
          </p15:clr>
        </p15:guide>
        <p15:guide id="21" orient="horz" pos="4032">
          <p15:clr>
            <a:srgbClr val="F26B43"/>
          </p15:clr>
        </p15:guide>
        <p15:guide id="23" orient="horz" pos="432">
          <p15:clr>
            <a:srgbClr val="5ACBF0"/>
          </p15:clr>
        </p15:guide>
        <p15:guide id="24" orient="horz" pos="720">
          <p15:clr>
            <a:srgbClr val="5ACBF0"/>
          </p15:clr>
        </p15:guide>
        <p15:guide id="25" orient="horz" pos="864">
          <p15:clr>
            <a:srgbClr val="5ACBF0"/>
          </p15:clr>
        </p15:guide>
        <p15:guide id="26" orient="horz" pos="1008">
          <p15:clr>
            <a:srgbClr val="5ACBF0"/>
          </p15:clr>
        </p15:guide>
        <p15:guide id="27" orient="horz" pos="1152">
          <p15:clr>
            <a:srgbClr val="5ACBF0"/>
          </p15:clr>
        </p15:guide>
        <p15:guide id="28" orient="horz" pos="1296">
          <p15:clr>
            <a:srgbClr val="5ACBF0"/>
          </p15:clr>
        </p15:guide>
        <p15:guide id="30" orient="horz" pos="1584">
          <p15:clr>
            <a:srgbClr val="5ACBF0"/>
          </p15:clr>
        </p15:guide>
        <p15:guide id="31" orient="horz" pos="1728">
          <p15:clr>
            <a:srgbClr val="5ACBF0"/>
          </p15:clr>
        </p15:guide>
        <p15:guide id="32" orient="horz" pos="1872">
          <p15:clr>
            <a:srgbClr val="5ACBF0"/>
          </p15:clr>
        </p15:guide>
        <p15:guide id="33" orient="horz" pos="2016">
          <p15:clr>
            <a:srgbClr val="5ACBF0"/>
          </p15:clr>
        </p15:guide>
        <p15:guide id="34" orient="horz" pos="2160">
          <p15:clr>
            <a:srgbClr val="5ACBF0"/>
          </p15:clr>
        </p15:guide>
        <p15:guide id="35" orient="horz" pos="2304">
          <p15:clr>
            <a:srgbClr val="5ACBF0"/>
          </p15:clr>
        </p15:guide>
        <p15:guide id="36" orient="horz" pos="2448">
          <p15:clr>
            <a:srgbClr val="5ACBF0"/>
          </p15:clr>
        </p15:guide>
        <p15:guide id="37" orient="horz" pos="2592">
          <p15:clr>
            <a:srgbClr val="5ACBF0"/>
          </p15:clr>
        </p15:guide>
        <p15:guide id="38" orient="horz" pos="2736">
          <p15:clr>
            <a:srgbClr val="5ACBF0"/>
          </p15:clr>
        </p15:guide>
        <p15:guide id="39" orient="horz" pos="2880">
          <p15:clr>
            <a:srgbClr val="5ACBF0"/>
          </p15:clr>
        </p15:guide>
        <p15:guide id="40" orient="horz" pos="3024">
          <p15:clr>
            <a:srgbClr val="5ACBF0"/>
          </p15:clr>
        </p15:guide>
        <p15:guide id="41" orient="horz" pos="3168">
          <p15:clr>
            <a:srgbClr val="5ACBF0"/>
          </p15:clr>
        </p15:guide>
        <p15:guide id="42" orient="horz" pos="3312">
          <p15:clr>
            <a:srgbClr val="5ACBF0"/>
          </p15:clr>
        </p15:guide>
        <p15:guide id="43" orient="horz" pos="3456">
          <p15:clr>
            <a:srgbClr val="5ACBF0"/>
          </p15:clr>
        </p15:guide>
        <p15:guide id="44" orient="horz" pos="3600">
          <p15:clr>
            <a:srgbClr val="5ACBF0"/>
          </p15:clr>
        </p15:guide>
        <p15:guide id="45" orient="horz" pos="3744">
          <p15:clr>
            <a:srgbClr val="5ACBF0"/>
          </p15:clr>
        </p15:guide>
        <p15:guide id="46" orient="horz" pos="3888">
          <p15:clr>
            <a:srgbClr val="5ACBF0"/>
          </p15:clr>
        </p15:guide>
        <p15:guide id="47" orient="horz" pos="4176">
          <p15:clr>
            <a:srgbClr val="5ACBF0"/>
          </p15:clr>
        </p15:guide>
        <p15:guide id="48" pos="744">
          <p15:clr>
            <a:srgbClr val="C35EA4"/>
          </p15:clr>
        </p15:guide>
        <p15:guide id="49" pos="888">
          <p15:clr>
            <a:srgbClr val="C35EA4"/>
          </p15:clr>
        </p15:guide>
        <p15:guide id="50" pos="1344">
          <p15:clr>
            <a:srgbClr val="C35EA4"/>
          </p15:clr>
        </p15:guide>
        <p15:guide id="51" pos="1488">
          <p15:clr>
            <a:srgbClr val="C35EA4"/>
          </p15:clr>
        </p15:guide>
        <p15:guide id="52" pos="1944">
          <p15:clr>
            <a:srgbClr val="C35EA4"/>
          </p15:clr>
        </p15:guide>
        <p15:guide id="53" pos="2088">
          <p15:clr>
            <a:srgbClr val="C35EA4"/>
          </p15:clr>
        </p15:guide>
        <p15:guide id="54" pos="2544">
          <p15:clr>
            <a:srgbClr val="C35EA4"/>
          </p15:clr>
        </p15:guide>
        <p15:guide id="55" pos="2688">
          <p15:clr>
            <a:srgbClr val="C35EA4"/>
          </p15:clr>
        </p15:guide>
        <p15:guide id="56" pos="3168">
          <p15:clr>
            <a:srgbClr val="C35EA4"/>
          </p15:clr>
        </p15:guide>
        <p15:guide id="57" pos="3312">
          <p15:clr>
            <a:srgbClr val="C35EA4"/>
          </p15:clr>
        </p15:guide>
        <p15:guide id="58" pos="3768">
          <p15:clr>
            <a:srgbClr val="F26B43"/>
          </p15:clr>
        </p15:guide>
        <p15:guide id="59" pos="3912">
          <p15:clr>
            <a:srgbClr val="F26B43"/>
          </p15:clr>
        </p15:guide>
        <p15:guide id="60" pos="4368">
          <p15:clr>
            <a:srgbClr val="C35EA4"/>
          </p15:clr>
        </p15:guide>
        <p15:guide id="61" pos="4512">
          <p15:clr>
            <a:srgbClr val="C35EA4"/>
          </p15:clr>
        </p15:guide>
        <p15:guide id="62" pos="4968">
          <p15:clr>
            <a:srgbClr val="C35EA4"/>
          </p15:clr>
        </p15:guide>
        <p15:guide id="63" pos="5112">
          <p15:clr>
            <a:srgbClr val="C35EA4"/>
          </p15:clr>
        </p15:guide>
        <p15:guide id="64" pos="5568">
          <p15:clr>
            <a:srgbClr val="C35EA4"/>
          </p15:clr>
        </p15:guide>
        <p15:guide id="65" pos="5712">
          <p15:clr>
            <a:srgbClr val="C35EA4"/>
          </p15:clr>
        </p15:guide>
        <p15:guide id="66" pos="6168">
          <p15:clr>
            <a:srgbClr val="C35EA4"/>
          </p15:clr>
        </p15:guide>
        <p15:guide id="67" pos="6312">
          <p15:clr>
            <a:srgbClr val="C35EA4"/>
          </p15:clr>
        </p15:guide>
        <p15:guide id="68" pos="6792">
          <p15:clr>
            <a:srgbClr val="C35EA4"/>
          </p15:clr>
        </p15:guide>
        <p15:guide id="69" pos="6936">
          <p15:clr>
            <a:srgbClr val="C35EA4"/>
          </p15:clr>
        </p15:guide>
        <p15:guide id="70" pos="7392">
          <p15:clr>
            <a:srgbClr val="F26B43"/>
          </p15:clr>
        </p15:guide>
        <p15:guide id="71" orient="horz" pos="144">
          <p15:clr>
            <a:srgbClr val="5ACBF0"/>
          </p15:clr>
        </p15:guide>
        <p15:guide id="72" orient="horz" pos="1434">
          <p15:clr>
            <a:srgbClr val="5ACBF0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52907" y="504408"/>
            <a:ext cx="8406441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FS Elliot Pro"/>
                <a:cs typeface="FS Elliot Pro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8834284" y="2338776"/>
            <a:ext cx="2687665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00" b="0" i="0">
                <a:solidFill>
                  <a:schemeClr val="bg1"/>
                </a:solidFill>
                <a:latin typeface="FS Elliot Pro"/>
                <a:cs typeface="FS Elliot Pro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2072640" y="6377940"/>
            <a:ext cx="19507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304801" y="6377940"/>
            <a:ext cx="140207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1D8BD707-D9CF-40AE-B4C6-C98DA3205C09}" type="datetimeFigureOut">
              <a:rPr lang="en-US" smtClean="0"/>
              <a:pPr/>
              <a:t>10/5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4389121" y="6377940"/>
            <a:ext cx="140207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5594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958" r:id="rId1"/>
    <p:sldLayoutId id="2147486959" r:id="rId2"/>
    <p:sldLayoutId id="2147486960" r:id="rId3"/>
    <p:sldLayoutId id="2147486961" r:id="rId4"/>
    <p:sldLayoutId id="2147486962" r:id="rId5"/>
    <p:sldLayoutId id="2147487071" r:id="rId6"/>
    <p:sldLayoutId id="2147487072" r:id="rId7"/>
    <p:sldLayoutId id="2147487074" r:id="rId8"/>
  </p:sldLayoutIdLst>
  <p:txStyles>
    <p:titleStyle>
      <a:lvl1pPr>
        <a:defRPr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>
        <a:defRPr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293202">
        <a:defRPr>
          <a:latin typeface="+mn-lt"/>
          <a:ea typeface="+mn-ea"/>
          <a:cs typeface="+mn-cs"/>
        </a:defRPr>
      </a:lvl2pPr>
      <a:lvl3pPr marL="586405">
        <a:defRPr>
          <a:latin typeface="+mn-lt"/>
          <a:ea typeface="+mn-ea"/>
          <a:cs typeface="+mn-cs"/>
        </a:defRPr>
      </a:lvl3pPr>
      <a:lvl4pPr marL="879607">
        <a:defRPr>
          <a:latin typeface="+mn-lt"/>
          <a:ea typeface="+mn-ea"/>
          <a:cs typeface="+mn-cs"/>
        </a:defRPr>
      </a:lvl4pPr>
      <a:lvl5pPr marL="1172809">
        <a:defRPr>
          <a:latin typeface="+mn-lt"/>
          <a:ea typeface="+mn-ea"/>
          <a:cs typeface="+mn-cs"/>
        </a:defRPr>
      </a:lvl5pPr>
      <a:lvl6pPr marL="1466012">
        <a:defRPr>
          <a:latin typeface="+mn-lt"/>
          <a:ea typeface="+mn-ea"/>
          <a:cs typeface="+mn-cs"/>
        </a:defRPr>
      </a:lvl6pPr>
      <a:lvl7pPr marL="1759214">
        <a:defRPr>
          <a:latin typeface="+mn-lt"/>
          <a:ea typeface="+mn-ea"/>
          <a:cs typeface="+mn-cs"/>
        </a:defRPr>
      </a:lvl7pPr>
      <a:lvl8pPr marL="2052417">
        <a:defRPr>
          <a:latin typeface="+mn-lt"/>
          <a:ea typeface="+mn-ea"/>
          <a:cs typeface="+mn-cs"/>
        </a:defRPr>
      </a:lvl8pPr>
      <a:lvl9pPr marL="234561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93202">
        <a:defRPr>
          <a:latin typeface="+mn-lt"/>
          <a:ea typeface="+mn-ea"/>
          <a:cs typeface="+mn-cs"/>
        </a:defRPr>
      </a:lvl2pPr>
      <a:lvl3pPr marL="586405">
        <a:defRPr>
          <a:latin typeface="+mn-lt"/>
          <a:ea typeface="+mn-ea"/>
          <a:cs typeface="+mn-cs"/>
        </a:defRPr>
      </a:lvl3pPr>
      <a:lvl4pPr marL="879607">
        <a:defRPr>
          <a:latin typeface="+mn-lt"/>
          <a:ea typeface="+mn-ea"/>
          <a:cs typeface="+mn-cs"/>
        </a:defRPr>
      </a:lvl4pPr>
      <a:lvl5pPr marL="1172809">
        <a:defRPr>
          <a:latin typeface="+mn-lt"/>
          <a:ea typeface="+mn-ea"/>
          <a:cs typeface="+mn-cs"/>
        </a:defRPr>
      </a:lvl5pPr>
      <a:lvl6pPr marL="1466012">
        <a:defRPr>
          <a:latin typeface="+mn-lt"/>
          <a:ea typeface="+mn-ea"/>
          <a:cs typeface="+mn-cs"/>
        </a:defRPr>
      </a:lvl6pPr>
      <a:lvl7pPr marL="1759214">
        <a:defRPr>
          <a:latin typeface="+mn-lt"/>
          <a:ea typeface="+mn-ea"/>
          <a:cs typeface="+mn-cs"/>
        </a:defRPr>
      </a:lvl7pPr>
      <a:lvl8pPr marL="2052417">
        <a:defRPr>
          <a:latin typeface="+mn-lt"/>
          <a:ea typeface="+mn-ea"/>
          <a:cs typeface="+mn-cs"/>
        </a:defRPr>
      </a:lvl8pPr>
      <a:lvl9pPr marL="2345619">
        <a:defRPr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E63455-A6A4-52EB-391B-2E02E5EB36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9635A0-CFD6-8F6C-A76E-879F409BEA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EC0358-35F9-DBC0-310B-A860948C7AB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9E6998-4F97-43B6-BBBD-13B639CB68CB}" type="datetimeFigureOut">
              <a:rPr lang="en-GB" smtClean="0"/>
              <a:t>05/10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5A067FC-BE96-6410-9374-9652B25383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0681A9-F18C-F2A4-6222-A90293EEDC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8BEEBA-8336-472A-B2C2-53CAB14DC1F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3948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052" r:id="rId1"/>
    <p:sldLayoutId id="2147487053" r:id="rId2"/>
    <p:sldLayoutId id="2147487054" r:id="rId3"/>
    <p:sldLayoutId id="2147487055" r:id="rId4"/>
    <p:sldLayoutId id="2147487056" r:id="rId5"/>
    <p:sldLayoutId id="2147487057" r:id="rId6"/>
    <p:sldLayoutId id="2147487058" r:id="rId7"/>
    <p:sldLayoutId id="2147487059" r:id="rId8"/>
    <p:sldLayoutId id="2147487060" r:id="rId9"/>
    <p:sldLayoutId id="2147487061" r:id="rId10"/>
    <p:sldLayoutId id="2147487062" r:id="rId11"/>
    <p:sldLayoutId id="2147487063" r:id="rId12"/>
    <p:sldLayoutId id="2147487064" r:id="rId13"/>
    <p:sldLayoutId id="2147487066" r:id="rId14"/>
    <p:sldLayoutId id="2147487067" r:id="rId15"/>
    <p:sldLayoutId id="2147487068" r:id="rId16"/>
    <p:sldLayoutId id="2147487069" r:id="rId17"/>
    <p:sldLayoutId id="2147487070" r:id="rId18"/>
    <p:sldLayoutId id="2147487073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35.png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34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jpg"/><Relationship Id="rId3" Type="http://schemas.openxmlformats.org/officeDocument/2006/relationships/image" Target="../media/image54.svg"/><Relationship Id="rId7" Type="http://schemas.openxmlformats.org/officeDocument/2006/relationships/image" Target="../media/image57.jp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56.jpeg"/><Relationship Id="rId5" Type="http://schemas.openxmlformats.org/officeDocument/2006/relationships/image" Target="../media/image55.png"/><Relationship Id="rId4" Type="http://schemas.openxmlformats.org/officeDocument/2006/relationships/image" Target="../media/image46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34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7" Type="http://schemas.openxmlformats.org/officeDocument/2006/relationships/image" Target="../media/image4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71.xml"/><Relationship Id="rId6" Type="http://schemas.openxmlformats.org/officeDocument/2006/relationships/image" Target="../media/image51.png"/><Relationship Id="rId5" Type="http://schemas.openxmlformats.org/officeDocument/2006/relationships/image" Target="../media/image50.jpeg"/><Relationship Id="rId4" Type="http://schemas.openxmlformats.org/officeDocument/2006/relationships/image" Target="../media/image49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46.jpe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9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34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368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3.xml"/><Relationship Id="rId3" Type="http://schemas.openxmlformats.org/officeDocument/2006/relationships/image" Target="../media/image60.png"/><Relationship Id="rId7" Type="http://schemas.openxmlformats.org/officeDocument/2006/relationships/diagramQuickStyle" Target="../diagrams/quickStyle3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72.xml"/><Relationship Id="rId6" Type="http://schemas.openxmlformats.org/officeDocument/2006/relationships/diagramLayout" Target="../diagrams/layout3.xml"/><Relationship Id="rId5" Type="http://schemas.openxmlformats.org/officeDocument/2006/relationships/diagramData" Target="../diagrams/data3.xml"/><Relationship Id="rId4" Type="http://schemas.openxmlformats.org/officeDocument/2006/relationships/image" Target="../media/image46.jpeg"/><Relationship Id="rId9" Type="http://schemas.microsoft.com/office/2007/relationships/diagramDrawing" Target="../diagrams/drawing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image" Target="../media/image61.jpe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34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19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6.xml"/><Relationship Id="rId3" Type="http://schemas.openxmlformats.org/officeDocument/2006/relationships/image" Target="../media/image68.png"/><Relationship Id="rId7" Type="http://schemas.openxmlformats.org/officeDocument/2006/relationships/diagramLayout" Target="../diagrams/layout6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51.xml"/><Relationship Id="rId6" Type="http://schemas.openxmlformats.org/officeDocument/2006/relationships/diagramData" Target="../diagrams/data6.xml"/><Relationship Id="rId5" Type="http://schemas.openxmlformats.org/officeDocument/2006/relationships/image" Target="../media/image46.jpeg"/><Relationship Id="rId10" Type="http://schemas.microsoft.com/office/2007/relationships/diagramDrawing" Target="../diagrams/drawing6.xml"/><Relationship Id="rId4" Type="http://schemas.microsoft.com/office/2007/relationships/hdphoto" Target="../media/hdphoto2.wdp"/><Relationship Id="rId9" Type="http://schemas.openxmlformats.org/officeDocument/2006/relationships/diagramColors" Target="../diagrams/colors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jpg"/><Relationship Id="rId1" Type="http://schemas.openxmlformats.org/officeDocument/2006/relationships/slideLayout" Target="../slideLayouts/slideLayout352.xml"/><Relationship Id="rId5" Type="http://schemas.openxmlformats.org/officeDocument/2006/relationships/image" Target="../media/image72.jpg"/><Relationship Id="rId4" Type="http://schemas.openxmlformats.org/officeDocument/2006/relationships/image" Target="../media/image71.jp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image" Target="../media/image39.svg"/><Relationship Id="rId7" Type="http://schemas.openxmlformats.org/officeDocument/2006/relationships/image" Target="../media/image43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353.xml"/><Relationship Id="rId6" Type="http://schemas.openxmlformats.org/officeDocument/2006/relationships/image" Target="../media/image42.png"/><Relationship Id="rId5" Type="http://schemas.openxmlformats.org/officeDocument/2006/relationships/image" Target="../media/image41.svg"/><Relationship Id="rId10" Type="http://schemas.openxmlformats.org/officeDocument/2006/relationships/image" Target="../media/image46.jpeg"/><Relationship Id="rId4" Type="http://schemas.openxmlformats.org/officeDocument/2006/relationships/image" Target="../media/image40.png"/><Relationship Id="rId9" Type="http://schemas.openxmlformats.org/officeDocument/2006/relationships/image" Target="../media/image45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34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6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46.jpe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34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7" Type="http://schemas.openxmlformats.org/officeDocument/2006/relationships/image" Target="../media/image4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71.xml"/><Relationship Id="rId6" Type="http://schemas.openxmlformats.org/officeDocument/2006/relationships/image" Target="../media/image51.png"/><Relationship Id="rId5" Type="http://schemas.openxmlformats.org/officeDocument/2006/relationships/image" Target="../media/image50.jpeg"/><Relationship Id="rId4" Type="http://schemas.openxmlformats.org/officeDocument/2006/relationships/image" Target="../media/image49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34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 descr="Imagen que contiene persona, interior, tabla, hombre&#10;&#10;Descripción generada automáticamente">
            <a:extLst>
              <a:ext uri="{FF2B5EF4-FFF2-40B4-BE49-F238E27FC236}">
                <a16:creationId xmlns:a16="http://schemas.microsoft.com/office/drawing/2014/main" id="{3A55417D-FB87-12B2-753D-8031A5DC6BA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9" descr="A picture containing text, clipart, gear&#10;&#10;Description automatically generated">
            <a:extLst>
              <a:ext uri="{FF2B5EF4-FFF2-40B4-BE49-F238E27FC236}">
                <a16:creationId xmlns:a16="http://schemas.microsoft.com/office/drawing/2014/main" id="{1A89A7A9-38D8-88C9-900B-6B638D640BB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4998" y="471465"/>
            <a:ext cx="2556000" cy="390564"/>
          </a:xfrm>
          <a:prstGeom prst="rect">
            <a:avLst/>
          </a:prstGeom>
        </p:spPr>
      </p:pic>
      <p:sp>
        <p:nvSpPr>
          <p:cNvPr id="5" name="Rectangle 3">
            <a:extLst>
              <a:ext uri="{FF2B5EF4-FFF2-40B4-BE49-F238E27FC236}">
                <a16:creationId xmlns:a16="http://schemas.microsoft.com/office/drawing/2014/main" id="{B7983057-96AB-AA69-AB76-9D6462D72B70}"/>
              </a:ext>
            </a:extLst>
          </p:cNvPr>
          <p:cNvSpPr/>
          <p:nvPr/>
        </p:nvSpPr>
        <p:spPr>
          <a:xfrm>
            <a:off x="11239145" y="6572232"/>
            <a:ext cx="827785" cy="200952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706" b="1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FS Elliot Pro Thin" panose="02000503030000020004" pitchFamily="50" charset="0"/>
                <a:ea typeface="+mn-ea"/>
                <a:cs typeface="+mn-cs"/>
              </a:rPr>
              <a:t>© Arcadis 2023 </a:t>
            </a:r>
          </a:p>
        </p:txBody>
      </p:sp>
      <p:sp>
        <p:nvSpPr>
          <p:cNvPr id="7" name="object 6">
            <a:extLst>
              <a:ext uri="{FF2B5EF4-FFF2-40B4-BE49-F238E27FC236}">
                <a16:creationId xmlns:a16="http://schemas.microsoft.com/office/drawing/2014/main" id="{41E89DF5-B8D7-F213-A696-36348E993A79}"/>
              </a:ext>
            </a:extLst>
          </p:cNvPr>
          <p:cNvSpPr/>
          <p:nvPr/>
        </p:nvSpPr>
        <p:spPr>
          <a:xfrm>
            <a:off x="0" y="15766"/>
            <a:ext cx="1146211" cy="6857999"/>
          </a:xfrm>
          <a:custGeom>
            <a:avLst/>
            <a:gdLst/>
            <a:ahLst/>
            <a:cxnLst/>
            <a:rect l="l" t="t" r="r" b="b"/>
            <a:pathLst>
              <a:path w="994410" h="5148580">
                <a:moveTo>
                  <a:pt x="994117" y="0"/>
                </a:moveTo>
                <a:lnTo>
                  <a:pt x="0" y="0"/>
                </a:lnTo>
                <a:lnTo>
                  <a:pt x="0" y="5147995"/>
                </a:lnTo>
                <a:lnTo>
                  <a:pt x="994117" y="5147995"/>
                </a:lnTo>
                <a:lnTo>
                  <a:pt x="994117" y="0"/>
                </a:lnTo>
                <a:close/>
              </a:path>
            </a:pathLst>
          </a:custGeom>
          <a:solidFill>
            <a:srgbClr val="E3610F">
              <a:alpha val="89999"/>
            </a:srgbClr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object 7">
            <a:extLst>
              <a:ext uri="{FF2B5EF4-FFF2-40B4-BE49-F238E27FC236}">
                <a16:creationId xmlns:a16="http://schemas.microsoft.com/office/drawing/2014/main" id="{325B5C62-BFF6-4BD5-91F6-771FA42536FF}"/>
              </a:ext>
            </a:extLst>
          </p:cNvPr>
          <p:cNvSpPr/>
          <p:nvPr/>
        </p:nvSpPr>
        <p:spPr>
          <a:xfrm>
            <a:off x="1137485" y="0"/>
            <a:ext cx="573105" cy="6857999"/>
          </a:xfrm>
          <a:custGeom>
            <a:avLst/>
            <a:gdLst/>
            <a:ahLst/>
            <a:cxnLst/>
            <a:rect l="l" t="t" r="r" b="b"/>
            <a:pathLst>
              <a:path w="497205" h="5148580">
                <a:moveTo>
                  <a:pt x="497052" y="0"/>
                </a:moveTo>
                <a:lnTo>
                  <a:pt x="0" y="0"/>
                </a:lnTo>
                <a:lnTo>
                  <a:pt x="0" y="5147995"/>
                </a:lnTo>
                <a:lnTo>
                  <a:pt x="497052" y="5147995"/>
                </a:lnTo>
                <a:lnTo>
                  <a:pt x="497052" y="0"/>
                </a:lnTo>
                <a:close/>
              </a:path>
            </a:pathLst>
          </a:custGeom>
          <a:solidFill>
            <a:srgbClr val="E3610F">
              <a:alpha val="64999"/>
            </a:srgbClr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object 8">
            <a:extLst>
              <a:ext uri="{FF2B5EF4-FFF2-40B4-BE49-F238E27FC236}">
                <a16:creationId xmlns:a16="http://schemas.microsoft.com/office/drawing/2014/main" id="{3BC54099-2405-6C7F-3C3C-36D2FD3A6E22}"/>
              </a:ext>
            </a:extLst>
          </p:cNvPr>
          <p:cNvSpPr/>
          <p:nvPr/>
        </p:nvSpPr>
        <p:spPr>
          <a:xfrm>
            <a:off x="1710590" y="-84815"/>
            <a:ext cx="286919" cy="6857999"/>
          </a:xfrm>
          <a:custGeom>
            <a:avLst/>
            <a:gdLst/>
            <a:ahLst/>
            <a:cxnLst/>
            <a:rect l="l" t="t" r="r" b="b"/>
            <a:pathLst>
              <a:path w="248919" h="5148580">
                <a:moveTo>
                  <a:pt x="248526" y="0"/>
                </a:moveTo>
                <a:lnTo>
                  <a:pt x="0" y="0"/>
                </a:lnTo>
                <a:lnTo>
                  <a:pt x="0" y="5147995"/>
                </a:lnTo>
                <a:lnTo>
                  <a:pt x="248526" y="5147995"/>
                </a:lnTo>
                <a:lnTo>
                  <a:pt x="248526" y="0"/>
                </a:lnTo>
                <a:close/>
              </a:path>
            </a:pathLst>
          </a:custGeom>
          <a:solidFill>
            <a:srgbClr val="E3610F">
              <a:alpha val="34999"/>
            </a:srgbClr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object 14">
            <a:extLst>
              <a:ext uri="{FF2B5EF4-FFF2-40B4-BE49-F238E27FC236}">
                <a16:creationId xmlns:a16="http://schemas.microsoft.com/office/drawing/2014/main" id="{0907E3F6-3F05-6FA4-1D54-BB83D260F519}"/>
              </a:ext>
            </a:extLst>
          </p:cNvPr>
          <p:cNvSpPr txBox="1"/>
          <p:nvPr/>
        </p:nvSpPr>
        <p:spPr>
          <a:xfrm>
            <a:off x="491066" y="4307039"/>
            <a:ext cx="11628482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ChemE: Advances in the Digitalisation of the Process Industries (2025)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91AFA4-9F73-6DC0-F722-9CAE922EFCB7}"/>
              </a:ext>
            </a:extLst>
          </p:cNvPr>
          <p:cNvSpPr txBox="1">
            <a:spLocks/>
          </p:cNvSpPr>
          <p:nvPr/>
        </p:nvSpPr>
        <p:spPr>
          <a:xfrm>
            <a:off x="410739" y="4719935"/>
            <a:ext cx="4669846" cy="29910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9875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268288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9875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8080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8288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6 October 2025</a:t>
            </a:r>
          </a:p>
        </p:txBody>
      </p:sp>
      <p:sp>
        <p:nvSpPr>
          <p:cNvPr id="4" name="object 11">
            <a:extLst>
              <a:ext uri="{FF2B5EF4-FFF2-40B4-BE49-F238E27FC236}">
                <a16:creationId xmlns:a16="http://schemas.microsoft.com/office/drawing/2014/main" id="{E1118012-79B3-02AB-0006-CEE536545D5B}"/>
              </a:ext>
            </a:extLst>
          </p:cNvPr>
          <p:cNvSpPr txBox="1"/>
          <p:nvPr/>
        </p:nvSpPr>
        <p:spPr>
          <a:xfrm>
            <a:off x="491067" y="3212307"/>
            <a:ext cx="5965152" cy="99770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1200" cap="none" spc="-23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rom Quality by Design to Living Digital Twins</a:t>
            </a:r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2D0F9E12-F4F9-BCF9-57A9-AABBDA3FE798}"/>
              </a:ext>
            </a:extLst>
          </p:cNvPr>
          <p:cNvSpPr txBox="1"/>
          <p:nvPr/>
        </p:nvSpPr>
        <p:spPr>
          <a:xfrm>
            <a:off x="491066" y="5484897"/>
            <a:ext cx="11628482" cy="51809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hadija Mu’azzam</a:t>
            </a:r>
            <a:r>
              <a:rPr kumimoji="0" lang="pt-BR" sz="1600" b="1" i="0" u="none" strike="noStrike" kern="1200" cap="none" spc="-2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a,b</a:t>
            </a:r>
            <a:r>
              <a:rPr kumimoji="0" lang="pt-BR" sz="1600" b="1" i="0" u="none" strike="noStrike" kern="1200" cap="none" spc="-2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r>
              <a:rPr kumimoji="0" lang="pt-BR" sz="1600" b="1" i="0" u="none" strike="noStrike" kern="120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rancisco Vitor Santos da Silva </a:t>
            </a:r>
            <a:r>
              <a:rPr kumimoji="0" lang="pt-BR" sz="1600" b="1" i="0" u="none" strike="noStrike" kern="1200" cap="none" spc="-2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</a:t>
            </a:r>
            <a:r>
              <a:rPr kumimoji="0" lang="pt-BR" sz="1600" b="1" i="0" u="none" strike="noStrike" kern="120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Jason Murtagh</a:t>
            </a:r>
            <a:r>
              <a:rPr kumimoji="0" lang="pt-BR" sz="1600" b="1" i="0" u="none" strike="noStrike" kern="1200" cap="none" spc="-2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b</a:t>
            </a:r>
            <a:r>
              <a:rPr kumimoji="0" lang="pt-BR" sz="1600" b="1" i="0" u="none" strike="noStrike" kern="120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</a:t>
            </a:r>
          </a:p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ria Jose Sousa Gallagher </a:t>
            </a:r>
            <a:r>
              <a:rPr kumimoji="0" lang="pt-BR" sz="1600" b="1" i="0" u="none" strike="noStrike" kern="1200" cap="none" spc="-2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</a:t>
            </a:r>
            <a:r>
              <a:rPr kumimoji="0" lang="pt-BR" sz="1600" b="1" i="0" u="none" strike="noStrike" kern="120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</a:t>
            </a:r>
            <a:endParaRPr kumimoji="0" lang="en-GB" sz="1600" b="1" i="0" u="none" strike="noStrike" kern="1200" cap="none" spc="-2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object 14">
            <a:extLst>
              <a:ext uri="{FF2B5EF4-FFF2-40B4-BE49-F238E27FC236}">
                <a16:creationId xmlns:a16="http://schemas.microsoft.com/office/drawing/2014/main" id="{5F0B2083-B711-959D-25E4-E177A7BC3C72}"/>
              </a:ext>
            </a:extLst>
          </p:cNvPr>
          <p:cNvSpPr txBox="1"/>
          <p:nvPr/>
        </p:nvSpPr>
        <p:spPr>
          <a:xfrm>
            <a:off x="491066" y="6130789"/>
            <a:ext cx="11628482" cy="4565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 Process &amp; Chemical Engineering, School of Engineering &amp; Architecture, University College Cork, Ireland</a:t>
            </a:r>
          </a:p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 DPS Group Cork, Arcadis, Netherlands</a:t>
            </a:r>
          </a:p>
        </p:txBody>
      </p:sp>
    </p:spTree>
    <p:extLst>
      <p:ext uri="{BB962C8B-B14F-4D97-AF65-F5344CB8AC3E}">
        <p14:creationId xmlns:p14="http://schemas.microsoft.com/office/powerpoint/2010/main" val="4117714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025446E-CF75-F4E4-8300-9625C7B3F9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erson looking at a city&#10;&#10;Description automatically generated">
            <a:extLst>
              <a:ext uri="{FF2B5EF4-FFF2-40B4-BE49-F238E27FC236}">
                <a16:creationId xmlns:a16="http://schemas.microsoft.com/office/drawing/2014/main" id="{F9A5D126-3C5F-B976-BAC1-46AD3B3DD659}"/>
              </a:ext>
            </a:extLst>
          </p:cNvPr>
          <p:cNvPicPr/>
          <p:nvPr/>
        </p:nvPicPr>
        <p:blipFill rotWithShape="1"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468" r="9775" b="-307"/>
          <a:stretch/>
        </p:blipFill>
        <p:spPr>
          <a:xfrm>
            <a:off x="1" y="-23505"/>
            <a:ext cx="12191999" cy="6858001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FFFE54D6-AF23-B389-39BC-DEC971F51095}"/>
              </a:ext>
            </a:extLst>
          </p:cNvPr>
          <p:cNvSpPr/>
          <p:nvPr/>
        </p:nvSpPr>
        <p:spPr>
          <a:xfrm rot="5400000">
            <a:off x="1765301" y="-1741795"/>
            <a:ext cx="6858000" cy="10388599"/>
          </a:xfrm>
          <a:prstGeom prst="rect">
            <a:avLst/>
          </a:prstGeom>
          <a:gradFill flip="none" rotWithShape="1">
            <a:gsLst>
              <a:gs pos="64000">
                <a:srgbClr val="0B0707">
                  <a:alpha val="23000"/>
                </a:srgbClr>
              </a:gs>
              <a:gs pos="0">
                <a:schemeClr val="accent1">
                  <a:lumMod val="0"/>
                  <a:alpha val="0"/>
                </a:schemeClr>
              </a:gs>
              <a:gs pos="100000">
                <a:schemeClr val="tx1">
                  <a:lumMod val="0"/>
                  <a:alpha val="66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H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object 4">
            <a:extLst>
              <a:ext uri="{FF2B5EF4-FFF2-40B4-BE49-F238E27FC236}">
                <a16:creationId xmlns:a16="http://schemas.microsoft.com/office/drawing/2014/main" id="{031F6382-BB2D-FE17-F7F1-F65AD4C6BFE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 rot="16200000">
            <a:off x="-1625579" y="2843420"/>
            <a:ext cx="4283810" cy="623778"/>
          </a:xfrm>
          <a:prstGeom prst="rect">
            <a:avLst/>
          </a:prstGeom>
        </p:spPr>
        <p:txBody>
          <a:bodyPr vert="horz" wrap="square" lIns="0" tIns="8145" rIns="0" bIns="0" rtlCol="0">
            <a:spAutoFit/>
          </a:bodyPr>
          <a:lstStyle/>
          <a:p>
            <a:pPr marL="8145" algn="r">
              <a:spcBef>
                <a:spcPts val="64"/>
              </a:spcBef>
            </a:pPr>
            <a:r>
              <a:rPr lang="en-GB" sz="4000" spc="-125" dirty="0">
                <a:latin typeface="+mn-lt"/>
              </a:rPr>
              <a:t>Agenda </a:t>
            </a:r>
            <a:endParaRPr lang="en-GB" sz="4000" dirty="0">
              <a:latin typeface="+mn-lt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774961E3-9055-8F21-34CC-54E1711DB7A6}"/>
              </a:ext>
            </a:extLst>
          </p:cNvPr>
          <p:cNvGraphicFramePr>
            <a:graphicFrameLocks noGrp="1"/>
          </p:cNvGraphicFramePr>
          <p:nvPr/>
        </p:nvGraphicFramePr>
        <p:xfrm>
          <a:off x="1082070" y="1013404"/>
          <a:ext cx="9872274" cy="47841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0409">
                  <a:extLst>
                    <a:ext uri="{9D8B030D-6E8A-4147-A177-3AD203B41FA5}">
                      <a16:colId xmlns:a16="http://schemas.microsoft.com/office/drawing/2014/main" val="22049527"/>
                    </a:ext>
                  </a:extLst>
                </a:gridCol>
                <a:gridCol w="8811865">
                  <a:extLst>
                    <a:ext uri="{9D8B030D-6E8A-4147-A177-3AD203B41FA5}">
                      <a16:colId xmlns:a16="http://schemas.microsoft.com/office/drawing/2014/main" val="364226651"/>
                    </a:ext>
                  </a:extLst>
                </a:gridCol>
              </a:tblGrid>
              <a:tr h="792245">
                <a:tc>
                  <a:txBody>
                    <a:bodyPr/>
                    <a:lstStyle/>
                    <a:p>
                      <a:pPr marL="814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4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14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4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ealth and safety momen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8587246"/>
                  </a:ext>
                </a:extLst>
              </a:tr>
              <a:tr h="792245">
                <a:tc>
                  <a:txBody>
                    <a:bodyPr/>
                    <a:lstStyle/>
                    <a:p>
                      <a:pPr marL="814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4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2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14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4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400" b="1" i="0" u="none" strike="noStrike" kern="0" cap="none" spc="-29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Why QbD still matters </a:t>
                      </a:r>
                      <a:endParaRPr kumimoji="0" lang="en-GB" sz="2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138673"/>
                  </a:ext>
                </a:extLst>
              </a:tr>
              <a:tr h="79224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cs typeface="Arial" panose="020B0604020202020204" pitchFamily="34" charset="0"/>
                        </a:rPr>
                        <a:t>03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cs typeface="Arial" panose="020B0604020202020204" pitchFamily="34" charset="0"/>
                        </a:rPr>
                        <a:t>The modelling toolbo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9879127"/>
                  </a:ext>
                </a:extLst>
              </a:tr>
              <a:tr h="792245">
                <a:tc>
                  <a:txBody>
                    <a:bodyPr/>
                    <a:lstStyle/>
                    <a:p>
                      <a:r>
                        <a:rPr lang="en-GB" sz="2400" b="1" dirty="0">
                          <a:solidFill>
                            <a:schemeClr val="bg1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2400" b="1" dirty="0">
                          <a:solidFill>
                            <a:schemeClr val="bg1"/>
                          </a:solidFill>
                          <a:latin typeface="+mn-lt"/>
                        </a:rPr>
                        <a:t>Data infrastructure: PAT, soft sensors &amp; instrumentati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8907518"/>
                  </a:ext>
                </a:extLst>
              </a:tr>
              <a:tr h="706280">
                <a:tc>
                  <a:txBody>
                    <a:bodyPr/>
                    <a:lstStyle/>
                    <a:p>
                      <a:r>
                        <a:rPr lang="en-GB" sz="2400" b="1" dirty="0">
                          <a:solidFill>
                            <a:schemeClr val="bg1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2400" b="1" dirty="0">
                          <a:solidFill>
                            <a:schemeClr val="bg1"/>
                          </a:solidFill>
                          <a:latin typeface="+mn-lt"/>
                        </a:rPr>
                        <a:t>Digital twin readiness: model (static) → shadow (live) → twin (interactive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6050538"/>
                  </a:ext>
                </a:extLst>
              </a:tr>
              <a:tr h="792245">
                <a:tc>
                  <a:txBody>
                    <a:bodyPr/>
                    <a:lstStyle/>
                    <a:p>
                      <a:r>
                        <a:rPr lang="en-GB" sz="2400" b="1" dirty="0">
                          <a:solidFill>
                            <a:schemeClr val="bg1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2400" b="1" dirty="0">
                          <a:solidFill>
                            <a:schemeClr val="bg1"/>
                          </a:solidFill>
                          <a:latin typeface="+mn-lt"/>
                        </a:rPr>
                        <a:t>A staged roadmap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6157133"/>
                  </a:ext>
                </a:extLst>
              </a:tr>
            </a:tbl>
          </a:graphicData>
        </a:graphic>
      </p:graphicFrame>
      <p:pic>
        <p:nvPicPr>
          <p:cNvPr id="5" name="Picture 4" descr="A white letters on a black background&#10;&#10;Description automatically generated">
            <a:extLst>
              <a:ext uri="{FF2B5EF4-FFF2-40B4-BE49-F238E27FC236}">
                <a16:creationId xmlns:a16="http://schemas.microsoft.com/office/drawing/2014/main" id="{D383AD1F-758A-C7C2-B29C-F1C004ADF286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4223" y="460187"/>
            <a:ext cx="1626671" cy="24841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7A21735-051B-E59C-50F2-6FA48CA44BDA}"/>
              </a:ext>
            </a:extLst>
          </p:cNvPr>
          <p:cNvSpPr/>
          <p:nvPr/>
        </p:nvSpPr>
        <p:spPr>
          <a:xfrm>
            <a:off x="1004562" y="3296986"/>
            <a:ext cx="9510966" cy="713796"/>
          </a:xfrm>
          <a:prstGeom prst="rect">
            <a:avLst/>
          </a:prstGeom>
          <a:noFill/>
          <a:ln w="539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206545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1513DA-0B72-788B-2592-E728A92356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Graphic 25" descr="Caret Right outline">
            <a:extLst>
              <a:ext uri="{FF2B5EF4-FFF2-40B4-BE49-F238E27FC236}">
                <a16:creationId xmlns:a16="http://schemas.microsoft.com/office/drawing/2014/main" id="{7F3AA1D8-6183-A413-AFDA-3BE61B0A671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92205" y="1712378"/>
            <a:ext cx="914400" cy="914400"/>
          </a:xfrm>
          <a:prstGeom prst="rect">
            <a:avLst/>
          </a:prstGeom>
        </p:spPr>
      </p:pic>
      <p:pic>
        <p:nvPicPr>
          <p:cNvPr id="14" name="Graphic 13" descr="Caret Right outline">
            <a:extLst>
              <a:ext uri="{FF2B5EF4-FFF2-40B4-BE49-F238E27FC236}">
                <a16:creationId xmlns:a16="http://schemas.microsoft.com/office/drawing/2014/main" id="{8CA1F5D6-2FD4-D27F-52DC-BDE7FE9575C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10185635" y="3429000"/>
            <a:ext cx="914400" cy="914400"/>
          </a:xfrm>
          <a:prstGeom prst="rect">
            <a:avLst/>
          </a:prstGeom>
        </p:spPr>
      </p:pic>
      <p:pic>
        <p:nvPicPr>
          <p:cNvPr id="16" name="Graphic 15" descr="Caret Right outline">
            <a:extLst>
              <a:ext uri="{FF2B5EF4-FFF2-40B4-BE49-F238E27FC236}">
                <a16:creationId xmlns:a16="http://schemas.microsoft.com/office/drawing/2014/main" id="{A5253B69-E84E-708F-62AA-217D6D8D048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5711637" y="4638023"/>
            <a:ext cx="914400" cy="914400"/>
          </a:xfrm>
          <a:prstGeom prst="rect">
            <a:avLst/>
          </a:prstGeom>
        </p:spPr>
      </p:pic>
      <p:pic>
        <p:nvPicPr>
          <p:cNvPr id="8" name="Picture 2" descr="University College Cork — Regional Admissions Counselors of California">
            <a:extLst>
              <a:ext uri="{FF2B5EF4-FFF2-40B4-BE49-F238E27FC236}">
                <a16:creationId xmlns:a16="http://schemas.microsoft.com/office/drawing/2014/main" id="{086D729D-7B13-9369-0A68-7A92B1A4D5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55769" y="150350"/>
            <a:ext cx="918410" cy="918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3">
            <a:extLst>
              <a:ext uri="{FF2B5EF4-FFF2-40B4-BE49-F238E27FC236}">
                <a16:creationId xmlns:a16="http://schemas.microsoft.com/office/drawing/2014/main" id="{035F528E-2374-BE9D-BF34-5F3BD6DB3B30}"/>
              </a:ext>
            </a:extLst>
          </p:cNvPr>
          <p:cNvSpPr txBox="1">
            <a:spLocks/>
          </p:cNvSpPr>
          <p:nvPr/>
        </p:nvSpPr>
        <p:spPr>
          <a:xfrm>
            <a:off x="571501" y="378483"/>
            <a:ext cx="8548391" cy="685799"/>
          </a:xfrm>
          <a:prstGeom prst="rect">
            <a:avLst/>
          </a:prstGeom>
          <a:effectLst/>
        </p:spPr>
        <p:txBody>
          <a:bodyPr vert="horz" lIns="0" tIns="0" rIns="0" bIns="0" rtlCol="0" anchor="t">
            <a:normAutofit/>
          </a:bodyPr>
          <a:lstStyle>
            <a:lvl1pPr defTabSz="986912">
              <a:lnSpc>
                <a:spcPct val="90000"/>
              </a:lnSpc>
              <a:spcBef>
                <a:spcPts val="600"/>
              </a:spcBef>
              <a:buNone/>
              <a:defRPr sz="2400" b="1">
                <a:solidFill>
                  <a:srgbClr val="E4610F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GB" dirty="0"/>
              <a:t>Data </a:t>
            </a:r>
            <a:r>
              <a:rPr lang="en-GB" dirty="0">
                <a:solidFill>
                  <a:schemeClr val="tx1"/>
                </a:solidFill>
              </a:rPr>
              <a:t>infrastructure: PAT, soft sensors &amp; instrumentation</a:t>
            </a:r>
          </a:p>
        </p:txBody>
      </p:sp>
      <p:pic>
        <p:nvPicPr>
          <p:cNvPr id="10" name="Picture 9" descr="A person in a lab coat and mask working on a machine&#10;&#10;AI-generated content may be incorrect.">
            <a:extLst>
              <a:ext uri="{FF2B5EF4-FFF2-40B4-BE49-F238E27FC236}">
                <a16:creationId xmlns:a16="http://schemas.microsoft.com/office/drawing/2014/main" id="{273854C1-DA45-7A85-A7C5-9C242719F51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08" r="19840"/>
          <a:stretch>
            <a:fillRect/>
          </a:stretch>
        </p:blipFill>
        <p:spPr>
          <a:xfrm>
            <a:off x="3401959" y="1292415"/>
            <a:ext cx="2053618" cy="185564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CFC1D473-3CB9-BA33-CF6F-B6610C0A97A7}"/>
              </a:ext>
            </a:extLst>
          </p:cNvPr>
          <p:cNvSpPr txBox="1"/>
          <p:nvPr/>
        </p:nvSpPr>
        <p:spPr>
          <a:xfrm>
            <a:off x="592987" y="1292415"/>
            <a:ext cx="274588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0C0808"/>
                </a:solidFill>
                <a:effectLst/>
                <a:uLnTx/>
                <a:uFillTx/>
                <a:ea typeface="+mn-ea"/>
                <a:cs typeface="+mn-cs"/>
              </a:rPr>
              <a:t>Soft sensors: mechanistic, empirical (ML), and hybrid approaches used to infer unmeasured states and CQAs.</a:t>
            </a:r>
          </a:p>
        </p:txBody>
      </p:sp>
      <p:pic>
        <p:nvPicPr>
          <p:cNvPr id="13" name="Picture 12" descr="A screen with a glowing graph&#10;&#10;AI-generated content may be incorrect.">
            <a:extLst>
              <a:ext uri="{FF2B5EF4-FFF2-40B4-BE49-F238E27FC236}">
                <a16:creationId xmlns:a16="http://schemas.microsoft.com/office/drawing/2014/main" id="{B07D40D5-9C63-2B1C-4EF9-8F26AEAA7C6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0238"/>
          <a:stretch>
            <a:fillRect/>
          </a:stretch>
        </p:blipFill>
        <p:spPr>
          <a:xfrm>
            <a:off x="9686658" y="1292415"/>
            <a:ext cx="1912355" cy="180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6F9654D2-F5AA-ABCE-29E4-7691AF5F5247}"/>
              </a:ext>
            </a:extLst>
          </p:cNvPr>
          <p:cNvSpPr txBox="1"/>
          <p:nvPr/>
        </p:nvSpPr>
        <p:spPr>
          <a:xfrm>
            <a:off x="6706605" y="1352202"/>
            <a:ext cx="279845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defRPr/>
            </a:pPr>
            <a:r>
              <a:rPr lang="en-GB" sz="2000" dirty="0">
                <a:solidFill>
                  <a:srgbClr val="0C0808"/>
                </a:solidFill>
              </a:rPr>
              <a:t>Spectroscopy: UV–Vis, mid-IR, Raman, and fluorescence paired with chemometrics for rapid estimation of key analytes.</a:t>
            </a:r>
          </a:p>
        </p:txBody>
      </p:sp>
      <p:pic>
        <p:nvPicPr>
          <p:cNvPr id="24" name="Picture 23" descr="A robotic arm holding a machine&#10;&#10;AI-generated content may be incorrect.">
            <a:extLst>
              <a:ext uri="{FF2B5EF4-FFF2-40B4-BE49-F238E27FC236}">
                <a16:creationId xmlns:a16="http://schemas.microsoft.com/office/drawing/2014/main" id="{889EEAB6-2060-EFDE-FC76-56D0F43C7CE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6037" y="4231223"/>
            <a:ext cx="2524932" cy="1728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1D371856-1055-136A-EAC6-73D430F0264E}"/>
              </a:ext>
            </a:extLst>
          </p:cNvPr>
          <p:cNvSpPr txBox="1"/>
          <p:nvPr/>
        </p:nvSpPr>
        <p:spPr>
          <a:xfrm>
            <a:off x="9355781" y="4198749"/>
            <a:ext cx="257410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defRPr/>
            </a:pPr>
            <a:r>
              <a:rPr lang="en-GB" sz="2000" dirty="0">
                <a:solidFill>
                  <a:srgbClr val="0C0808"/>
                </a:solidFill>
              </a:rPr>
              <a:t>Process probes: free-floating sensors deployed to reveal mixing non-uniformities and shear gradients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4E58CE0-FDB6-4BFD-4A40-5DB2AB01F461}"/>
              </a:ext>
            </a:extLst>
          </p:cNvPr>
          <p:cNvSpPr txBox="1"/>
          <p:nvPr/>
        </p:nvSpPr>
        <p:spPr>
          <a:xfrm>
            <a:off x="2842456" y="4172423"/>
            <a:ext cx="325354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defRPr/>
            </a:pPr>
            <a:r>
              <a:rPr lang="en-GB" sz="2000" dirty="0">
                <a:solidFill>
                  <a:srgbClr val="0C0808"/>
                </a:solidFill>
              </a:rPr>
              <a:t>Data engineering: rigorous cleaning, time alignment, dimensionality reduction and drift detection to sustain model performance.</a:t>
            </a:r>
            <a:endParaRPr lang="en-IE" sz="2000" dirty="0">
              <a:solidFill>
                <a:srgbClr val="0C0808"/>
              </a:solidFill>
            </a:endParaRPr>
          </a:p>
        </p:txBody>
      </p:sp>
      <p:pic>
        <p:nvPicPr>
          <p:cNvPr id="29" name="Picture 28" descr="A robotic arm holding a hook&#10;&#10;AI-generated content may be incorrect.">
            <a:extLst>
              <a:ext uri="{FF2B5EF4-FFF2-40B4-BE49-F238E27FC236}">
                <a16:creationId xmlns:a16="http://schemas.microsoft.com/office/drawing/2014/main" id="{6D4DED47-AB3A-E34E-D3AE-000B8B1A8D2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17"/>
          <a:stretch>
            <a:fillRect/>
          </a:stretch>
        </p:blipFill>
        <p:spPr>
          <a:xfrm>
            <a:off x="592987" y="4198749"/>
            <a:ext cx="1986974" cy="1728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4390055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FDB255F-A47C-7507-5074-C1597C5FB3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erson looking at a city&#10;&#10;Description automatically generated">
            <a:extLst>
              <a:ext uri="{FF2B5EF4-FFF2-40B4-BE49-F238E27FC236}">
                <a16:creationId xmlns:a16="http://schemas.microsoft.com/office/drawing/2014/main" id="{DF441EF6-3B9B-756C-09BF-0376B36B0034}"/>
              </a:ext>
            </a:extLst>
          </p:cNvPr>
          <p:cNvPicPr/>
          <p:nvPr/>
        </p:nvPicPr>
        <p:blipFill rotWithShape="1"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468" r="9775" b="-307"/>
          <a:stretch/>
        </p:blipFill>
        <p:spPr>
          <a:xfrm>
            <a:off x="1" y="-23505"/>
            <a:ext cx="12191999" cy="6858001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E9980F5A-B775-1280-39DA-C595FA96650F}"/>
              </a:ext>
            </a:extLst>
          </p:cNvPr>
          <p:cNvSpPr/>
          <p:nvPr/>
        </p:nvSpPr>
        <p:spPr>
          <a:xfrm rot="5400000">
            <a:off x="1765301" y="-1741795"/>
            <a:ext cx="6858000" cy="10388599"/>
          </a:xfrm>
          <a:prstGeom prst="rect">
            <a:avLst/>
          </a:prstGeom>
          <a:gradFill flip="none" rotWithShape="1">
            <a:gsLst>
              <a:gs pos="64000">
                <a:srgbClr val="0B0707">
                  <a:alpha val="23000"/>
                </a:srgbClr>
              </a:gs>
              <a:gs pos="0">
                <a:schemeClr val="accent1">
                  <a:lumMod val="0"/>
                  <a:alpha val="0"/>
                </a:schemeClr>
              </a:gs>
              <a:gs pos="100000">
                <a:schemeClr val="tx1">
                  <a:lumMod val="0"/>
                  <a:alpha val="66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H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object 4">
            <a:extLst>
              <a:ext uri="{FF2B5EF4-FFF2-40B4-BE49-F238E27FC236}">
                <a16:creationId xmlns:a16="http://schemas.microsoft.com/office/drawing/2014/main" id="{59D8B854-98AB-E850-4742-F261F167705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 rot="16200000">
            <a:off x="-1625579" y="2843420"/>
            <a:ext cx="4283810" cy="623778"/>
          </a:xfrm>
          <a:prstGeom prst="rect">
            <a:avLst/>
          </a:prstGeom>
        </p:spPr>
        <p:txBody>
          <a:bodyPr vert="horz" wrap="square" lIns="0" tIns="8145" rIns="0" bIns="0" rtlCol="0">
            <a:spAutoFit/>
          </a:bodyPr>
          <a:lstStyle/>
          <a:p>
            <a:pPr marL="8145" algn="r">
              <a:spcBef>
                <a:spcPts val="64"/>
              </a:spcBef>
            </a:pPr>
            <a:r>
              <a:rPr lang="en-GB" sz="4000" spc="-125" dirty="0">
                <a:latin typeface="+mn-lt"/>
              </a:rPr>
              <a:t>Agenda </a:t>
            </a:r>
            <a:endParaRPr lang="en-GB" sz="4000" dirty="0">
              <a:latin typeface="+mn-lt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3B183FD1-FD4A-B73C-2857-7C20DEDC870B}"/>
              </a:ext>
            </a:extLst>
          </p:cNvPr>
          <p:cNvGraphicFramePr>
            <a:graphicFrameLocks noGrp="1"/>
          </p:cNvGraphicFramePr>
          <p:nvPr/>
        </p:nvGraphicFramePr>
        <p:xfrm>
          <a:off x="1082070" y="1013404"/>
          <a:ext cx="9872274" cy="47841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0409">
                  <a:extLst>
                    <a:ext uri="{9D8B030D-6E8A-4147-A177-3AD203B41FA5}">
                      <a16:colId xmlns:a16="http://schemas.microsoft.com/office/drawing/2014/main" val="22049527"/>
                    </a:ext>
                  </a:extLst>
                </a:gridCol>
                <a:gridCol w="8811865">
                  <a:extLst>
                    <a:ext uri="{9D8B030D-6E8A-4147-A177-3AD203B41FA5}">
                      <a16:colId xmlns:a16="http://schemas.microsoft.com/office/drawing/2014/main" val="364226651"/>
                    </a:ext>
                  </a:extLst>
                </a:gridCol>
              </a:tblGrid>
              <a:tr h="792245">
                <a:tc>
                  <a:txBody>
                    <a:bodyPr/>
                    <a:lstStyle/>
                    <a:p>
                      <a:pPr marL="814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4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14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4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ealth and safety momen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8587246"/>
                  </a:ext>
                </a:extLst>
              </a:tr>
              <a:tr h="792245">
                <a:tc>
                  <a:txBody>
                    <a:bodyPr/>
                    <a:lstStyle/>
                    <a:p>
                      <a:pPr marL="814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4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2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14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4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400" b="1" i="0" u="none" strike="noStrike" kern="0" cap="none" spc="-29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Why QbD still matters </a:t>
                      </a:r>
                      <a:endParaRPr kumimoji="0" lang="en-GB" sz="2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138673"/>
                  </a:ext>
                </a:extLst>
              </a:tr>
              <a:tr h="79224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cs typeface="Arial" panose="020B0604020202020204" pitchFamily="34" charset="0"/>
                        </a:rPr>
                        <a:t>03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cs typeface="Arial" panose="020B0604020202020204" pitchFamily="34" charset="0"/>
                        </a:rPr>
                        <a:t>The modelling toolbo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9879127"/>
                  </a:ext>
                </a:extLst>
              </a:tr>
              <a:tr h="792245">
                <a:tc>
                  <a:txBody>
                    <a:bodyPr/>
                    <a:lstStyle/>
                    <a:p>
                      <a:r>
                        <a:rPr lang="en-GB" sz="2400" b="1" dirty="0">
                          <a:solidFill>
                            <a:schemeClr val="bg1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2400" b="1" dirty="0">
                          <a:solidFill>
                            <a:schemeClr val="bg1"/>
                          </a:solidFill>
                          <a:latin typeface="+mn-lt"/>
                        </a:rPr>
                        <a:t>Data infrastructure: PAT, soft sensors &amp; instrumentati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8907518"/>
                  </a:ext>
                </a:extLst>
              </a:tr>
              <a:tr h="706280">
                <a:tc>
                  <a:txBody>
                    <a:bodyPr/>
                    <a:lstStyle/>
                    <a:p>
                      <a:r>
                        <a:rPr lang="en-GB" sz="2400" b="1" dirty="0">
                          <a:solidFill>
                            <a:schemeClr val="bg1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2400" b="1" dirty="0">
                          <a:solidFill>
                            <a:schemeClr val="bg1"/>
                          </a:solidFill>
                          <a:latin typeface="+mn-lt"/>
                        </a:rPr>
                        <a:t>Digital twin readiness: model (static) → shadow (live) → twin (interactive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6050538"/>
                  </a:ext>
                </a:extLst>
              </a:tr>
              <a:tr h="792245">
                <a:tc>
                  <a:txBody>
                    <a:bodyPr/>
                    <a:lstStyle/>
                    <a:p>
                      <a:r>
                        <a:rPr lang="en-GB" sz="2400" b="1" dirty="0">
                          <a:solidFill>
                            <a:schemeClr val="bg1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2400" b="1" dirty="0">
                          <a:solidFill>
                            <a:schemeClr val="bg1"/>
                          </a:solidFill>
                          <a:latin typeface="+mn-lt"/>
                        </a:rPr>
                        <a:t>A staged roadmap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6157133"/>
                  </a:ext>
                </a:extLst>
              </a:tr>
            </a:tbl>
          </a:graphicData>
        </a:graphic>
      </p:graphicFrame>
      <p:pic>
        <p:nvPicPr>
          <p:cNvPr id="5" name="Picture 4" descr="A white letters on a black background&#10;&#10;Description automatically generated">
            <a:extLst>
              <a:ext uri="{FF2B5EF4-FFF2-40B4-BE49-F238E27FC236}">
                <a16:creationId xmlns:a16="http://schemas.microsoft.com/office/drawing/2014/main" id="{3AF335B0-9C7B-8D7E-E2B8-C8F7B642C890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4223" y="460187"/>
            <a:ext cx="1626671" cy="24841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45F9753-114E-CDF7-FDA2-7C1EC4392AF4}"/>
              </a:ext>
            </a:extLst>
          </p:cNvPr>
          <p:cNvSpPr/>
          <p:nvPr/>
        </p:nvSpPr>
        <p:spPr>
          <a:xfrm>
            <a:off x="1032651" y="4043423"/>
            <a:ext cx="9560385" cy="993034"/>
          </a:xfrm>
          <a:prstGeom prst="rect">
            <a:avLst/>
          </a:prstGeom>
          <a:noFill/>
          <a:ln w="539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355594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2A398E-D635-C5EB-AF22-F67E8A65B3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platzhalter 12">
            <a:extLst>
              <a:ext uri="{FF2B5EF4-FFF2-40B4-BE49-F238E27FC236}">
                <a16:creationId xmlns:a16="http://schemas.microsoft.com/office/drawing/2014/main" id="{BAAC5110-0629-65BC-CEE7-D3DD0BA80862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75057" y="2351557"/>
            <a:ext cx="2746768" cy="4005799"/>
          </a:xfrm>
          <a:prstGeom prst="rect">
            <a:avLst/>
          </a:prstGeom>
        </p:spPr>
      </p:pic>
      <p:sp>
        <p:nvSpPr>
          <p:cNvPr id="20" name="object 5">
            <a:extLst>
              <a:ext uri="{FF2B5EF4-FFF2-40B4-BE49-F238E27FC236}">
                <a16:creationId xmlns:a16="http://schemas.microsoft.com/office/drawing/2014/main" id="{9A31980D-9D26-D14F-2696-04BB18156CE1}"/>
              </a:ext>
            </a:extLst>
          </p:cNvPr>
          <p:cNvSpPr/>
          <p:nvPr/>
        </p:nvSpPr>
        <p:spPr>
          <a:xfrm>
            <a:off x="8465679" y="2358242"/>
            <a:ext cx="2770194" cy="3917134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chemeClr val="tx1">
                  <a:alpha val="0"/>
                </a:schemeClr>
              </a:gs>
            </a:gsLst>
            <a:lin ang="5400000" scaled="1"/>
          </a:gradFill>
        </p:spPr>
        <p:txBody>
          <a:bodyPr wrap="square" lIns="0" tIns="0" rIns="0" bIns="0" rtlCol="0"/>
          <a:lstStyle/>
          <a:p>
            <a:pPr marL="0" marR="0" lvl="0" indent="0" algn="l" defTabSz="4515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78" b="0" i="0" u="none" strike="noStrike" kern="1200" cap="none" spc="0" normalizeH="0" baseline="0" noProof="0">
              <a:ln>
                <a:noFill/>
              </a:ln>
              <a:solidFill>
                <a:srgbClr val="0C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2" name="Bildplatzhalter 11">
            <a:extLst>
              <a:ext uri="{FF2B5EF4-FFF2-40B4-BE49-F238E27FC236}">
                <a16:creationId xmlns:a16="http://schemas.microsoft.com/office/drawing/2014/main" id="{9CC3F21F-C56C-6855-B938-E167749649C7}"/>
              </a:ext>
            </a:extLst>
          </p:cNvPr>
          <p:cNvPicPr preferRelativeResize="0">
            <a:picLocks noGrp="1"/>
          </p:cNvPicPr>
          <p:nvPr>
            <p:ph type="pic" sz="quarter" idx="17"/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41684" y="2385145"/>
            <a:ext cx="2811076" cy="3923819"/>
          </a:xfrm>
          <a:prstGeom prst="rect">
            <a:avLst/>
          </a:prstGeom>
        </p:spPr>
      </p:pic>
      <p:sp>
        <p:nvSpPr>
          <p:cNvPr id="2" name="object 5">
            <a:extLst>
              <a:ext uri="{FF2B5EF4-FFF2-40B4-BE49-F238E27FC236}">
                <a16:creationId xmlns:a16="http://schemas.microsoft.com/office/drawing/2014/main" id="{D09E0BFD-8EDE-0568-00B3-D06A90E9AD3A}"/>
              </a:ext>
            </a:extLst>
          </p:cNvPr>
          <p:cNvSpPr/>
          <p:nvPr/>
        </p:nvSpPr>
        <p:spPr>
          <a:xfrm>
            <a:off x="4440640" y="2391829"/>
            <a:ext cx="2805657" cy="3923817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chemeClr val="tx1">
                  <a:alpha val="0"/>
                </a:schemeClr>
              </a:gs>
            </a:gsLst>
            <a:lin ang="5400000" scaled="1"/>
          </a:gradFill>
        </p:spPr>
        <p:txBody>
          <a:bodyPr wrap="square" lIns="0" tIns="0" rIns="0" bIns="0" rtlCol="0"/>
          <a:lstStyle/>
          <a:p>
            <a:pPr marL="0" marR="0" lvl="0" indent="0" algn="l" defTabSz="4515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78" b="0" i="0" u="none" strike="noStrike" kern="1200" cap="none" spc="0" normalizeH="0" baseline="0" noProof="0">
              <a:ln>
                <a:noFill/>
              </a:ln>
              <a:solidFill>
                <a:srgbClr val="0C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4" name="Bildplatzhalter 13">
            <a:extLst>
              <a:ext uri="{FF2B5EF4-FFF2-40B4-BE49-F238E27FC236}">
                <a16:creationId xmlns:a16="http://schemas.microsoft.com/office/drawing/2014/main" id="{4BEDC451-36E9-AF42-B36B-D6CB3E7DC687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1225" y="2478119"/>
            <a:ext cx="2808200" cy="3923817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8878CA58-2883-812B-60FF-975A3019E1DD}"/>
              </a:ext>
            </a:extLst>
          </p:cNvPr>
          <p:cNvSpPr txBox="1"/>
          <p:nvPr/>
        </p:nvSpPr>
        <p:spPr>
          <a:xfrm>
            <a:off x="478824" y="1350021"/>
            <a:ext cx="184731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l" defTabSz="4515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srgbClr val="31353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object 5">
            <a:extLst>
              <a:ext uri="{FF2B5EF4-FFF2-40B4-BE49-F238E27FC236}">
                <a16:creationId xmlns:a16="http://schemas.microsoft.com/office/drawing/2014/main" id="{8174DF68-BBED-3427-D8A6-E862B972E840}"/>
              </a:ext>
            </a:extLst>
          </p:cNvPr>
          <p:cNvSpPr/>
          <p:nvPr/>
        </p:nvSpPr>
        <p:spPr>
          <a:xfrm>
            <a:off x="582724" y="2484802"/>
            <a:ext cx="2805657" cy="3917134"/>
          </a:xfrm>
          <a:prstGeom prst="rect">
            <a:avLst/>
          </a:pr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4515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78" b="0" i="0" u="none" strike="noStrike" kern="1200" cap="none" spc="0" normalizeH="0" baseline="0" noProof="0">
              <a:ln>
                <a:noFill/>
              </a:ln>
              <a:solidFill>
                <a:srgbClr val="0C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object 19">
            <a:extLst>
              <a:ext uri="{FF2B5EF4-FFF2-40B4-BE49-F238E27FC236}">
                <a16:creationId xmlns:a16="http://schemas.microsoft.com/office/drawing/2014/main" id="{A9EC3490-14BE-03CF-8D4F-FFD52887EEF5}"/>
              </a:ext>
            </a:extLst>
          </p:cNvPr>
          <p:cNvSpPr txBox="1"/>
          <p:nvPr/>
        </p:nvSpPr>
        <p:spPr>
          <a:xfrm>
            <a:off x="694369" y="2524681"/>
            <a:ext cx="2604834" cy="1642364"/>
          </a:xfrm>
          <a:prstGeom prst="rect">
            <a:avLst/>
          </a:prstGeom>
        </p:spPr>
        <p:txBody>
          <a:bodyPr vert="horz" wrap="square" lIns="91440" tIns="72000" rIns="0" bIns="0" rtlCol="0">
            <a:spAutoFit/>
          </a:bodyPr>
          <a:lstStyle/>
          <a:p>
            <a:pPr marL="12700" marR="5080" lvl="0" indent="0" algn="l" defTabSz="4515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odel</a:t>
            </a:r>
          </a:p>
          <a:p>
            <a:pPr marL="12700" marR="5080" lvl="0" indent="0" algn="l" defTabSz="4515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-5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2700" marR="5080" lvl="0" indent="0" algn="l" defTabSz="4515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Validated representation (offline design &amp; scenarios)</a:t>
            </a:r>
          </a:p>
        </p:txBody>
      </p:sp>
      <p:sp>
        <p:nvSpPr>
          <p:cNvPr id="17" name="object 19">
            <a:extLst>
              <a:ext uri="{FF2B5EF4-FFF2-40B4-BE49-F238E27FC236}">
                <a16:creationId xmlns:a16="http://schemas.microsoft.com/office/drawing/2014/main" id="{CE7474A7-89FF-98A4-EFF4-EE8BC9B72B64}"/>
              </a:ext>
            </a:extLst>
          </p:cNvPr>
          <p:cNvSpPr txBox="1"/>
          <p:nvPr/>
        </p:nvSpPr>
        <p:spPr>
          <a:xfrm>
            <a:off x="4434177" y="2425024"/>
            <a:ext cx="2539250" cy="1703919"/>
          </a:xfrm>
          <a:prstGeom prst="rect">
            <a:avLst/>
          </a:prstGeom>
        </p:spPr>
        <p:txBody>
          <a:bodyPr vert="horz" wrap="square" lIns="91440" tIns="72000" rIns="0" bIns="0" rtlCol="0">
            <a:spAutoFit/>
          </a:bodyPr>
          <a:lstStyle/>
          <a:p>
            <a:pPr marL="12700" marR="5080" lvl="0" indent="0" algn="l" defTabSz="4515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hadow</a:t>
            </a:r>
          </a:p>
          <a:p>
            <a:pPr marL="12700" marR="5080" lvl="0" indent="0" algn="l" defTabSz="4515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br>
              <a:rPr kumimoji="0" lang="en-US" sz="1400" b="1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GB" sz="16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al-time data into the model (read-only predictions)</a:t>
            </a:r>
          </a:p>
          <a:p>
            <a:pPr marL="12700" marR="5080" lvl="0" indent="0" algn="l" defTabSz="4515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-5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9" name="object 19">
            <a:extLst>
              <a:ext uri="{FF2B5EF4-FFF2-40B4-BE49-F238E27FC236}">
                <a16:creationId xmlns:a16="http://schemas.microsoft.com/office/drawing/2014/main" id="{26B09DE4-1FAA-C2DA-30A5-0D59CC594E3E}"/>
              </a:ext>
            </a:extLst>
          </p:cNvPr>
          <p:cNvSpPr txBox="1"/>
          <p:nvPr/>
        </p:nvSpPr>
        <p:spPr>
          <a:xfrm>
            <a:off x="8503920" y="2408375"/>
            <a:ext cx="2310993" cy="1550031"/>
          </a:xfrm>
          <a:prstGeom prst="rect">
            <a:avLst/>
          </a:prstGeom>
        </p:spPr>
        <p:txBody>
          <a:bodyPr vert="horz" wrap="square" lIns="91440" tIns="72000" rIns="0" bIns="0" rtlCol="0">
            <a:spAutoFit/>
          </a:bodyPr>
          <a:lstStyle/>
          <a:p>
            <a:pPr marL="12700" marR="5080" lvl="0" indent="0" algn="l" defTabSz="4515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win</a:t>
            </a:r>
            <a:r>
              <a:rPr kumimoji="0" lang="en-US" sz="1800" b="1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</a:p>
          <a:p>
            <a:pPr marL="12700" marR="5080" lvl="0" indent="0" algn="l" defTabSz="4515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-5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2700" marR="5080" lvl="0" indent="0" algn="l" defTabSz="4515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i-directional data &amp; governed control actions</a:t>
            </a:r>
            <a:endParaRPr kumimoji="0" lang="en-US" sz="1400" b="0" i="0" u="none" strike="noStrike" kern="1200" cap="none" spc="-5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1" name="ENG_Subtitle">
            <a:extLst>
              <a:ext uri="{FF2B5EF4-FFF2-40B4-BE49-F238E27FC236}">
                <a16:creationId xmlns:a16="http://schemas.microsoft.com/office/drawing/2014/main" id="{A0D057EE-7B26-62CA-5E33-3954A40B4FA1}"/>
              </a:ext>
            </a:extLst>
          </p:cNvPr>
          <p:cNvSpPr txBox="1">
            <a:spLocks/>
          </p:cNvSpPr>
          <p:nvPr/>
        </p:nvSpPr>
        <p:spPr>
          <a:xfrm>
            <a:off x="478824" y="1256300"/>
            <a:ext cx="11255976" cy="780589"/>
          </a:xfrm>
        </p:spPr>
        <p:txBody>
          <a:bodyPr lIns="0" tIns="0" bIns="0">
            <a:noAutofit/>
          </a:bodyPr>
          <a:lstStyle>
            <a:lvl1pPr marL="0" indent="0" algn="l" defTabSz="98691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en-US" sz="2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86912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86912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86912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872115" algn="l"/>
              </a:tabLst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86912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14008" indent="-246728" algn="l" defTabSz="986912" rtl="0" eaLnBrk="1" latinLnBrk="0" hangingPunct="1">
              <a:lnSpc>
                <a:spcPct val="90000"/>
              </a:lnSpc>
              <a:spcBef>
                <a:spcPts val="540"/>
              </a:spcBef>
              <a:buFont typeface="Arial" panose="020B0604020202020204" pitchFamily="34" charset="0"/>
              <a:buChar char="•"/>
              <a:defRPr sz="19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7464" indent="-246728" algn="l" defTabSz="986912" rtl="0" eaLnBrk="1" latinLnBrk="0" hangingPunct="1">
              <a:lnSpc>
                <a:spcPct val="90000"/>
              </a:lnSpc>
              <a:spcBef>
                <a:spcPts val="540"/>
              </a:spcBef>
              <a:buFont typeface="Arial" panose="020B0604020202020204" pitchFamily="34" charset="0"/>
              <a:buChar char="•"/>
              <a:defRPr sz="19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00920" indent="-246728" algn="l" defTabSz="986912" rtl="0" eaLnBrk="1" latinLnBrk="0" hangingPunct="1">
              <a:lnSpc>
                <a:spcPct val="90000"/>
              </a:lnSpc>
              <a:spcBef>
                <a:spcPts val="540"/>
              </a:spcBef>
              <a:buFont typeface="Arial" panose="020B0604020202020204" pitchFamily="34" charset="0"/>
              <a:buChar char="•"/>
              <a:defRPr sz="19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94376" indent="-246728" algn="l" defTabSz="986912" rtl="0" eaLnBrk="1" latinLnBrk="0" hangingPunct="1">
              <a:lnSpc>
                <a:spcPct val="90000"/>
              </a:lnSpc>
              <a:spcBef>
                <a:spcPts val="540"/>
              </a:spcBef>
              <a:buFont typeface="Arial" panose="020B0604020202020204" pitchFamily="34" charset="0"/>
              <a:buChar char="•"/>
              <a:defRPr sz="19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8691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4610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0C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del maturity is selected according to purpose and data readiness, and deployed where benefits outweigh cost.</a:t>
            </a:r>
          </a:p>
        </p:txBody>
      </p:sp>
      <p:grpSp>
        <p:nvGrpSpPr>
          <p:cNvPr id="22" name="GER_Header_GBA" hidden="1">
            <a:extLst>
              <a:ext uri="{FF2B5EF4-FFF2-40B4-BE49-F238E27FC236}">
                <a16:creationId xmlns:a16="http://schemas.microsoft.com/office/drawing/2014/main" id="{2EC4310E-1A21-574F-8403-663848F037A1}"/>
              </a:ext>
            </a:extLst>
          </p:cNvPr>
          <p:cNvGrpSpPr/>
          <p:nvPr/>
        </p:nvGrpSpPr>
        <p:grpSpPr>
          <a:xfrm>
            <a:off x="448194" y="1828800"/>
            <a:ext cx="11294112" cy="787273"/>
            <a:chOff x="448194" y="1828800"/>
            <a:chExt cx="11294112" cy="787273"/>
          </a:xfrm>
        </p:grpSpPr>
        <p:sp>
          <p:nvSpPr>
            <p:cNvPr id="23" name="object 19">
              <a:extLst>
                <a:ext uri="{FF2B5EF4-FFF2-40B4-BE49-F238E27FC236}">
                  <a16:creationId xmlns:a16="http://schemas.microsoft.com/office/drawing/2014/main" id="{6C7323C9-ED92-FFB3-634B-FD798C8F7920}"/>
                </a:ext>
              </a:extLst>
            </p:cNvPr>
            <p:cNvSpPr txBox="1"/>
            <p:nvPr/>
          </p:nvSpPr>
          <p:spPr>
            <a:xfrm>
              <a:off x="448194" y="1835484"/>
              <a:ext cx="3627006" cy="780589"/>
            </a:xfrm>
            <a:prstGeom prst="rect">
              <a:avLst/>
            </a:prstGeom>
          </p:spPr>
          <p:txBody>
            <a:bodyPr vert="horz" wrap="square" lIns="91440" tIns="72000" rIns="0" bIns="0" rtlCol="0">
              <a:spAutoFit/>
            </a:bodyPr>
            <a:lstStyle/>
            <a:p>
              <a:pPr marL="12700" marR="5080" lvl="0" indent="0" algn="l" defTabSz="4515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-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Places </a:t>
              </a:r>
              <a:br>
                <a:rPr kumimoji="0" lang="en-US" sz="1400" b="0" i="0" u="none" strike="noStrike" kern="1200" cap="none" spc="-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</a:br>
              <a:r>
                <a:rPr kumimoji="0" lang="en-US" sz="1400" b="0" i="0" u="none" strike="noStrike" kern="1200" cap="none" spc="-5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Schaffung</a:t>
              </a:r>
              <a:r>
                <a:rPr kumimoji="0" lang="en-US" sz="1400" b="0" i="0" u="none" strike="noStrike" kern="1200" cap="none" spc="-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und </a:t>
              </a:r>
              <a:r>
                <a:rPr kumimoji="0" lang="en-US" sz="1400" b="0" i="0" u="none" strike="noStrike" kern="1200" cap="none" spc="-5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Erhaltung</a:t>
              </a:r>
              <a:r>
                <a:rPr kumimoji="0" lang="en-US" sz="1400" b="0" i="0" u="none" strike="noStrike" kern="1200" cap="none" spc="-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</a:t>
              </a:r>
              <a:r>
                <a:rPr kumimoji="0" lang="de-DE" sz="1400" b="0" i="0" u="none" strike="noStrike" kern="1200" cap="none" spc="-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nachhaltiger Orte, an denen Menschen leben und arbeiten</a:t>
              </a:r>
              <a:endParaRPr kumimoji="0" lang="en-US" sz="1400" b="0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4" name="object 19">
              <a:extLst>
                <a:ext uri="{FF2B5EF4-FFF2-40B4-BE49-F238E27FC236}">
                  <a16:creationId xmlns:a16="http://schemas.microsoft.com/office/drawing/2014/main" id="{C99B53FF-EFC0-1353-F6CE-3259B94D5DD3}"/>
                </a:ext>
              </a:extLst>
            </p:cNvPr>
            <p:cNvSpPr txBox="1"/>
            <p:nvPr/>
          </p:nvSpPr>
          <p:spPr>
            <a:xfrm>
              <a:off x="4285500" y="1828800"/>
              <a:ext cx="3627006" cy="780589"/>
            </a:xfrm>
            <a:prstGeom prst="rect">
              <a:avLst/>
            </a:prstGeom>
          </p:spPr>
          <p:txBody>
            <a:bodyPr vert="horz" wrap="square" lIns="91440" tIns="72000" rIns="0" bIns="0" rtlCol="0">
              <a:spAutoFit/>
            </a:bodyPr>
            <a:lstStyle/>
            <a:p>
              <a:pPr marL="12700" marR="5080" lvl="0" indent="0" algn="l" defTabSz="4515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-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Resilience </a:t>
              </a:r>
              <a:br>
                <a:rPr kumimoji="0" lang="en-US" sz="1400" b="1" i="0" u="none" strike="noStrike" kern="1200" cap="none" spc="-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</a:br>
              <a:r>
                <a:rPr kumimoji="0" lang="de-DE" sz="1400" b="0" i="0" u="none" strike="noStrike" kern="1200" cap="none" spc="-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Schutz der Umwelt &amp; Wasserressourcen, Energie für zukünftige Generationen</a:t>
              </a:r>
              <a:endParaRPr kumimoji="0" lang="en-US" sz="1400" b="0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5" name="object 19">
              <a:extLst>
                <a:ext uri="{FF2B5EF4-FFF2-40B4-BE49-F238E27FC236}">
                  <a16:creationId xmlns:a16="http://schemas.microsoft.com/office/drawing/2014/main" id="{64F7F68F-CEA8-937D-2F42-E0D0BDC9C6D6}"/>
                </a:ext>
              </a:extLst>
            </p:cNvPr>
            <p:cNvSpPr txBox="1"/>
            <p:nvPr/>
          </p:nvSpPr>
          <p:spPr>
            <a:xfrm>
              <a:off x="8115300" y="1828800"/>
              <a:ext cx="3627006" cy="780589"/>
            </a:xfrm>
            <a:prstGeom prst="rect">
              <a:avLst/>
            </a:prstGeom>
          </p:spPr>
          <p:txBody>
            <a:bodyPr vert="horz" wrap="square" lIns="91440" tIns="72000" rIns="0" bIns="0" rtlCol="0">
              <a:spAutoFit/>
            </a:bodyPr>
            <a:lstStyle/>
            <a:p>
              <a:pPr marL="12700" marR="5080" lvl="0" indent="0" algn="l" defTabSz="4515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-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Mobility </a:t>
              </a:r>
              <a:br>
                <a:rPr kumimoji="0" lang="en-US" sz="1800" b="1" i="0" u="none" strike="noStrike" kern="1200" cap="none" spc="-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</a:br>
              <a:r>
                <a:rPr kumimoji="0" lang="de-DE" sz="1400" b="0" i="0" u="none" strike="noStrike" kern="1200" cap="none" spc="-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Gestaltung florierender und vernetzter </a:t>
              </a:r>
              <a:br>
                <a:rPr kumimoji="0" lang="de-DE" sz="1400" b="0" i="0" u="none" strike="noStrike" kern="1200" cap="none" spc="-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</a:br>
              <a:r>
                <a:rPr kumimoji="0" lang="de-DE" sz="1400" b="0" i="0" u="none" strike="noStrike" kern="1200" cap="none" spc="-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Städte und Gemeinden</a:t>
              </a:r>
              <a:endParaRPr kumimoji="0" lang="en-US" sz="1400" b="0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</p:grpSp>
      <p:sp>
        <p:nvSpPr>
          <p:cNvPr id="26" name="GER_Subtitle" hidden="1">
            <a:extLst>
              <a:ext uri="{FF2B5EF4-FFF2-40B4-BE49-F238E27FC236}">
                <a16:creationId xmlns:a16="http://schemas.microsoft.com/office/drawing/2014/main" id="{94D1D649-7258-EB7F-1AC4-9F1891CA9714}"/>
              </a:ext>
            </a:extLst>
          </p:cNvPr>
          <p:cNvSpPr txBox="1">
            <a:spLocks/>
          </p:cNvSpPr>
          <p:nvPr/>
        </p:nvSpPr>
        <p:spPr>
          <a:xfrm>
            <a:off x="478824" y="1350021"/>
            <a:ext cx="11255976" cy="478779"/>
          </a:xfrm>
        </p:spPr>
        <p:txBody>
          <a:bodyPr lIns="0" tIns="0" bIns="0">
            <a:noAutofit/>
          </a:bodyPr>
          <a:lstStyle>
            <a:lvl1pPr marL="0" indent="0" algn="l" defTabSz="98691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en-US" sz="2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86912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86912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86912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872115" algn="l"/>
              </a:tabLst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86912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14008" indent="-246728" algn="l" defTabSz="986912" rtl="0" eaLnBrk="1" latinLnBrk="0" hangingPunct="1">
              <a:lnSpc>
                <a:spcPct val="90000"/>
              </a:lnSpc>
              <a:spcBef>
                <a:spcPts val="540"/>
              </a:spcBef>
              <a:buFont typeface="Arial" panose="020B0604020202020204" pitchFamily="34" charset="0"/>
              <a:buChar char="•"/>
              <a:defRPr sz="19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7464" indent="-246728" algn="l" defTabSz="986912" rtl="0" eaLnBrk="1" latinLnBrk="0" hangingPunct="1">
              <a:lnSpc>
                <a:spcPct val="90000"/>
              </a:lnSpc>
              <a:spcBef>
                <a:spcPts val="540"/>
              </a:spcBef>
              <a:buFont typeface="Arial" panose="020B0604020202020204" pitchFamily="34" charset="0"/>
              <a:buChar char="•"/>
              <a:defRPr sz="19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00920" indent="-246728" algn="l" defTabSz="986912" rtl="0" eaLnBrk="1" latinLnBrk="0" hangingPunct="1">
              <a:lnSpc>
                <a:spcPct val="90000"/>
              </a:lnSpc>
              <a:spcBef>
                <a:spcPts val="540"/>
              </a:spcBef>
              <a:buFont typeface="Arial" panose="020B0604020202020204" pitchFamily="34" charset="0"/>
              <a:buChar char="•"/>
              <a:defRPr sz="19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94376" indent="-246728" algn="l" defTabSz="986912" rtl="0" eaLnBrk="1" latinLnBrk="0" hangingPunct="1">
              <a:lnSpc>
                <a:spcPct val="90000"/>
              </a:lnSpc>
              <a:spcBef>
                <a:spcPts val="540"/>
              </a:spcBef>
              <a:buFont typeface="Arial" panose="020B0604020202020204" pitchFamily="34" charset="0"/>
              <a:buChar char="•"/>
              <a:defRPr sz="19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8691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4610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100" b="0" i="0" u="none" strike="noStrike" kern="1200" cap="none" spc="0" normalizeH="0" baseline="0" noProof="0" err="1">
                <a:ln>
                  <a:noFill/>
                </a:ln>
                <a:solidFill>
                  <a:srgbClr val="0C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timaler</a:t>
            </a:r>
            <a:r>
              <a:rPr kumimoji="0" lang="en-US" sz="2100" b="0" i="0" u="none" strike="noStrike" kern="1200" cap="none" spc="0" normalizeH="0" baseline="0" noProof="0">
                <a:ln>
                  <a:noFill/>
                </a:ln>
                <a:solidFill>
                  <a:srgbClr val="0C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100" b="0" i="0" u="none" strike="noStrike" kern="1200" cap="none" spc="0" normalizeH="0" baseline="0" noProof="0" err="1">
                <a:ln>
                  <a:noFill/>
                </a:ln>
                <a:solidFill>
                  <a:srgbClr val="0C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ugang</a:t>
            </a:r>
            <a:r>
              <a:rPr kumimoji="0" lang="en-US" sz="2100" b="0" i="0" u="none" strike="noStrike" kern="1200" cap="none" spc="0" normalizeH="0" baseline="0" noProof="0">
                <a:ln>
                  <a:noFill/>
                </a:ln>
                <a:solidFill>
                  <a:srgbClr val="0C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100" b="0" i="0" u="none" strike="noStrike" kern="1200" cap="none" spc="0" normalizeH="0" baseline="0" noProof="0" err="1">
                <a:ln>
                  <a:noFill/>
                </a:ln>
                <a:solidFill>
                  <a:srgbClr val="0C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u</a:t>
            </a:r>
            <a:r>
              <a:rPr kumimoji="0" lang="en-US" sz="2100" b="0" i="0" u="none" strike="noStrike" kern="1200" cap="none" spc="0" normalizeH="0" baseline="0" noProof="0">
                <a:ln>
                  <a:noFill/>
                </a:ln>
                <a:solidFill>
                  <a:srgbClr val="0C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100" b="0" i="0" u="none" strike="noStrike" kern="1200" cap="none" spc="0" normalizeH="0" baseline="0" noProof="0" err="1">
                <a:ln>
                  <a:noFill/>
                </a:ln>
                <a:solidFill>
                  <a:srgbClr val="0C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seren</a:t>
            </a:r>
            <a:r>
              <a:rPr kumimoji="0" lang="en-US" sz="2100" b="0" i="0" u="none" strike="noStrike" kern="1200" cap="none" spc="0" normalizeH="0" baseline="0" noProof="0">
                <a:ln>
                  <a:noFill/>
                </a:ln>
                <a:solidFill>
                  <a:srgbClr val="0C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100" b="0" i="0" u="none" strike="noStrike" kern="1200" cap="none" spc="0" normalizeH="0" baseline="0" noProof="0" err="1">
                <a:ln>
                  <a:noFill/>
                </a:ln>
                <a:solidFill>
                  <a:srgbClr val="0C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ltweiten</a:t>
            </a:r>
            <a:r>
              <a:rPr kumimoji="0" lang="en-US" sz="2100" b="0" i="0" u="none" strike="noStrike" kern="1200" cap="none" spc="0" normalizeH="0" baseline="0" noProof="0">
                <a:ln>
                  <a:noFill/>
                </a:ln>
                <a:solidFill>
                  <a:srgbClr val="0C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Know-how, </a:t>
            </a:r>
            <a:r>
              <a:rPr kumimoji="0" lang="en-US" sz="2100" b="0" i="0" u="none" strike="noStrike" kern="1200" cap="none" spc="0" normalizeH="0" baseline="0" noProof="0" err="1">
                <a:ln>
                  <a:noFill/>
                </a:ln>
                <a:solidFill>
                  <a:srgbClr val="0C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ähigkeiten</a:t>
            </a:r>
            <a:r>
              <a:rPr kumimoji="0" lang="en-US" sz="2100" b="0" i="0" u="none" strike="noStrike" kern="1200" cap="none" spc="0" normalizeH="0" baseline="0" noProof="0">
                <a:ln>
                  <a:noFill/>
                </a:ln>
                <a:solidFill>
                  <a:srgbClr val="0C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und </a:t>
            </a:r>
            <a:r>
              <a:rPr kumimoji="0" lang="en-US" sz="2100" b="0" i="0" u="none" strike="noStrike" kern="1200" cap="none" spc="0" normalizeH="0" baseline="0" noProof="0" err="1">
                <a:ln>
                  <a:noFill/>
                </a:ln>
                <a:solidFill>
                  <a:srgbClr val="0C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rfahrung</a:t>
            </a:r>
            <a:endParaRPr kumimoji="0" lang="en-US" sz="2100" b="0" i="0" u="none" strike="noStrike" kern="1200" cap="none" spc="0" normalizeH="0" baseline="0" noProof="0">
              <a:ln>
                <a:noFill/>
              </a:ln>
              <a:solidFill>
                <a:srgbClr val="0C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BE76A33-DAE1-E85A-85D7-976C6A1C0374}"/>
              </a:ext>
            </a:extLst>
          </p:cNvPr>
          <p:cNvSpPr txBox="1">
            <a:spLocks/>
          </p:cNvSpPr>
          <p:nvPr/>
        </p:nvSpPr>
        <p:spPr>
          <a:xfrm>
            <a:off x="582724" y="457202"/>
            <a:ext cx="7580200" cy="482456"/>
          </a:xfrm>
          <a:prstGeom prst="rect">
            <a:avLst/>
          </a:prstGeom>
          <a:effectLst/>
        </p:spPr>
        <p:txBody>
          <a:bodyPr vert="horz" lIns="0" tIns="0" rIns="0" bIns="0" rtlCol="0" anchor="t">
            <a:normAutofit/>
          </a:bodyPr>
          <a:lstStyle>
            <a:lvl1pPr algn="l" defTabSz="98691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64" b="1" i="0" kern="1200">
                <a:solidFill>
                  <a:srgbClr val="0B0707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0" marR="0" lvl="0" indent="0" algn="l" defTabSz="986912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4610F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Digital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Twin Maturity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5F3593F-F6C6-1B64-D4DD-E0A7F43DE2C7}"/>
              </a:ext>
            </a:extLst>
          </p:cNvPr>
          <p:cNvCxnSpPr/>
          <p:nvPr/>
        </p:nvCxnSpPr>
        <p:spPr>
          <a:xfrm>
            <a:off x="387350" y="437952"/>
            <a:ext cx="0" cy="342898"/>
          </a:xfrm>
          <a:prstGeom prst="line">
            <a:avLst/>
          </a:prstGeom>
          <a:ln w="76200" cmpd="sng">
            <a:solidFill>
              <a:schemeClr val="accent1"/>
            </a:solidFill>
            <a:headEnd type="none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2" descr="University College Cork — Regional Admissions Counselors of California">
            <a:extLst>
              <a:ext uri="{FF2B5EF4-FFF2-40B4-BE49-F238E27FC236}">
                <a16:creationId xmlns:a16="http://schemas.microsoft.com/office/drawing/2014/main" id="{FD5F29C7-DF8F-F71A-ABDB-375D441FD5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55769" y="162382"/>
            <a:ext cx="918410" cy="918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6171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34946F-232A-EA0E-F891-D541F338F9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2">
            <a:extLst>
              <a:ext uri="{FF2B5EF4-FFF2-40B4-BE49-F238E27FC236}">
                <a16:creationId xmlns:a16="http://schemas.microsoft.com/office/drawing/2014/main" id="{A0A43E8D-1628-56CD-C972-65B29418346C}"/>
              </a:ext>
            </a:extLst>
          </p:cNvPr>
          <p:cNvSpPr txBox="1"/>
          <p:nvPr/>
        </p:nvSpPr>
        <p:spPr>
          <a:xfrm>
            <a:off x="487968" y="354769"/>
            <a:ext cx="539213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0411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-150" normalizeH="0" baseline="0" noProof="0" dirty="0">
                <a:ln>
                  <a:noFill/>
                </a:ln>
                <a:solidFill>
                  <a:srgbClr val="E46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gital </a:t>
            </a:r>
            <a:r>
              <a:rPr kumimoji="0" lang="en-US" sz="2400" b="1" i="0" u="none" strike="noStrike" kern="1200" cap="none" spc="-15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win Requirements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8CCBA7E-C009-B4ED-F916-A527629B2D0D}"/>
              </a:ext>
            </a:extLst>
          </p:cNvPr>
          <p:cNvSpPr txBox="1">
            <a:spLocks/>
          </p:cNvSpPr>
          <p:nvPr/>
        </p:nvSpPr>
        <p:spPr>
          <a:xfrm>
            <a:off x="224476" y="1040142"/>
            <a:ext cx="11785378" cy="4270925"/>
          </a:xfrm>
          <a:prstGeom prst="rect">
            <a:avLst/>
          </a:prstGeom>
        </p:spPr>
        <p:txBody>
          <a:bodyPr>
            <a:normAutofit/>
          </a:bodyPr>
          <a:lstStyle>
            <a:lvl1pPr marL="0">
              <a:defRPr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93202">
              <a:defRPr>
                <a:latin typeface="+mn-lt"/>
                <a:ea typeface="+mn-ea"/>
                <a:cs typeface="+mn-cs"/>
              </a:defRPr>
            </a:lvl2pPr>
            <a:lvl3pPr marL="586405">
              <a:defRPr>
                <a:latin typeface="+mn-lt"/>
                <a:ea typeface="+mn-ea"/>
                <a:cs typeface="+mn-cs"/>
              </a:defRPr>
            </a:lvl3pPr>
            <a:lvl4pPr marL="879607">
              <a:defRPr>
                <a:latin typeface="+mn-lt"/>
                <a:ea typeface="+mn-ea"/>
                <a:cs typeface="+mn-cs"/>
              </a:defRPr>
            </a:lvl4pPr>
            <a:lvl5pPr marL="1172809">
              <a:defRPr>
                <a:latin typeface="+mn-lt"/>
                <a:ea typeface="+mn-ea"/>
                <a:cs typeface="+mn-cs"/>
              </a:defRPr>
            </a:lvl5pPr>
            <a:lvl6pPr marL="1466012">
              <a:defRPr>
                <a:latin typeface="+mn-lt"/>
                <a:ea typeface="+mn-ea"/>
                <a:cs typeface="+mn-cs"/>
              </a:defRPr>
            </a:lvl6pPr>
            <a:lvl7pPr marL="1759214">
              <a:defRPr>
                <a:latin typeface="+mn-lt"/>
                <a:ea typeface="+mn-ea"/>
                <a:cs typeface="+mn-cs"/>
              </a:defRPr>
            </a:lvl7pPr>
            <a:lvl8pPr marL="2052417">
              <a:defRPr>
                <a:latin typeface="+mn-lt"/>
                <a:ea typeface="+mn-ea"/>
                <a:cs typeface="+mn-cs"/>
              </a:defRPr>
            </a:lvl8pPr>
            <a:lvl9pPr marL="2345619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kern="0" dirty="0">
                <a:solidFill>
                  <a:sysClr val="windowText" lastClr="000000"/>
                </a:solidFill>
              </a:rPr>
              <a:t>Bake governance into the digital twin by using secure, standards-based communication (e.g., OPC-UA/MQTT with encryption/SSL) and strong data management to protect IP while enforcing rigorous model validation that assesses uncertainty and consistency between model and data.</a:t>
            </a:r>
          </a:p>
        </p:txBody>
      </p:sp>
      <p:graphicFrame>
        <p:nvGraphicFramePr>
          <p:cNvPr id="14" name="Diagram 13">
            <a:extLst>
              <a:ext uri="{FF2B5EF4-FFF2-40B4-BE49-F238E27FC236}">
                <a16:creationId xmlns:a16="http://schemas.microsoft.com/office/drawing/2014/main" id="{54EB304C-CE91-5D32-9B37-40B3D97932D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49455625"/>
              </p:ext>
            </p:extLst>
          </p:nvPr>
        </p:nvGraphicFramePr>
        <p:xfrm>
          <a:off x="1616461" y="2232306"/>
          <a:ext cx="7794240" cy="42709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CF2209AC-3E91-C7D1-6C05-C7C02990DBAE}"/>
              </a:ext>
            </a:extLst>
          </p:cNvPr>
          <p:cNvSpPr txBox="1">
            <a:spLocks/>
          </p:cNvSpPr>
          <p:nvPr/>
        </p:nvSpPr>
        <p:spPr>
          <a:xfrm>
            <a:off x="8257758" y="4841977"/>
            <a:ext cx="2544928" cy="728382"/>
          </a:xfrm>
          <a:prstGeom prst="rect">
            <a:avLst/>
          </a:prstGeom>
        </p:spPr>
        <p:txBody>
          <a:bodyPr>
            <a:noAutofit/>
          </a:bodyPr>
          <a:lstStyle>
            <a:lvl1pPr marL="0">
              <a:defRPr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93202">
              <a:defRPr>
                <a:latin typeface="+mn-lt"/>
                <a:ea typeface="+mn-ea"/>
                <a:cs typeface="+mn-cs"/>
              </a:defRPr>
            </a:lvl2pPr>
            <a:lvl3pPr marL="586405">
              <a:defRPr>
                <a:latin typeface="+mn-lt"/>
                <a:ea typeface="+mn-ea"/>
                <a:cs typeface="+mn-cs"/>
              </a:defRPr>
            </a:lvl3pPr>
            <a:lvl4pPr marL="879607">
              <a:defRPr>
                <a:latin typeface="+mn-lt"/>
                <a:ea typeface="+mn-ea"/>
                <a:cs typeface="+mn-cs"/>
              </a:defRPr>
            </a:lvl4pPr>
            <a:lvl5pPr marL="1172809">
              <a:defRPr>
                <a:latin typeface="+mn-lt"/>
                <a:ea typeface="+mn-ea"/>
                <a:cs typeface="+mn-cs"/>
              </a:defRPr>
            </a:lvl5pPr>
            <a:lvl6pPr marL="1466012">
              <a:defRPr>
                <a:latin typeface="+mn-lt"/>
                <a:ea typeface="+mn-ea"/>
                <a:cs typeface="+mn-cs"/>
              </a:defRPr>
            </a:lvl6pPr>
            <a:lvl7pPr marL="1759214">
              <a:defRPr>
                <a:latin typeface="+mn-lt"/>
                <a:ea typeface="+mn-ea"/>
                <a:cs typeface="+mn-cs"/>
              </a:defRPr>
            </a:lvl7pPr>
            <a:lvl8pPr marL="2052417">
              <a:defRPr>
                <a:latin typeface="+mn-lt"/>
                <a:ea typeface="+mn-ea"/>
                <a:cs typeface="+mn-cs"/>
              </a:defRPr>
            </a:lvl8pPr>
            <a:lvl9pPr marL="2345619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b="1" kern="0" dirty="0">
                <a:solidFill>
                  <a:sysClr val="windowText" lastClr="000000"/>
                </a:solidFill>
              </a:rPr>
              <a:t>Reliable sensors/ actuators for CQAs &amp; CPP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016B230D-6B24-DA1B-1184-1FDBF2E76FA3}"/>
              </a:ext>
            </a:extLst>
          </p:cNvPr>
          <p:cNvSpPr txBox="1">
            <a:spLocks/>
          </p:cNvSpPr>
          <p:nvPr/>
        </p:nvSpPr>
        <p:spPr>
          <a:xfrm>
            <a:off x="1040731" y="4490753"/>
            <a:ext cx="3156648" cy="930731"/>
          </a:xfrm>
          <a:prstGeom prst="rect">
            <a:avLst/>
          </a:prstGeom>
        </p:spPr>
        <p:txBody>
          <a:bodyPr>
            <a:noAutofit/>
          </a:bodyPr>
          <a:lstStyle>
            <a:lvl1pPr marL="0">
              <a:defRPr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93202">
              <a:defRPr>
                <a:latin typeface="+mn-lt"/>
                <a:ea typeface="+mn-ea"/>
                <a:cs typeface="+mn-cs"/>
              </a:defRPr>
            </a:lvl2pPr>
            <a:lvl3pPr marL="586405">
              <a:defRPr>
                <a:latin typeface="+mn-lt"/>
                <a:ea typeface="+mn-ea"/>
                <a:cs typeface="+mn-cs"/>
              </a:defRPr>
            </a:lvl3pPr>
            <a:lvl4pPr marL="879607">
              <a:defRPr>
                <a:latin typeface="+mn-lt"/>
                <a:ea typeface="+mn-ea"/>
                <a:cs typeface="+mn-cs"/>
              </a:defRPr>
            </a:lvl4pPr>
            <a:lvl5pPr marL="1172809">
              <a:defRPr>
                <a:latin typeface="+mn-lt"/>
                <a:ea typeface="+mn-ea"/>
                <a:cs typeface="+mn-cs"/>
              </a:defRPr>
            </a:lvl5pPr>
            <a:lvl6pPr marL="1466012">
              <a:defRPr>
                <a:latin typeface="+mn-lt"/>
                <a:ea typeface="+mn-ea"/>
                <a:cs typeface="+mn-cs"/>
              </a:defRPr>
            </a:lvl6pPr>
            <a:lvl7pPr marL="1759214">
              <a:defRPr>
                <a:latin typeface="+mn-lt"/>
                <a:ea typeface="+mn-ea"/>
                <a:cs typeface="+mn-cs"/>
              </a:defRPr>
            </a:lvl7pPr>
            <a:lvl8pPr marL="2052417">
              <a:defRPr>
                <a:latin typeface="+mn-lt"/>
                <a:ea typeface="+mn-ea"/>
                <a:cs typeface="+mn-cs"/>
              </a:defRPr>
            </a:lvl8pPr>
            <a:lvl9pPr marL="2345619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b="1" kern="0" dirty="0">
                <a:solidFill>
                  <a:sysClr val="windowText" lastClr="000000"/>
                </a:solidFill>
              </a:rPr>
              <a:t>Historians, interfaces (e.g., OPC UA/MQTT), cloud/edge option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A3E14989-AFFE-4E57-5624-6C71D023D91E}"/>
              </a:ext>
            </a:extLst>
          </p:cNvPr>
          <p:cNvSpPr txBox="1">
            <a:spLocks/>
          </p:cNvSpPr>
          <p:nvPr/>
        </p:nvSpPr>
        <p:spPr>
          <a:xfrm>
            <a:off x="6589652" y="2232306"/>
            <a:ext cx="3040796" cy="1452609"/>
          </a:xfrm>
          <a:prstGeom prst="rect">
            <a:avLst/>
          </a:prstGeom>
        </p:spPr>
        <p:txBody>
          <a:bodyPr>
            <a:noAutofit/>
          </a:bodyPr>
          <a:lstStyle>
            <a:lvl1pPr marL="0">
              <a:defRPr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93202">
              <a:defRPr>
                <a:latin typeface="+mn-lt"/>
                <a:ea typeface="+mn-ea"/>
                <a:cs typeface="+mn-cs"/>
              </a:defRPr>
            </a:lvl2pPr>
            <a:lvl3pPr marL="586405">
              <a:defRPr>
                <a:latin typeface="+mn-lt"/>
                <a:ea typeface="+mn-ea"/>
                <a:cs typeface="+mn-cs"/>
              </a:defRPr>
            </a:lvl3pPr>
            <a:lvl4pPr marL="879607">
              <a:defRPr>
                <a:latin typeface="+mn-lt"/>
                <a:ea typeface="+mn-ea"/>
                <a:cs typeface="+mn-cs"/>
              </a:defRPr>
            </a:lvl4pPr>
            <a:lvl5pPr marL="1172809">
              <a:defRPr>
                <a:latin typeface="+mn-lt"/>
                <a:ea typeface="+mn-ea"/>
                <a:cs typeface="+mn-cs"/>
              </a:defRPr>
            </a:lvl5pPr>
            <a:lvl6pPr marL="1466012">
              <a:defRPr>
                <a:latin typeface="+mn-lt"/>
                <a:ea typeface="+mn-ea"/>
                <a:cs typeface="+mn-cs"/>
              </a:defRPr>
            </a:lvl6pPr>
            <a:lvl7pPr marL="1759214">
              <a:defRPr>
                <a:latin typeface="+mn-lt"/>
                <a:ea typeface="+mn-ea"/>
                <a:cs typeface="+mn-cs"/>
              </a:defRPr>
            </a:lvl7pPr>
            <a:lvl8pPr marL="2052417">
              <a:defRPr>
                <a:latin typeface="+mn-lt"/>
                <a:ea typeface="+mn-ea"/>
                <a:cs typeface="+mn-cs"/>
              </a:defRPr>
            </a:lvl8pPr>
            <a:lvl9pPr marL="2345619">
              <a:defRPr>
                <a:latin typeface="+mn-lt"/>
                <a:ea typeface="+mn-ea"/>
                <a:cs typeface="+mn-cs"/>
              </a:defRPr>
            </a:lvl9pPr>
          </a:lstStyle>
          <a:p>
            <a:endParaRPr lang="en-GB" sz="2000" b="1" kern="0" dirty="0">
              <a:solidFill>
                <a:sysClr val="windowText" lastClr="000000"/>
              </a:solidFill>
            </a:endParaRPr>
          </a:p>
          <a:p>
            <a:r>
              <a:rPr lang="en-GB" sz="2000" b="1" kern="0" dirty="0">
                <a:solidFill>
                  <a:sysClr val="windowText" lastClr="000000"/>
                </a:solidFill>
              </a:rPr>
              <a:t>Validated &amp; under change control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34BC98A0-3105-BFBE-3048-EDD273776C7E}"/>
              </a:ext>
            </a:extLst>
          </p:cNvPr>
          <p:cNvCxnSpPr/>
          <p:nvPr/>
        </p:nvCxnSpPr>
        <p:spPr>
          <a:xfrm>
            <a:off x="387350" y="437952"/>
            <a:ext cx="0" cy="342898"/>
          </a:xfrm>
          <a:prstGeom prst="line">
            <a:avLst/>
          </a:prstGeom>
          <a:ln w="76200" cmpd="sng">
            <a:solidFill>
              <a:schemeClr val="accent2"/>
            </a:solidFill>
            <a:headEnd type="none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University College Cork — Regional Admissions Counselors of California">
            <a:extLst>
              <a:ext uri="{FF2B5EF4-FFF2-40B4-BE49-F238E27FC236}">
                <a16:creationId xmlns:a16="http://schemas.microsoft.com/office/drawing/2014/main" id="{C7E0C23A-22DE-550D-2702-00F8FA984E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243" y="9878"/>
            <a:ext cx="918410" cy="918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029457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11040E9-3C2F-E818-87F4-0ED788AA33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erson looking at a city&#10;&#10;Description automatically generated">
            <a:extLst>
              <a:ext uri="{FF2B5EF4-FFF2-40B4-BE49-F238E27FC236}">
                <a16:creationId xmlns:a16="http://schemas.microsoft.com/office/drawing/2014/main" id="{38E273FC-FE6C-428A-52F3-D4E7E88351F5}"/>
              </a:ext>
            </a:extLst>
          </p:cNvPr>
          <p:cNvPicPr/>
          <p:nvPr/>
        </p:nvPicPr>
        <p:blipFill rotWithShape="1"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468" r="9775" b="-307"/>
          <a:stretch/>
        </p:blipFill>
        <p:spPr>
          <a:xfrm>
            <a:off x="1" y="-23505"/>
            <a:ext cx="12191999" cy="6858001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4851CB61-701F-9093-7CB2-8C5C3E3E7F32}"/>
              </a:ext>
            </a:extLst>
          </p:cNvPr>
          <p:cNvSpPr/>
          <p:nvPr/>
        </p:nvSpPr>
        <p:spPr>
          <a:xfrm rot="5400000">
            <a:off x="1765301" y="-1741795"/>
            <a:ext cx="6858000" cy="10388599"/>
          </a:xfrm>
          <a:prstGeom prst="rect">
            <a:avLst/>
          </a:prstGeom>
          <a:gradFill flip="none" rotWithShape="1">
            <a:gsLst>
              <a:gs pos="64000">
                <a:srgbClr val="0B0707">
                  <a:alpha val="23000"/>
                </a:srgbClr>
              </a:gs>
              <a:gs pos="0">
                <a:schemeClr val="accent1">
                  <a:lumMod val="0"/>
                  <a:alpha val="0"/>
                </a:schemeClr>
              </a:gs>
              <a:gs pos="100000">
                <a:schemeClr val="tx1">
                  <a:lumMod val="0"/>
                  <a:alpha val="66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H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object 4">
            <a:extLst>
              <a:ext uri="{FF2B5EF4-FFF2-40B4-BE49-F238E27FC236}">
                <a16:creationId xmlns:a16="http://schemas.microsoft.com/office/drawing/2014/main" id="{CDB14D04-3293-F05F-47BE-7016BEF3D21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 rot="16200000">
            <a:off x="-1625579" y="2843420"/>
            <a:ext cx="4283810" cy="623778"/>
          </a:xfrm>
          <a:prstGeom prst="rect">
            <a:avLst/>
          </a:prstGeom>
        </p:spPr>
        <p:txBody>
          <a:bodyPr vert="horz" wrap="square" lIns="0" tIns="8145" rIns="0" bIns="0" rtlCol="0">
            <a:spAutoFit/>
          </a:bodyPr>
          <a:lstStyle/>
          <a:p>
            <a:pPr marL="8145" algn="r">
              <a:spcBef>
                <a:spcPts val="64"/>
              </a:spcBef>
            </a:pPr>
            <a:r>
              <a:rPr lang="en-GB" sz="4000" spc="-125" dirty="0">
                <a:latin typeface="+mn-lt"/>
              </a:rPr>
              <a:t>Agenda </a:t>
            </a:r>
            <a:endParaRPr lang="en-GB" sz="4000" dirty="0">
              <a:latin typeface="+mn-lt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665FB4E7-5E05-30CD-100C-AACB8A1C9671}"/>
              </a:ext>
            </a:extLst>
          </p:cNvPr>
          <p:cNvGraphicFramePr>
            <a:graphicFrameLocks noGrp="1"/>
          </p:cNvGraphicFramePr>
          <p:nvPr/>
        </p:nvGraphicFramePr>
        <p:xfrm>
          <a:off x="1082070" y="1013404"/>
          <a:ext cx="9872274" cy="47841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0409">
                  <a:extLst>
                    <a:ext uri="{9D8B030D-6E8A-4147-A177-3AD203B41FA5}">
                      <a16:colId xmlns:a16="http://schemas.microsoft.com/office/drawing/2014/main" val="22049527"/>
                    </a:ext>
                  </a:extLst>
                </a:gridCol>
                <a:gridCol w="8811865">
                  <a:extLst>
                    <a:ext uri="{9D8B030D-6E8A-4147-A177-3AD203B41FA5}">
                      <a16:colId xmlns:a16="http://schemas.microsoft.com/office/drawing/2014/main" val="364226651"/>
                    </a:ext>
                  </a:extLst>
                </a:gridCol>
              </a:tblGrid>
              <a:tr h="792245">
                <a:tc>
                  <a:txBody>
                    <a:bodyPr/>
                    <a:lstStyle/>
                    <a:p>
                      <a:pPr marL="814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4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14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4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ealth and safety momen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8587246"/>
                  </a:ext>
                </a:extLst>
              </a:tr>
              <a:tr h="792245">
                <a:tc>
                  <a:txBody>
                    <a:bodyPr/>
                    <a:lstStyle/>
                    <a:p>
                      <a:pPr marL="814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4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2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14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4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400" b="1" i="0" u="none" strike="noStrike" kern="0" cap="none" spc="-29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Why QbD still matters </a:t>
                      </a:r>
                      <a:endParaRPr kumimoji="0" lang="en-GB" sz="2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138673"/>
                  </a:ext>
                </a:extLst>
              </a:tr>
              <a:tr h="79224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cs typeface="Arial" panose="020B0604020202020204" pitchFamily="34" charset="0"/>
                        </a:rPr>
                        <a:t>03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cs typeface="Arial" panose="020B0604020202020204" pitchFamily="34" charset="0"/>
                        </a:rPr>
                        <a:t>The modelling toolbo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9879127"/>
                  </a:ext>
                </a:extLst>
              </a:tr>
              <a:tr h="792245">
                <a:tc>
                  <a:txBody>
                    <a:bodyPr/>
                    <a:lstStyle/>
                    <a:p>
                      <a:r>
                        <a:rPr lang="en-GB" sz="2400" b="1" dirty="0">
                          <a:solidFill>
                            <a:schemeClr val="bg1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2400" b="1" dirty="0">
                          <a:solidFill>
                            <a:schemeClr val="bg1"/>
                          </a:solidFill>
                          <a:latin typeface="+mn-lt"/>
                        </a:rPr>
                        <a:t>Data infrastructure: PAT, soft sensors &amp; instrumentati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8907518"/>
                  </a:ext>
                </a:extLst>
              </a:tr>
              <a:tr h="706280">
                <a:tc>
                  <a:txBody>
                    <a:bodyPr/>
                    <a:lstStyle/>
                    <a:p>
                      <a:r>
                        <a:rPr lang="en-GB" sz="2400" b="1" dirty="0">
                          <a:solidFill>
                            <a:schemeClr val="bg1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2400" b="1" dirty="0">
                          <a:solidFill>
                            <a:schemeClr val="bg1"/>
                          </a:solidFill>
                          <a:latin typeface="+mn-lt"/>
                        </a:rPr>
                        <a:t>Digital twin readiness: model (static) → shadow (live) → twin (interactive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6050538"/>
                  </a:ext>
                </a:extLst>
              </a:tr>
              <a:tr h="792245">
                <a:tc>
                  <a:txBody>
                    <a:bodyPr/>
                    <a:lstStyle/>
                    <a:p>
                      <a:r>
                        <a:rPr lang="en-GB" sz="2400" b="1" dirty="0">
                          <a:solidFill>
                            <a:schemeClr val="bg1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2400" b="1" dirty="0">
                          <a:solidFill>
                            <a:schemeClr val="bg1"/>
                          </a:solidFill>
                          <a:latin typeface="+mn-lt"/>
                        </a:rPr>
                        <a:t>A staged roadmap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6157133"/>
                  </a:ext>
                </a:extLst>
              </a:tr>
            </a:tbl>
          </a:graphicData>
        </a:graphic>
      </p:graphicFrame>
      <p:pic>
        <p:nvPicPr>
          <p:cNvPr id="5" name="Picture 4" descr="A white letters on a black background&#10;&#10;Description automatically generated">
            <a:extLst>
              <a:ext uri="{FF2B5EF4-FFF2-40B4-BE49-F238E27FC236}">
                <a16:creationId xmlns:a16="http://schemas.microsoft.com/office/drawing/2014/main" id="{06AEE43B-CF4E-941B-D1A5-D7B35E6BE846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4223" y="460187"/>
            <a:ext cx="1626671" cy="24841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1F400F6-D01B-DA79-2A13-2C1748F4ACB9}"/>
              </a:ext>
            </a:extLst>
          </p:cNvPr>
          <p:cNvSpPr/>
          <p:nvPr/>
        </p:nvSpPr>
        <p:spPr>
          <a:xfrm>
            <a:off x="1032651" y="5007525"/>
            <a:ext cx="4429657" cy="579377"/>
          </a:xfrm>
          <a:prstGeom prst="rect">
            <a:avLst/>
          </a:prstGeom>
          <a:noFill/>
          <a:ln w="539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704120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D2F404-41D8-DDF5-DEB0-8C4A4C4EB6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A6CD9F7B-F9DA-A590-9C9E-E2EE308BB67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7148739"/>
              </p:ext>
            </p:extLst>
          </p:nvPr>
        </p:nvGraphicFramePr>
        <p:xfrm>
          <a:off x="482442" y="1308385"/>
          <a:ext cx="11033531" cy="507887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316258">
                  <a:extLst>
                    <a:ext uri="{9D8B030D-6E8A-4147-A177-3AD203B41FA5}">
                      <a16:colId xmlns:a16="http://schemas.microsoft.com/office/drawing/2014/main" val="3917775741"/>
                    </a:ext>
                  </a:extLst>
                </a:gridCol>
                <a:gridCol w="2097155">
                  <a:extLst>
                    <a:ext uri="{9D8B030D-6E8A-4147-A177-3AD203B41FA5}">
                      <a16:colId xmlns:a16="http://schemas.microsoft.com/office/drawing/2014/main" val="2944790416"/>
                    </a:ext>
                  </a:extLst>
                </a:gridCol>
                <a:gridCol w="2206706">
                  <a:extLst>
                    <a:ext uri="{9D8B030D-6E8A-4147-A177-3AD203B41FA5}">
                      <a16:colId xmlns:a16="http://schemas.microsoft.com/office/drawing/2014/main" val="1803802739"/>
                    </a:ext>
                  </a:extLst>
                </a:gridCol>
                <a:gridCol w="2206706">
                  <a:extLst>
                    <a:ext uri="{9D8B030D-6E8A-4147-A177-3AD203B41FA5}">
                      <a16:colId xmlns:a16="http://schemas.microsoft.com/office/drawing/2014/main" val="741866020"/>
                    </a:ext>
                  </a:extLst>
                </a:gridCol>
                <a:gridCol w="2206706">
                  <a:extLst>
                    <a:ext uri="{9D8B030D-6E8A-4147-A177-3AD203B41FA5}">
                      <a16:colId xmlns:a16="http://schemas.microsoft.com/office/drawing/2014/main" val="558630207"/>
                    </a:ext>
                  </a:extLst>
                </a:gridCol>
              </a:tblGrid>
              <a:tr h="481158">
                <a:tc>
                  <a:txBody>
                    <a:bodyPr/>
                    <a:lstStyle/>
                    <a:p>
                      <a:pPr algn="ctr"/>
                      <a:r>
                        <a:rPr lang="en-IE" sz="1600" dirty="0"/>
                        <a:t>Stage 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E" sz="1600" dirty="0"/>
                        <a:t>Stage 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E" sz="1600" dirty="0"/>
                        <a:t>Stage 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869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E" sz="1600" dirty="0"/>
                        <a:t>Stage 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869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E" sz="1600" dirty="0"/>
                        <a:t>Stage 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08017422"/>
                  </a:ext>
                </a:extLst>
              </a:tr>
              <a:tr h="4597716">
                <a:tc>
                  <a:txBody>
                    <a:bodyPr/>
                    <a:lstStyle/>
                    <a:p>
                      <a:endParaRPr lang="en-IE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IE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IE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IE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IE" b="1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2766632"/>
                  </a:ext>
                </a:extLst>
              </a:tr>
            </a:tbl>
          </a:graphicData>
        </a:graphic>
      </p:graphicFrame>
      <p:sp>
        <p:nvSpPr>
          <p:cNvPr id="23" name="AutoShape 8">
            <a:extLst>
              <a:ext uri="{FF2B5EF4-FFF2-40B4-BE49-F238E27FC236}">
                <a16:creationId xmlns:a16="http://schemas.microsoft.com/office/drawing/2014/main" id="{EE70760E-0892-F98D-E849-53FF7728B1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24650" y="3635286"/>
            <a:ext cx="2204698" cy="765656"/>
          </a:xfrm>
          <a:prstGeom prst="homePlate">
            <a:avLst>
              <a:gd name="adj" fmla="val 39730"/>
            </a:avLst>
          </a:prstGeom>
          <a:solidFill>
            <a:schemeClr val="accent2">
              <a:lumMod val="75000"/>
            </a:schemeClr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wrap="square" lIns="137160" tIns="45720" rIns="30784" bIns="45720" anchor="ctr"/>
          <a:lstStyle/>
          <a:p>
            <a:pPr algn="ctr" defTabSz="781903"/>
            <a:r>
              <a:rPr lang="de-DE" sz="1400" b="1" dirty="0">
                <a:solidFill>
                  <a:srgbClr val="FFFFFF"/>
                </a:solidFill>
              </a:rPr>
              <a:t>Shadow → Selective Twin</a:t>
            </a:r>
          </a:p>
        </p:txBody>
      </p:sp>
      <p:sp>
        <p:nvSpPr>
          <p:cNvPr id="21" name="AutoShape 9">
            <a:extLst>
              <a:ext uri="{FF2B5EF4-FFF2-40B4-BE49-F238E27FC236}">
                <a16:creationId xmlns:a16="http://schemas.microsoft.com/office/drawing/2014/main" id="{E208351C-AD8A-19B0-97F3-02427387D1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58763" y="2758431"/>
            <a:ext cx="2400745" cy="779527"/>
          </a:xfrm>
          <a:prstGeom prst="homePlate">
            <a:avLst>
              <a:gd name="adj" fmla="val 38674"/>
            </a:avLst>
          </a:prstGeom>
          <a:solidFill>
            <a:schemeClr val="accent2">
              <a:lumMod val="75000"/>
            </a:schemeClr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wrap="square" lIns="137160" tIns="45720" rIns="30784" bIns="45720" anchor="ctr"/>
          <a:lstStyle/>
          <a:p>
            <a:pPr lvl="0" algn="ctr" defTabSz="781903">
              <a:defRPr/>
            </a:pPr>
            <a:r>
              <a:rPr lang="de-DE" sz="1400" b="1" dirty="0">
                <a:solidFill>
                  <a:srgbClr val="FFFFFF"/>
                </a:solidFill>
              </a:rPr>
              <a:t>Instrument for Information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C080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6C6FAF79-EDD5-09AD-DA8B-048065BFF04D}"/>
              </a:ext>
            </a:extLst>
          </p:cNvPr>
          <p:cNvSpPr txBox="1">
            <a:spLocks/>
          </p:cNvSpPr>
          <p:nvPr/>
        </p:nvSpPr>
        <p:spPr>
          <a:xfrm>
            <a:off x="588579" y="471482"/>
            <a:ext cx="11277600" cy="332508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8691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8691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j-ea"/>
                <a:cs typeface="+mj-cs"/>
              </a:rPr>
              <a:t>A staged 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roadmap</a:t>
            </a:r>
          </a:p>
        </p:txBody>
      </p:sp>
      <p:sp>
        <p:nvSpPr>
          <p:cNvPr id="18" name="AutoShape 10">
            <a:extLst>
              <a:ext uri="{FF2B5EF4-FFF2-40B4-BE49-F238E27FC236}">
                <a16:creationId xmlns:a16="http://schemas.microsoft.com/office/drawing/2014/main" id="{3471DB6B-EE7F-F142-4829-13B09524FE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8579" y="1946105"/>
            <a:ext cx="4344402" cy="765656"/>
          </a:xfrm>
          <a:prstGeom prst="homePlate">
            <a:avLst>
              <a:gd name="adj" fmla="val 38468"/>
            </a:avLst>
          </a:prstGeom>
          <a:solidFill>
            <a:schemeClr val="accent1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wrap="square" lIns="252000" tIns="45720" rIns="91440" bIns="45720" anchor="ctr"/>
          <a:lstStyle/>
          <a:p>
            <a:pPr algn="ctr" defTabSz="781903">
              <a:defRPr/>
            </a:pPr>
            <a:r>
              <a:rPr lang="de-DE" sz="1400" b="1" dirty="0">
                <a:solidFill>
                  <a:srgbClr val="FFFFFF"/>
                </a:solidFill>
              </a:rPr>
              <a:t>QTPP → draft CQAs &amp; Build first model</a:t>
            </a:r>
            <a:endParaRPr kumimoji="0" lang="de-DE" sz="1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5" name="Oval 60">
            <a:extLst>
              <a:ext uri="{FF2B5EF4-FFF2-40B4-BE49-F238E27FC236}">
                <a16:creationId xmlns:a16="http://schemas.microsoft.com/office/drawing/2014/main" id="{F9940C5F-C36A-DE03-AADA-258626CBA0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2442" y="1708994"/>
            <a:ext cx="647413" cy="646162"/>
          </a:xfrm>
          <a:prstGeom prst="ellipse">
            <a:avLst/>
          </a:prstGeom>
          <a:solidFill>
            <a:schemeClr val="tx1"/>
          </a:solidFill>
          <a:ln w="2857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7819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68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 &amp; 2</a:t>
            </a:r>
          </a:p>
        </p:txBody>
      </p:sp>
      <p:sp>
        <p:nvSpPr>
          <p:cNvPr id="26" name="Oval 61">
            <a:extLst>
              <a:ext uri="{FF2B5EF4-FFF2-40B4-BE49-F238E27FC236}">
                <a16:creationId xmlns:a16="http://schemas.microsoft.com/office/drawing/2014/main" id="{DB96147E-50C0-45C0-8EFC-0ECC1252BC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8182" y="2525025"/>
            <a:ext cx="350936" cy="350258"/>
          </a:xfrm>
          <a:prstGeom prst="ellipse">
            <a:avLst/>
          </a:prstGeom>
          <a:solidFill>
            <a:schemeClr val="tx1"/>
          </a:solidFill>
          <a:ln w="2857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7819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368" b="1" dirty="0">
                <a:solidFill>
                  <a:srgbClr val="FFFFFF"/>
                </a:solidFill>
                <a:latin typeface="Arial"/>
              </a:rPr>
              <a:t>3</a:t>
            </a:r>
            <a:endParaRPr kumimoji="0" lang="en-GB" sz="1368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Oval 62">
            <a:extLst>
              <a:ext uri="{FF2B5EF4-FFF2-40B4-BE49-F238E27FC236}">
                <a16:creationId xmlns:a16="http://schemas.microsoft.com/office/drawing/2014/main" id="{FD59ACB5-C107-581C-2966-53F014EC67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84040" y="3460157"/>
            <a:ext cx="350936" cy="350258"/>
          </a:xfrm>
          <a:prstGeom prst="ellipse">
            <a:avLst/>
          </a:prstGeom>
          <a:solidFill>
            <a:schemeClr val="tx1"/>
          </a:solidFill>
          <a:ln w="2857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7819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68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</a:p>
        </p:txBody>
      </p:sp>
      <p:sp>
        <p:nvSpPr>
          <p:cNvPr id="87" name="AutoShape 8">
            <a:extLst>
              <a:ext uri="{FF2B5EF4-FFF2-40B4-BE49-F238E27FC236}">
                <a16:creationId xmlns:a16="http://schemas.microsoft.com/office/drawing/2014/main" id="{80B7769D-17A2-597C-7D0C-9650C2633F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89902" y="4239013"/>
            <a:ext cx="2363919" cy="765656"/>
          </a:xfrm>
          <a:prstGeom prst="homePlate">
            <a:avLst>
              <a:gd name="adj" fmla="val 39730"/>
            </a:avLst>
          </a:prstGeom>
          <a:solidFill>
            <a:schemeClr val="accent2">
              <a:lumMod val="75000"/>
            </a:schemeClr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wrap="square" lIns="137160" tIns="45720" rIns="30784" bIns="45720" anchor="ctr"/>
          <a:lstStyle/>
          <a:p>
            <a:pPr algn="ctr" defTabSz="781903"/>
            <a:r>
              <a:rPr lang="en-GB" sz="1400" b="1" dirty="0">
                <a:solidFill>
                  <a:srgbClr val="FFFFFF"/>
                </a:solidFill>
              </a:rPr>
              <a:t>Industrialise &amp; Scale</a:t>
            </a: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88" name="Oval 62">
            <a:extLst>
              <a:ext uri="{FF2B5EF4-FFF2-40B4-BE49-F238E27FC236}">
                <a16:creationId xmlns:a16="http://schemas.microsoft.com/office/drawing/2014/main" id="{78A6C206-A5D7-559B-B9C2-C5D53E2F73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94262" y="4082560"/>
            <a:ext cx="350936" cy="350258"/>
          </a:xfrm>
          <a:prstGeom prst="ellipse">
            <a:avLst/>
          </a:prstGeom>
          <a:solidFill>
            <a:schemeClr val="tx1"/>
          </a:solidFill>
          <a:ln w="2857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7819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68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DAD269D-C5FB-71FA-5C05-21B011E6AA0D}"/>
              </a:ext>
            </a:extLst>
          </p:cNvPr>
          <p:cNvSpPr txBox="1"/>
          <p:nvPr/>
        </p:nvSpPr>
        <p:spPr>
          <a:xfrm>
            <a:off x="498404" y="2798049"/>
            <a:ext cx="400026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dirty="0"/>
              <a:t>The QTPP is used to draft CQAs, and a first mechanistic and empirical model is built and validated with explicit uncertainty.</a:t>
            </a:r>
          </a:p>
        </p:txBody>
      </p:sp>
      <p:pic>
        <p:nvPicPr>
          <p:cNvPr id="3" name="Picture 2" descr="University College Cork — Regional Admissions Counselors of California">
            <a:extLst>
              <a:ext uri="{FF2B5EF4-FFF2-40B4-BE49-F238E27FC236}">
                <a16:creationId xmlns:a16="http://schemas.microsoft.com/office/drawing/2014/main" id="{E6488CE4-2780-AB9E-6181-B16A116D9A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55769" y="150350"/>
            <a:ext cx="918410" cy="918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A60D7C4-696A-5CC5-302A-7A98870979A7}"/>
              </a:ext>
            </a:extLst>
          </p:cNvPr>
          <p:cNvSpPr txBox="1"/>
          <p:nvPr/>
        </p:nvSpPr>
        <p:spPr>
          <a:xfrm>
            <a:off x="7185728" y="2180031"/>
            <a:ext cx="205913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dirty="0"/>
              <a:t>Live operation is connected as a digital shadow to enable forecasts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0BF0F9D-15BA-47A5-C3EC-8B10DDE5AE7D}"/>
              </a:ext>
            </a:extLst>
          </p:cNvPr>
          <p:cNvSpPr txBox="1"/>
          <p:nvPr/>
        </p:nvSpPr>
        <p:spPr>
          <a:xfrm>
            <a:off x="4819895" y="3615636"/>
            <a:ext cx="2239385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dirty="0"/>
              <a:t>Soft sensors fused via Kalman, targeted spectroscopy, and free-floating probes may be added, supported by a lean data pipeline and model registry.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339220F-AB65-0CE2-BFC4-19D589FDC35F}"/>
              </a:ext>
            </a:extLst>
          </p:cNvPr>
          <p:cNvSpPr txBox="1"/>
          <p:nvPr/>
        </p:nvSpPr>
        <p:spPr>
          <a:xfrm>
            <a:off x="9294490" y="1899797"/>
            <a:ext cx="2363919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dirty="0"/>
              <a:t>Integrate with plant systems (SCADA/ DCS, PI historians) and live data streams, standardize secure comms (OPC-UA/ MQTT with encryption.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A3A046EA-AF55-0C0B-5C52-EA65025B6171}"/>
              </a:ext>
            </a:extLst>
          </p:cNvPr>
          <p:cNvCxnSpPr/>
          <p:nvPr/>
        </p:nvCxnSpPr>
        <p:spPr>
          <a:xfrm>
            <a:off x="498404" y="526807"/>
            <a:ext cx="0" cy="342898"/>
          </a:xfrm>
          <a:prstGeom prst="line">
            <a:avLst/>
          </a:prstGeom>
          <a:ln w="76200" cmpd="sng">
            <a:solidFill>
              <a:schemeClr val="accent1"/>
            </a:solidFill>
            <a:headEnd type="none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94564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1" grpId="0" animBg="1"/>
      <p:bldP spid="18" grpId="0" animBg="1"/>
      <p:bldP spid="25" grpId="0" animBg="1"/>
      <p:bldP spid="26" grpId="0" animBg="1"/>
      <p:bldP spid="27" grpId="0" animBg="1"/>
      <p:bldP spid="87" grpId="0" animBg="1"/>
      <p:bldP spid="88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8A0D49-5177-4B5A-1DBF-0D30D853A5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655BE89-A10B-1E3D-5529-5B9D6E3278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5339" y="348409"/>
            <a:ext cx="7969250" cy="685799"/>
          </a:xfrm>
          <a:effectLst/>
        </p:spPr>
        <p:txBody>
          <a:bodyPr vert="horz" lIns="0" tIns="0" rIns="0" bIns="0" rtlCol="0" anchor="t">
            <a:normAutofit/>
          </a:bodyPr>
          <a:lstStyle/>
          <a:p>
            <a:pPr defTabSz="986912">
              <a:spcBef>
                <a:spcPts val="600"/>
              </a:spcBef>
            </a:pPr>
            <a:r>
              <a:rPr lang="en-GB" sz="2400" b="1" dirty="0">
                <a:solidFill>
                  <a:srgbClr val="E4610F"/>
                </a:solidFill>
                <a:latin typeface="Arial"/>
                <a:cs typeface="Arial"/>
              </a:rPr>
              <a:t>Spotlight:</a:t>
            </a:r>
            <a:r>
              <a:rPr lang="en-GB" sz="2400" b="1" dirty="0">
                <a:latin typeface="Arial"/>
                <a:cs typeface="Arial"/>
              </a:rPr>
              <a:t> Cell Therapy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580C5FE-6C98-3D64-EC6E-0BA45A25223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591" r="27591"/>
          <a:stretch/>
        </p:blipFill>
        <p:spPr>
          <a:xfrm>
            <a:off x="0" y="24138"/>
            <a:ext cx="2049073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2E2850C-8B15-7E5D-C684-5ABD8F5722AF}"/>
              </a:ext>
            </a:extLst>
          </p:cNvPr>
          <p:cNvSpPr/>
          <p:nvPr/>
        </p:nvSpPr>
        <p:spPr>
          <a:xfrm>
            <a:off x="-9378" y="0"/>
            <a:ext cx="2083800" cy="6876221"/>
          </a:xfrm>
          <a:prstGeom prst="rect">
            <a:avLst/>
          </a:prstGeom>
          <a:solidFill>
            <a:schemeClr val="tx1">
              <a:alpha val="60000"/>
            </a:schemeClr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5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78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E9B0995-C86D-FB6D-C70E-AEF830A01C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-4140199" y="437354"/>
            <a:ext cx="4851400" cy="4572032"/>
          </a:xfrm>
        </p:spPr>
        <p:txBody>
          <a:bodyPr lIns="0" tIns="0" rIns="0" bIns="0" anchor="t"/>
          <a:lstStyle/>
          <a:p>
            <a:pPr marL="400050" indent="-400050">
              <a:buFont typeface="+mj-lt"/>
              <a:buAutoNum type="romanLcPeriod"/>
            </a:pPr>
            <a:endParaRPr lang="en-GB" sz="1400">
              <a:highlight>
                <a:srgbClr val="FFFF00"/>
              </a:highlight>
            </a:endParaRPr>
          </a:p>
          <a:p>
            <a:pPr marL="400050" indent="-400050">
              <a:buFont typeface="+mj-lt"/>
              <a:buAutoNum type="romanLcPeriod"/>
            </a:pPr>
            <a:endParaRPr lang="en-GB" sz="1400">
              <a:highlight>
                <a:srgbClr val="FFFF00"/>
              </a:highlight>
            </a:endParaRPr>
          </a:p>
          <a:p>
            <a:endParaRPr lang="en-GB" sz="1400">
              <a:cs typeface="Arial" panose="020B0604020202020204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33A1024-5E30-F3B9-B3D4-39DBD9E90E5B}"/>
              </a:ext>
            </a:extLst>
          </p:cNvPr>
          <p:cNvSpPr txBox="1"/>
          <p:nvPr/>
        </p:nvSpPr>
        <p:spPr>
          <a:xfrm>
            <a:off x="2304839" y="1962398"/>
            <a:ext cx="9055100" cy="3046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Heterogeneous starting material; limited sampling; single-use system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GB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Non-destructive sensing is key (e.g. Raman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GB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Hybrid soft sensors often the only viable real-time path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GB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Discipline in data/drift management is non-negotiable</a:t>
            </a:r>
          </a:p>
        </p:txBody>
      </p:sp>
      <p:pic>
        <p:nvPicPr>
          <p:cNvPr id="6" name="Picture 2" descr="University College Cork — Regional Admissions Counselors of California">
            <a:extLst>
              <a:ext uri="{FF2B5EF4-FFF2-40B4-BE49-F238E27FC236}">
                <a16:creationId xmlns:a16="http://schemas.microsoft.com/office/drawing/2014/main" id="{29392CFF-5131-7C37-70D6-8F7EF55231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55769" y="150350"/>
            <a:ext cx="918410" cy="918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7E5E675-40E3-75F2-19FE-022B42181ED9}"/>
              </a:ext>
            </a:extLst>
          </p:cNvPr>
          <p:cNvCxnSpPr/>
          <p:nvPr/>
        </p:nvCxnSpPr>
        <p:spPr>
          <a:xfrm>
            <a:off x="2336589" y="348409"/>
            <a:ext cx="0" cy="342898"/>
          </a:xfrm>
          <a:prstGeom prst="line">
            <a:avLst/>
          </a:prstGeom>
          <a:ln w="76200" cmpd="sng">
            <a:solidFill>
              <a:schemeClr val="accent1"/>
            </a:solidFill>
            <a:headEnd type="none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480096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 descr="A group of people sitting around a table&#10;&#10;Description automatically generated with medium confidence">
            <a:extLst>
              <a:ext uri="{FF2B5EF4-FFF2-40B4-BE49-F238E27FC236}">
                <a16:creationId xmlns:a16="http://schemas.microsoft.com/office/drawing/2014/main" id="{A8F18084-3834-2025-A503-189FDDE63A6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4667251" cy="6858000"/>
          </a:xfrm>
          <a:prstGeom prst="rect">
            <a:avLst/>
          </a:prstGeom>
        </p:spPr>
      </p:pic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0FEDEAC-4E16-4206-A390-88A7F6F33F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1513" rtl="0" eaLnBrk="1" latinLnBrk="0" hangingPunct="1"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1513" algn="l" defTabSz="451513" rtl="0" eaLnBrk="1" latinLnBrk="0" hangingPunct="1">
              <a:defRPr sz="177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03024" algn="l" defTabSz="451513" rtl="0" eaLnBrk="1" latinLnBrk="0" hangingPunct="1">
              <a:defRPr sz="177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54537" algn="l" defTabSz="451513" rtl="0" eaLnBrk="1" latinLnBrk="0" hangingPunct="1">
              <a:defRPr sz="177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6050" algn="l" defTabSz="451513" rtl="0" eaLnBrk="1" latinLnBrk="0" hangingPunct="1">
              <a:defRPr sz="177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57561" algn="l" defTabSz="451513" rtl="0" eaLnBrk="1" latinLnBrk="0" hangingPunct="1">
              <a:defRPr sz="177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09074" algn="l" defTabSz="451513" rtl="0" eaLnBrk="1" latinLnBrk="0" hangingPunct="1">
              <a:defRPr sz="177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0586" algn="l" defTabSz="451513" rtl="0" eaLnBrk="1" latinLnBrk="0" hangingPunct="1">
              <a:defRPr sz="177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12099" algn="l" defTabSz="451513" rtl="0" eaLnBrk="1" latinLnBrk="0" hangingPunct="1">
              <a:defRPr sz="177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15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Arcadis 2024</a:t>
            </a:r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id="{B16716E4-E0F6-9E69-11DC-2E44322733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3906" y="2451410"/>
            <a:ext cx="3426143" cy="2147681"/>
          </a:xfrm>
        </p:spPr>
        <p:txBody>
          <a:bodyPr/>
          <a:lstStyle/>
          <a:p>
            <a:r>
              <a:rPr lang="en-US" sz="3200" b="1" dirty="0">
                <a:latin typeface="Arial Black" panose="020B0A04020102020204" pitchFamily="34" charset="0"/>
              </a:rPr>
              <a:t>What</a:t>
            </a:r>
            <a:r>
              <a:rPr lang="en-US" sz="3200" b="1" dirty="0">
                <a:solidFill>
                  <a:schemeClr val="bg1"/>
                </a:solidFill>
                <a:latin typeface="Arial Black" panose="020B0A04020102020204" pitchFamily="34" charset="0"/>
              </a:rPr>
              <a:t> “Good” Looks Like</a:t>
            </a:r>
            <a:endParaRPr lang="en-PH" sz="4400" b="1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pic>
        <p:nvPicPr>
          <p:cNvPr id="5122" name="Picture 2" descr="University College Cork — Regional Admissions Counselors of California">
            <a:extLst>
              <a:ext uri="{FF2B5EF4-FFF2-40B4-BE49-F238E27FC236}">
                <a16:creationId xmlns:a16="http://schemas.microsoft.com/office/drawing/2014/main" id="{C6FF8AED-A8ED-B083-2B43-E1571B511D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55769" y="150350"/>
            <a:ext cx="918410" cy="918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C6B0F8A3-A6EC-7F11-A30B-C7AB90754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01984213"/>
              </p:ext>
            </p:extLst>
          </p:nvPr>
        </p:nvGraphicFramePr>
        <p:xfrm>
          <a:off x="4993956" y="1097335"/>
          <a:ext cx="6952581" cy="51205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45011091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67C681B-4C7E-6AB5-4313-3BC3275246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EE0E674-3052-5F05-43D4-D4EC71AF69C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736"/>
          <a:stretch>
            <a:fillRect/>
          </a:stretch>
        </p:blipFill>
        <p:spPr>
          <a:xfrm>
            <a:off x="0" y="0"/>
            <a:ext cx="6859814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E375DD8-13B5-134F-9FEB-B9EFAD02FAB9}"/>
              </a:ext>
            </a:extLst>
          </p:cNvPr>
          <p:cNvSpPr/>
          <p:nvPr/>
        </p:nvSpPr>
        <p:spPr>
          <a:xfrm>
            <a:off x="5332186" y="0"/>
            <a:ext cx="685981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4709A01-2C48-B22F-3282-D55D85D69F36}"/>
              </a:ext>
            </a:extLst>
          </p:cNvPr>
          <p:cNvSpPr/>
          <p:nvPr/>
        </p:nvSpPr>
        <p:spPr>
          <a:xfrm rot="16200000">
            <a:off x="-685800" y="685800"/>
            <a:ext cx="6858000" cy="54864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  <a:alpha val="45000"/>
                </a:schemeClr>
              </a:gs>
              <a:gs pos="100000">
                <a:schemeClr val="bg1">
                  <a:lumMod val="95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H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F3AD4629-881F-A96B-125D-7A4DEC35F8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0096" y="359186"/>
            <a:ext cx="5561903" cy="914400"/>
          </a:xfrm>
          <a:effectLst/>
        </p:spPr>
        <p:txBody>
          <a:bodyPr vert="horz" lIns="0" tIns="0" rIns="0" bIns="0" rtlCol="0" anchor="t">
            <a:normAutofit/>
          </a:bodyPr>
          <a:lstStyle/>
          <a:p>
            <a:pPr defTabSz="986912">
              <a:spcBef>
                <a:spcPts val="600"/>
              </a:spcBef>
            </a:pPr>
            <a:r>
              <a:rPr lang="en-GB" sz="2400" b="1" dirty="0">
                <a:solidFill>
                  <a:srgbClr val="E4610F"/>
                </a:solidFill>
                <a:latin typeface="Arial"/>
                <a:cs typeface="Arial"/>
              </a:rPr>
              <a:t>Risks </a:t>
            </a:r>
            <a:r>
              <a:rPr lang="en-GB" sz="2400" b="1" dirty="0">
                <a:solidFill>
                  <a:schemeClr val="tx1"/>
                </a:solidFill>
                <a:latin typeface="Arial"/>
                <a:cs typeface="Arial"/>
              </a:rPr>
              <a:t>&amp; Mitigations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73EE899-8222-CB9F-F8A2-BD4114BBF97B}"/>
              </a:ext>
            </a:extLst>
          </p:cNvPr>
          <p:cNvSpPr txBox="1"/>
          <p:nvPr/>
        </p:nvSpPr>
        <p:spPr>
          <a:xfrm>
            <a:off x="6471905" y="885663"/>
            <a:ext cx="556190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54CFF789-46F6-177A-8897-DC91EC4B527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68437293"/>
              </p:ext>
            </p:extLst>
          </p:nvPr>
        </p:nvGraphicFramePr>
        <p:xfrm>
          <a:off x="5791374" y="885663"/>
          <a:ext cx="6095651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F0930A9-AC0A-1A23-CF45-F84F6B4010D6}"/>
              </a:ext>
            </a:extLst>
          </p:cNvPr>
          <p:cNvCxnSpPr/>
          <p:nvPr/>
        </p:nvCxnSpPr>
        <p:spPr>
          <a:xfrm>
            <a:off x="5543550" y="331993"/>
            <a:ext cx="0" cy="342898"/>
          </a:xfrm>
          <a:prstGeom prst="line">
            <a:avLst/>
          </a:prstGeom>
          <a:ln w="76200" cmpd="sng">
            <a:solidFill>
              <a:schemeClr val="accent1"/>
            </a:solidFill>
            <a:headEnd type="none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15551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erson looking at a city&#10;&#10;Description automatically generated">
            <a:extLst>
              <a:ext uri="{FF2B5EF4-FFF2-40B4-BE49-F238E27FC236}">
                <a16:creationId xmlns:a16="http://schemas.microsoft.com/office/drawing/2014/main" id="{2BA927C6-B4DC-FD06-34DF-5CBF48BB2293}"/>
              </a:ext>
            </a:extLst>
          </p:cNvPr>
          <p:cNvPicPr/>
          <p:nvPr/>
        </p:nvPicPr>
        <p:blipFill rotWithShape="1"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468" r="9775" b="-307"/>
          <a:stretch/>
        </p:blipFill>
        <p:spPr>
          <a:xfrm>
            <a:off x="1" y="-23505"/>
            <a:ext cx="12191999" cy="6858001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B8018A72-CBBD-5955-FF15-3B3471C9032B}"/>
              </a:ext>
            </a:extLst>
          </p:cNvPr>
          <p:cNvSpPr/>
          <p:nvPr/>
        </p:nvSpPr>
        <p:spPr>
          <a:xfrm rot="5400000">
            <a:off x="1765301" y="-1741795"/>
            <a:ext cx="6858000" cy="10388599"/>
          </a:xfrm>
          <a:prstGeom prst="rect">
            <a:avLst/>
          </a:prstGeom>
          <a:gradFill flip="none" rotWithShape="1">
            <a:gsLst>
              <a:gs pos="64000">
                <a:srgbClr val="0B0707">
                  <a:alpha val="23000"/>
                </a:srgbClr>
              </a:gs>
              <a:gs pos="0">
                <a:schemeClr val="accent1">
                  <a:lumMod val="0"/>
                  <a:alpha val="0"/>
                </a:schemeClr>
              </a:gs>
              <a:gs pos="100000">
                <a:schemeClr val="tx1">
                  <a:lumMod val="0"/>
                  <a:alpha val="66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H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 rot="16200000">
            <a:off x="-1625579" y="2843420"/>
            <a:ext cx="4283810" cy="623778"/>
          </a:xfrm>
          <a:prstGeom prst="rect">
            <a:avLst/>
          </a:prstGeom>
        </p:spPr>
        <p:txBody>
          <a:bodyPr vert="horz" wrap="square" lIns="0" tIns="8145" rIns="0" bIns="0" rtlCol="0">
            <a:spAutoFit/>
          </a:bodyPr>
          <a:lstStyle/>
          <a:p>
            <a:pPr marL="8145" algn="r">
              <a:spcBef>
                <a:spcPts val="64"/>
              </a:spcBef>
            </a:pPr>
            <a:r>
              <a:rPr lang="en-GB" sz="4000" spc="-125" dirty="0">
                <a:latin typeface="+mn-lt"/>
              </a:rPr>
              <a:t>Agenda </a:t>
            </a:r>
            <a:endParaRPr lang="en-GB" sz="4000" dirty="0">
              <a:latin typeface="+mn-lt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FB3FAA41-6D48-FCE7-91B1-07875C1C48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2825607"/>
              </p:ext>
            </p:extLst>
          </p:nvPr>
        </p:nvGraphicFramePr>
        <p:xfrm>
          <a:off x="1082070" y="1013404"/>
          <a:ext cx="9872274" cy="47841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0409">
                  <a:extLst>
                    <a:ext uri="{9D8B030D-6E8A-4147-A177-3AD203B41FA5}">
                      <a16:colId xmlns:a16="http://schemas.microsoft.com/office/drawing/2014/main" val="22049527"/>
                    </a:ext>
                  </a:extLst>
                </a:gridCol>
                <a:gridCol w="8811865">
                  <a:extLst>
                    <a:ext uri="{9D8B030D-6E8A-4147-A177-3AD203B41FA5}">
                      <a16:colId xmlns:a16="http://schemas.microsoft.com/office/drawing/2014/main" val="364226651"/>
                    </a:ext>
                  </a:extLst>
                </a:gridCol>
              </a:tblGrid>
              <a:tr h="792245">
                <a:tc>
                  <a:txBody>
                    <a:bodyPr/>
                    <a:lstStyle/>
                    <a:p>
                      <a:pPr marL="814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4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14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4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ealth and safety momen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8587246"/>
                  </a:ext>
                </a:extLst>
              </a:tr>
              <a:tr h="792245">
                <a:tc>
                  <a:txBody>
                    <a:bodyPr/>
                    <a:lstStyle/>
                    <a:p>
                      <a:pPr marL="814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4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2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14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4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400" b="1" i="0" u="none" strike="noStrike" kern="0" cap="none" spc="-29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Why QbD still matters </a:t>
                      </a:r>
                      <a:endParaRPr kumimoji="0" lang="en-GB" sz="2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138673"/>
                  </a:ext>
                </a:extLst>
              </a:tr>
              <a:tr h="79224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cs typeface="Arial" panose="020B0604020202020204" pitchFamily="34" charset="0"/>
                        </a:rPr>
                        <a:t>03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cs typeface="Arial" panose="020B0604020202020204" pitchFamily="34" charset="0"/>
                        </a:rPr>
                        <a:t>The modelling toolbo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9879127"/>
                  </a:ext>
                </a:extLst>
              </a:tr>
              <a:tr h="792245">
                <a:tc>
                  <a:txBody>
                    <a:bodyPr/>
                    <a:lstStyle/>
                    <a:p>
                      <a:r>
                        <a:rPr lang="en-GB" sz="2400" b="1" dirty="0">
                          <a:solidFill>
                            <a:schemeClr val="bg1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2400" b="1" dirty="0">
                          <a:solidFill>
                            <a:schemeClr val="bg1"/>
                          </a:solidFill>
                          <a:latin typeface="+mn-lt"/>
                        </a:rPr>
                        <a:t>Data infrastructure: PAT, soft sensors &amp; instrumentati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8907518"/>
                  </a:ext>
                </a:extLst>
              </a:tr>
              <a:tr h="706280">
                <a:tc>
                  <a:txBody>
                    <a:bodyPr/>
                    <a:lstStyle/>
                    <a:p>
                      <a:r>
                        <a:rPr lang="en-GB" sz="2400" b="1" dirty="0">
                          <a:solidFill>
                            <a:schemeClr val="bg1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2400" b="1" dirty="0">
                          <a:solidFill>
                            <a:schemeClr val="bg1"/>
                          </a:solidFill>
                          <a:latin typeface="+mn-lt"/>
                        </a:rPr>
                        <a:t>Digital twin readiness: model (static) → shadow (live) → twin (interactive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6050538"/>
                  </a:ext>
                </a:extLst>
              </a:tr>
              <a:tr h="792245">
                <a:tc>
                  <a:txBody>
                    <a:bodyPr/>
                    <a:lstStyle/>
                    <a:p>
                      <a:r>
                        <a:rPr lang="en-GB" sz="2400" b="1" dirty="0">
                          <a:solidFill>
                            <a:schemeClr val="bg1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2400" b="1" dirty="0">
                          <a:solidFill>
                            <a:schemeClr val="bg1"/>
                          </a:solidFill>
                          <a:latin typeface="+mn-lt"/>
                        </a:rPr>
                        <a:t>A staged roadmap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6157133"/>
                  </a:ext>
                </a:extLst>
              </a:tr>
            </a:tbl>
          </a:graphicData>
        </a:graphic>
      </p:graphicFrame>
      <p:pic>
        <p:nvPicPr>
          <p:cNvPr id="5" name="Picture 4" descr="A white letters on a black background&#10;&#10;Description automatically generated">
            <a:extLst>
              <a:ext uri="{FF2B5EF4-FFF2-40B4-BE49-F238E27FC236}">
                <a16:creationId xmlns:a16="http://schemas.microsoft.com/office/drawing/2014/main" id="{E744C384-2F03-0631-2702-8CA44EDE9D2E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4223" y="460187"/>
            <a:ext cx="1626671" cy="24841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2D5B5CF-7804-C74F-9E2F-E93098FF2D80}"/>
              </a:ext>
            </a:extLst>
          </p:cNvPr>
          <p:cNvSpPr/>
          <p:nvPr/>
        </p:nvSpPr>
        <p:spPr>
          <a:xfrm>
            <a:off x="1082070" y="922852"/>
            <a:ext cx="5710616" cy="713796"/>
          </a:xfrm>
          <a:prstGeom prst="rect">
            <a:avLst/>
          </a:prstGeom>
          <a:noFill/>
          <a:ln w="539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65A656-D97C-39DF-0FF6-CADA3F5472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Rectangle 169">
            <a:extLst>
              <a:ext uri="{FF2B5EF4-FFF2-40B4-BE49-F238E27FC236}">
                <a16:creationId xmlns:a16="http://schemas.microsoft.com/office/drawing/2014/main" id="{10DC4502-CC4A-A805-908E-D6755BBBA28B}"/>
              </a:ext>
            </a:extLst>
          </p:cNvPr>
          <p:cNvSpPr/>
          <p:nvPr/>
        </p:nvSpPr>
        <p:spPr>
          <a:xfrm>
            <a:off x="6204" y="0"/>
            <a:ext cx="2520000" cy="6858000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411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49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S Elliot Pro" panose="02000503040000020004"/>
              <a:ea typeface="+mn-ea"/>
              <a:cs typeface="+mn-cs"/>
            </a:endParaRPr>
          </a:p>
        </p:txBody>
      </p:sp>
      <p:sp>
        <p:nvSpPr>
          <p:cNvPr id="2" name="CuadroTexto 2">
            <a:extLst>
              <a:ext uri="{FF2B5EF4-FFF2-40B4-BE49-F238E27FC236}">
                <a16:creationId xmlns:a16="http://schemas.microsoft.com/office/drawing/2014/main" id="{16998B33-4325-D17C-5E5F-B200BA7A5150}"/>
              </a:ext>
            </a:extLst>
          </p:cNvPr>
          <p:cNvSpPr txBox="1"/>
          <p:nvPr/>
        </p:nvSpPr>
        <p:spPr>
          <a:xfrm>
            <a:off x="424602" y="3013501"/>
            <a:ext cx="210160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0411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-150" normalizeH="0" baseline="0" noProof="0" dirty="0">
                <a:ln>
                  <a:noFill/>
                </a:ln>
                <a:solidFill>
                  <a:srgbClr val="E461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sulting </a:t>
            </a:r>
            <a:r>
              <a:rPr kumimoji="0" lang="en-US" sz="2400" b="1" i="0" u="none" strike="noStrike" kern="1200" cap="none" spc="-15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dvantages</a:t>
            </a:r>
          </a:p>
        </p:txBody>
      </p:sp>
      <p:graphicFrame>
        <p:nvGraphicFramePr>
          <p:cNvPr id="172" name="Content Placeholder 2">
            <a:extLst>
              <a:ext uri="{FF2B5EF4-FFF2-40B4-BE49-F238E27FC236}">
                <a16:creationId xmlns:a16="http://schemas.microsoft.com/office/drawing/2014/main" id="{1A78F8EC-365C-EF7F-EE20-689151D5D86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98926844"/>
              </p:ext>
            </p:extLst>
          </p:nvPr>
        </p:nvGraphicFramePr>
        <p:xfrm>
          <a:off x="3322393" y="1533227"/>
          <a:ext cx="8229600" cy="2705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F1283695-F65E-4ED6-140E-22C1D54822B7}"/>
              </a:ext>
            </a:extLst>
          </p:cNvPr>
          <p:cNvSpPr txBox="1"/>
          <p:nvPr/>
        </p:nvSpPr>
        <p:spPr>
          <a:xfrm>
            <a:off x="3852099" y="4124443"/>
            <a:ext cx="1805419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kern="0" dirty="0">
                <a:solidFill>
                  <a:sysClr val="windowText" lastClr="000000"/>
                </a:solidFill>
              </a:rPr>
              <a:t>Fewer experiments; more learning per run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8BCFEF7-97BD-B26E-63B9-B410B44267D0}"/>
              </a:ext>
            </a:extLst>
          </p:cNvPr>
          <p:cNvSpPr txBox="1"/>
          <p:nvPr/>
        </p:nvSpPr>
        <p:spPr>
          <a:xfrm>
            <a:off x="6534483" y="4124444"/>
            <a:ext cx="1805419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kern="0" dirty="0">
                <a:solidFill>
                  <a:sysClr val="windowText" lastClr="000000"/>
                </a:solidFill>
              </a:rPr>
              <a:t>Earlier detection; tighter variability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3147CFA-A1CD-8F91-1C17-109CD38A3209}"/>
              </a:ext>
            </a:extLst>
          </p:cNvPr>
          <p:cNvSpPr txBox="1"/>
          <p:nvPr/>
        </p:nvSpPr>
        <p:spPr>
          <a:xfrm>
            <a:off x="9427357" y="4124443"/>
            <a:ext cx="1805419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kern="0" dirty="0">
                <a:solidFill>
                  <a:sysClr val="windowText" lastClr="000000"/>
                </a:solidFill>
              </a:rPr>
              <a:t>Auditable link from design to manufacturing</a:t>
            </a:r>
          </a:p>
        </p:txBody>
      </p:sp>
    </p:spTree>
    <p:extLst>
      <p:ext uri="{BB962C8B-B14F-4D97-AF65-F5344CB8AC3E}">
        <p14:creationId xmlns:p14="http://schemas.microsoft.com/office/powerpoint/2010/main" val="118740842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A5B122-CA32-16EF-8946-E0F14C5FBD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" name="Picture 67">
            <a:extLst>
              <a:ext uri="{FF2B5EF4-FFF2-40B4-BE49-F238E27FC236}">
                <a16:creationId xmlns:a16="http://schemas.microsoft.com/office/drawing/2014/main" id="{D63E4AD8-6083-EEDF-410D-0B60BCBB257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6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038600" cy="6858000"/>
          </a:xfrm>
          <a:prstGeom prst="rect">
            <a:avLst/>
          </a:prstGeom>
        </p:spPr>
      </p:pic>
      <p:sp>
        <p:nvSpPr>
          <p:cNvPr id="69" name="Rectangle 68">
            <a:extLst>
              <a:ext uri="{FF2B5EF4-FFF2-40B4-BE49-F238E27FC236}">
                <a16:creationId xmlns:a16="http://schemas.microsoft.com/office/drawing/2014/main" id="{534188F5-342D-0D2D-6FD5-58748766A846}"/>
              </a:ext>
            </a:extLst>
          </p:cNvPr>
          <p:cNvSpPr/>
          <p:nvPr/>
        </p:nvSpPr>
        <p:spPr>
          <a:xfrm rot="5400000" flipH="1">
            <a:off x="-1158242" y="1158241"/>
            <a:ext cx="6355082" cy="4038600"/>
          </a:xfrm>
          <a:prstGeom prst="rect">
            <a:avLst/>
          </a:prstGeom>
          <a:gradFill>
            <a:gsLst>
              <a:gs pos="0">
                <a:schemeClr val="tx2">
                  <a:lumMod val="0"/>
                </a:schemeClr>
              </a:gs>
              <a:gs pos="100000">
                <a:schemeClr val="tx1">
                  <a:alpha val="0"/>
                </a:schemeClr>
              </a:gs>
            </a:gsLst>
            <a:lin ang="10800000" scaled="0"/>
          </a:gra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H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90F2413C-9B64-4421-C391-1E002D8E91CB}"/>
              </a:ext>
            </a:extLst>
          </p:cNvPr>
          <p:cNvGrpSpPr/>
          <p:nvPr/>
        </p:nvGrpSpPr>
        <p:grpSpPr>
          <a:xfrm>
            <a:off x="4544299" y="3923672"/>
            <a:ext cx="7293584" cy="501393"/>
            <a:chOff x="4450527" y="3788673"/>
            <a:chExt cx="7294106" cy="492541"/>
          </a:xfrm>
        </p:grpSpPr>
        <p:sp>
          <p:nvSpPr>
            <p:cNvPr id="6" name="Abgerundetes Rechteck 19">
              <a:extLst>
                <a:ext uri="{FF2B5EF4-FFF2-40B4-BE49-F238E27FC236}">
                  <a16:creationId xmlns:a16="http://schemas.microsoft.com/office/drawing/2014/main" id="{33EC29E7-C42E-B56E-3C69-4D9EAC5B43D5}"/>
                </a:ext>
              </a:extLst>
            </p:cNvPr>
            <p:cNvSpPr/>
            <p:nvPr/>
          </p:nvSpPr>
          <p:spPr>
            <a:xfrm>
              <a:off x="4611052" y="3788673"/>
              <a:ext cx="7133581" cy="492541"/>
            </a:xfrm>
            <a:custGeom>
              <a:avLst/>
              <a:gdLst>
                <a:gd name="f0" fmla="val 10800000"/>
                <a:gd name="f1" fmla="val 5400000"/>
                <a:gd name="f2" fmla="val 16200000"/>
                <a:gd name="f3" fmla="val w"/>
                <a:gd name="f4" fmla="val h"/>
                <a:gd name="f5" fmla="val ss"/>
                <a:gd name="f6" fmla="val 0"/>
                <a:gd name="f7" fmla="*/ 5419351 1 1725033"/>
                <a:gd name="f8" fmla="val 45"/>
                <a:gd name="f9" fmla="abs f3"/>
                <a:gd name="f10" fmla="abs f4"/>
                <a:gd name="f11" fmla="abs f5"/>
                <a:gd name="f12" fmla="*/ f7 1 180"/>
                <a:gd name="f13" fmla="+- 0 0 f1"/>
                <a:gd name="f14" fmla="+- f6 f6 0"/>
                <a:gd name="f15" fmla="abs f6"/>
                <a:gd name="f16" fmla="?: f9 f3 1"/>
                <a:gd name="f17" fmla="?: f10 f4 1"/>
                <a:gd name="f18" fmla="?: f11 f5 1"/>
                <a:gd name="f19" fmla="*/ f8 f12 1"/>
                <a:gd name="f20" fmla="+- f6 0 f14"/>
                <a:gd name="f21" fmla="?: f6 f13 f1"/>
                <a:gd name="f22" fmla="?: f6 f1 f13"/>
                <a:gd name="f23" fmla="*/ f16 1 21600"/>
                <a:gd name="f24" fmla="*/ f17 1 21600"/>
                <a:gd name="f25" fmla="*/ 21600 f16 1"/>
                <a:gd name="f26" fmla="*/ 21600 f17 1"/>
                <a:gd name="f27" fmla="+- 0 0 f19"/>
                <a:gd name="f28" fmla="abs f20"/>
                <a:gd name="f29" fmla="?: f20 f13 f1"/>
                <a:gd name="f30" fmla="?: f20 f1 f13"/>
                <a:gd name="f31" fmla="?: f20 f2 f1"/>
                <a:gd name="f32" fmla="?: f20 f1 f2"/>
                <a:gd name="f33" fmla="?: f20 0 f0"/>
                <a:gd name="f34" fmla="?: f20 f0 0"/>
                <a:gd name="f35" fmla="min f24 f23"/>
                <a:gd name="f36" fmla="*/ f25 1 f18"/>
                <a:gd name="f37" fmla="*/ f26 1 f18"/>
                <a:gd name="f38" fmla="*/ f27 f0 1"/>
                <a:gd name="f39" fmla="?: f20 f32 f31"/>
                <a:gd name="f40" fmla="?: f20 f31 f32"/>
                <a:gd name="f41" fmla="?: f6 f30 f29"/>
                <a:gd name="f42" fmla="val f36"/>
                <a:gd name="f43" fmla="val f37"/>
                <a:gd name="f44" fmla="*/ f38 1 f7"/>
                <a:gd name="f45" fmla="?: f6 f40 f39"/>
                <a:gd name="f46" fmla="*/ f14 f35 1"/>
                <a:gd name="f47" fmla="*/ f6 f35 1"/>
                <a:gd name="f48" fmla="*/ f28 f35 1"/>
                <a:gd name="f49" fmla="*/ f15 f35 1"/>
                <a:gd name="f50" fmla="+- f43 0 f6"/>
                <a:gd name="f51" fmla="+- f42 0 f6"/>
                <a:gd name="f52" fmla="+- f44 0 f1"/>
                <a:gd name="f53" fmla="*/ f43 f35 1"/>
                <a:gd name="f54" fmla="*/ f42 f35 1"/>
                <a:gd name="f55" fmla="+- f43 0 f50"/>
                <a:gd name="f56" fmla="+- f42 0 f51"/>
                <a:gd name="f57" fmla="+- f50 0 f43"/>
                <a:gd name="f58" fmla="+- f51 0 f42"/>
                <a:gd name="f59" fmla="+- f52 f1 0"/>
                <a:gd name="f60" fmla="*/ f50 f35 1"/>
                <a:gd name="f61" fmla="*/ f51 f35 1"/>
                <a:gd name="f62" fmla="abs f55"/>
                <a:gd name="f63" fmla="?: f55 0 f0"/>
                <a:gd name="f64" fmla="?: f55 f0 0"/>
                <a:gd name="f65" fmla="?: f55 f21 f22"/>
                <a:gd name="f66" fmla="abs f56"/>
                <a:gd name="f67" fmla="abs f57"/>
                <a:gd name="f68" fmla="?: f56 f13 f1"/>
                <a:gd name="f69" fmla="?: f56 f1 f13"/>
                <a:gd name="f70" fmla="?: f56 f2 f1"/>
                <a:gd name="f71" fmla="?: f56 f1 f2"/>
                <a:gd name="f72" fmla="abs f58"/>
                <a:gd name="f73" fmla="?: f58 f13 f1"/>
                <a:gd name="f74" fmla="?: f58 f1 f13"/>
                <a:gd name="f75" fmla="?: f58 f34 f33"/>
                <a:gd name="f76" fmla="?: f58 f33 f34"/>
                <a:gd name="f77" fmla="*/ f59 f7 1"/>
                <a:gd name="f78" fmla="?: f6 f64 f63"/>
                <a:gd name="f79" fmla="?: f6 f63 f64"/>
                <a:gd name="f80" fmla="?: f56 f71 f70"/>
                <a:gd name="f81" fmla="?: f56 f70 f71"/>
                <a:gd name="f82" fmla="?: f57 f69 f68"/>
                <a:gd name="f83" fmla="?: f20 f75 f76"/>
                <a:gd name="f84" fmla="?: f20 f73 f74"/>
                <a:gd name="f85" fmla="*/ f77 1 f0"/>
                <a:gd name="f86" fmla="*/ f62 f35 1"/>
                <a:gd name="f87" fmla="*/ f66 f35 1"/>
                <a:gd name="f88" fmla="*/ f67 f35 1"/>
                <a:gd name="f89" fmla="*/ f72 f35 1"/>
                <a:gd name="f90" fmla="?: f55 f78 f79"/>
                <a:gd name="f91" fmla="?: f57 f81 f80"/>
                <a:gd name="f92" fmla="+- 0 0 f85"/>
                <a:gd name="f93" fmla="+- 0 0 f92"/>
                <a:gd name="f94" fmla="*/ f93 f0 1"/>
                <a:gd name="f95" fmla="*/ f94 1 f7"/>
                <a:gd name="f96" fmla="+- f95 0 f1"/>
                <a:gd name="f97" fmla="cos 1 f96"/>
                <a:gd name="f98" fmla="+- 0 0 f97"/>
                <a:gd name="f99" fmla="+- 0 0 f98"/>
                <a:gd name="f100" fmla="val f99"/>
                <a:gd name="f101" fmla="+- 0 0 f100"/>
                <a:gd name="f102" fmla="*/ f6 f101 1"/>
                <a:gd name="f103" fmla="*/ f102 3163 1"/>
                <a:gd name="f104" fmla="*/ f103 1 7636"/>
                <a:gd name="f105" fmla="+- f6 f104 0"/>
                <a:gd name="f106" fmla="+- f42 0 f104"/>
                <a:gd name="f107" fmla="+- f43 0 f104"/>
                <a:gd name="f108" fmla="*/ f105 f35 1"/>
                <a:gd name="f109" fmla="*/ f106 f35 1"/>
                <a:gd name="f110" fmla="*/ f107 f3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08" t="f108" r="f109" b="f110"/>
              <a:pathLst>
                <a:path>
                  <a:moveTo>
                    <a:pt x="f46" y="f47"/>
                  </a:moveTo>
                  <a:arcTo wR="f48" hR="f49" stAng="f45" swAng="f41"/>
                  <a:lnTo>
                    <a:pt x="f47" y="f60"/>
                  </a:lnTo>
                  <a:arcTo wR="f49" hR="f86" stAng="f90" swAng="f65"/>
                  <a:lnTo>
                    <a:pt x="f61" y="f53"/>
                  </a:lnTo>
                  <a:arcTo wR="f87" hR="f88" stAng="f91" swAng="f82"/>
                  <a:lnTo>
                    <a:pt x="f54" y="f46"/>
                  </a:lnTo>
                  <a:arcTo wR="f89" hR="f48" stAng="f83" swAng="f84"/>
                  <a:close/>
                </a:path>
              </a:pathLst>
            </a:custGeom>
            <a:noFill/>
            <a:ln w="25400" cap="flat" cmpd="sng" algn="ctr">
              <a:noFill/>
              <a:prstDash val="solid"/>
            </a:ln>
            <a:effectLst/>
          </p:spPr>
          <p:txBody>
            <a:bodyPr lIns="369406" tIns="30784" rIns="30784" bIns="30784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Freeform 234">
              <a:extLst>
                <a:ext uri="{FF2B5EF4-FFF2-40B4-BE49-F238E27FC236}">
                  <a16:creationId xmlns:a16="http://schemas.microsoft.com/office/drawing/2014/main" id="{E18702D6-357D-C54A-71D3-5DD57800238B}"/>
                </a:ext>
              </a:extLst>
            </p:cNvPr>
            <p:cNvSpPr/>
            <p:nvPr/>
          </p:nvSpPr>
          <p:spPr>
            <a:xfrm>
              <a:off x="4450527" y="3946193"/>
              <a:ext cx="224645" cy="177502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376"/>
                <a:gd name="f7" fmla="val 286"/>
                <a:gd name="f8" fmla="val 356"/>
                <a:gd name="f9" fmla="val 13"/>
                <a:gd name="f10" fmla="val 339"/>
                <a:gd name="f11" fmla="val 315"/>
                <a:gd name="f12" fmla="val 3"/>
                <a:gd name="f13" fmla="val 302"/>
                <a:gd name="f14" fmla="val 20"/>
                <a:gd name="f15" fmla="val 161"/>
                <a:gd name="f16" fmla="val 198"/>
                <a:gd name="f17" fmla="val 67"/>
                <a:gd name="f18" fmla="val 127"/>
                <a:gd name="f19" fmla="val 50"/>
                <a:gd name="f20" fmla="val 114"/>
                <a:gd name="f21" fmla="val 26"/>
                <a:gd name="f22" fmla="val 117"/>
                <a:gd name="f23" fmla="val 134"/>
                <a:gd name="f24" fmla="val 151"/>
                <a:gd name="f25" fmla="val 4"/>
                <a:gd name="f26" fmla="val 175"/>
                <a:gd name="f27" fmla="val 21"/>
                <a:gd name="f28" fmla="val 188"/>
                <a:gd name="f29" fmla="val 137"/>
                <a:gd name="f30" fmla="val 276"/>
                <a:gd name="f31" fmla="val 146"/>
                <a:gd name="f32" fmla="val 283"/>
                <a:gd name="f33" fmla="val 156"/>
                <a:gd name="f34" fmla="val 166"/>
                <a:gd name="f35" fmla="val 195"/>
                <a:gd name="f36" fmla="val 280"/>
                <a:gd name="f37" fmla="val 204"/>
                <a:gd name="f38" fmla="val 268"/>
                <a:gd name="f39" fmla="val 362"/>
                <a:gd name="f40" fmla="val 51"/>
                <a:gd name="f41" fmla="val 373"/>
                <a:gd name="f42" fmla="+- 0 0 -90"/>
                <a:gd name="f43" fmla="*/ f3 1 376"/>
                <a:gd name="f44" fmla="*/ f4 1 286"/>
                <a:gd name="f45" fmla="+- f7 0 f5"/>
                <a:gd name="f46" fmla="+- f6 0 f5"/>
                <a:gd name="f47" fmla="*/ f42 f0 1"/>
                <a:gd name="f48" fmla="*/ f46 1 376"/>
                <a:gd name="f49" fmla="*/ f45 1 286"/>
                <a:gd name="f50" fmla="*/ 356 f46 1"/>
                <a:gd name="f51" fmla="*/ 13 f45 1"/>
                <a:gd name="f52" fmla="*/ 302 f46 1"/>
                <a:gd name="f53" fmla="*/ 20 f45 1"/>
                <a:gd name="f54" fmla="*/ 161 f46 1"/>
                <a:gd name="f55" fmla="*/ 198 f45 1"/>
                <a:gd name="f56" fmla="*/ 67 f46 1"/>
                <a:gd name="f57" fmla="*/ 127 f45 1"/>
                <a:gd name="f58" fmla="*/ 13 f46 1"/>
                <a:gd name="f59" fmla="*/ 134 f45 1"/>
                <a:gd name="f60" fmla="*/ 21 f46 1"/>
                <a:gd name="f61" fmla="*/ 188 f45 1"/>
                <a:gd name="f62" fmla="*/ 137 f46 1"/>
                <a:gd name="f63" fmla="*/ 276 f45 1"/>
                <a:gd name="f64" fmla="*/ 166 f46 1"/>
                <a:gd name="f65" fmla="*/ 286 f45 1"/>
                <a:gd name="f66" fmla="*/ 204 f46 1"/>
                <a:gd name="f67" fmla="*/ 268 f45 1"/>
                <a:gd name="f68" fmla="*/ 362 f46 1"/>
                <a:gd name="f69" fmla="*/ 67 f45 1"/>
                <a:gd name="f70" fmla="*/ f47 1 f2"/>
                <a:gd name="f71" fmla="*/ f50 1 376"/>
                <a:gd name="f72" fmla="*/ f51 1 286"/>
                <a:gd name="f73" fmla="*/ f52 1 376"/>
                <a:gd name="f74" fmla="*/ f53 1 286"/>
                <a:gd name="f75" fmla="*/ f54 1 376"/>
                <a:gd name="f76" fmla="*/ f55 1 286"/>
                <a:gd name="f77" fmla="*/ f56 1 376"/>
                <a:gd name="f78" fmla="*/ f57 1 286"/>
                <a:gd name="f79" fmla="*/ f58 1 376"/>
                <a:gd name="f80" fmla="*/ f59 1 286"/>
                <a:gd name="f81" fmla="*/ f60 1 376"/>
                <a:gd name="f82" fmla="*/ f61 1 286"/>
                <a:gd name="f83" fmla="*/ f62 1 376"/>
                <a:gd name="f84" fmla="*/ f63 1 286"/>
                <a:gd name="f85" fmla="*/ f64 1 376"/>
                <a:gd name="f86" fmla="*/ f65 1 286"/>
                <a:gd name="f87" fmla="*/ f66 1 376"/>
                <a:gd name="f88" fmla="*/ f67 1 286"/>
                <a:gd name="f89" fmla="*/ f68 1 376"/>
                <a:gd name="f90" fmla="*/ f69 1 286"/>
                <a:gd name="f91" fmla="*/ 0 1 f48"/>
                <a:gd name="f92" fmla="*/ f6 1 f48"/>
                <a:gd name="f93" fmla="*/ 0 1 f49"/>
                <a:gd name="f94" fmla="*/ f7 1 f49"/>
                <a:gd name="f95" fmla="+- f70 0 f1"/>
                <a:gd name="f96" fmla="*/ f71 1 f48"/>
                <a:gd name="f97" fmla="*/ f72 1 f49"/>
                <a:gd name="f98" fmla="*/ f73 1 f48"/>
                <a:gd name="f99" fmla="*/ f74 1 f49"/>
                <a:gd name="f100" fmla="*/ f75 1 f48"/>
                <a:gd name="f101" fmla="*/ f76 1 f49"/>
                <a:gd name="f102" fmla="*/ f77 1 f48"/>
                <a:gd name="f103" fmla="*/ f78 1 f49"/>
                <a:gd name="f104" fmla="*/ f79 1 f48"/>
                <a:gd name="f105" fmla="*/ f80 1 f49"/>
                <a:gd name="f106" fmla="*/ f81 1 f48"/>
                <a:gd name="f107" fmla="*/ f82 1 f49"/>
                <a:gd name="f108" fmla="*/ f83 1 f48"/>
                <a:gd name="f109" fmla="*/ f84 1 f49"/>
                <a:gd name="f110" fmla="*/ f85 1 f48"/>
                <a:gd name="f111" fmla="*/ f86 1 f49"/>
                <a:gd name="f112" fmla="*/ f87 1 f48"/>
                <a:gd name="f113" fmla="*/ f88 1 f49"/>
                <a:gd name="f114" fmla="*/ f89 1 f48"/>
                <a:gd name="f115" fmla="*/ f90 1 f49"/>
                <a:gd name="f116" fmla="*/ f91 f43 1"/>
                <a:gd name="f117" fmla="*/ f92 f43 1"/>
                <a:gd name="f118" fmla="*/ f94 f44 1"/>
                <a:gd name="f119" fmla="*/ f93 f44 1"/>
                <a:gd name="f120" fmla="*/ f96 f43 1"/>
                <a:gd name="f121" fmla="*/ f97 f44 1"/>
                <a:gd name="f122" fmla="*/ f98 f43 1"/>
                <a:gd name="f123" fmla="*/ f99 f44 1"/>
                <a:gd name="f124" fmla="*/ f100 f43 1"/>
                <a:gd name="f125" fmla="*/ f101 f44 1"/>
                <a:gd name="f126" fmla="*/ f102 f43 1"/>
                <a:gd name="f127" fmla="*/ f103 f44 1"/>
                <a:gd name="f128" fmla="*/ f104 f43 1"/>
                <a:gd name="f129" fmla="*/ f105 f44 1"/>
                <a:gd name="f130" fmla="*/ f106 f43 1"/>
                <a:gd name="f131" fmla="*/ f107 f44 1"/>
                <a:gd name="f132" fmla="*/ f108 f43 1"/>
                <a:gd name="f133" fmla="*/ f109 f44 1"/>
                <a:gd name="f134" fmla="*/ f110 f43 1"/>
                <a:gd name="f135" fmla="*/ f111 f44 1"/>
                <a:gd name="f136" fmla="*/ f112 f43 1"/>
                <a:gd name="f137" fmla="*/ f113 f44 1"/>
                <a:gd name="f138" fmla="*/ f114 f43 1"/>
                <a:gd name="f139" fmla="*/ f115 f4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95">
                  <a:pos x="f120" y="f121"/>
                </a:cxn>
                <a:cxn ang="f95">
                  <a:pos x="f122" y="f123"/>
                </a:cxn>
                <a:cxn ang="f95">
                  <a:pos x="f124" y="f125"/>
                </a:cxn>
                <a:cxn ang="f95">
                  <a:pos x="f126" y="f127"/>
                </a:cxn>
                <a:cxn ang="f95">
                  <a:pos x="f128" y="f129"/>
                </a:cxn>
                <a:cxn ang="f95">
                  <a:pos x="f130" y="f131"/>
                </a:cxn>
                <a:cxn ang="f95">
                  <a:pos x="f132" y="f133"/>
                </a:cxn>
                <a:cxn ang="f95">
                  <a:pos x="f134" y="f135"/>
                </a:cxn>
                <a:cxn ang="f95">
                  <a:pos x="f136" y="f137"/>
                </a:cxn>
                <a:cxn ang="f95">
                  <a:pos x="f138" y="f139"/>
                </a:cxn>
                <a:cxn ang="f95">
                  <a:pos x="f120" y="f121"/>
                </a:cxn>
                <a:cxn ang="f95">
                  <a:pos x="f120" y="f121"/>
                </a:cxn>
                <a:cxn ang="f95">
                  <a:pos x="f120" y="f121"/>
                </a:cxn>
              </a:cxnLst>
              <a:rect l="f116" t="f119" r="f117" b="f118"/>
              <a:pathLst>
                <a:path w="376" h="286">
                  <a:moveTo>
                    <a:pt x="f8" y="f9"/>
                  </a:moveTo>
                  <a:cubicBezTo>
                    <a:pt x="f10" y="f5"/>
                    <a:pt x="f11" y="f12"/>
                    <a:pt x="f13" y="f14"/>
                  </a:cubicBezTo>
                  <a:cubicBezTo>
                    <a:pt x="f15" y="f16"/>
                    <a:pt x="f15" y="f16"/>
                    <a:pt x="f15" y="f16"/>
                  </a:cubicBezTo>
                  <a:cubicBezTo>
                    <a:pt x="f17" y="f18"/>
                    <a:pt x="f17" y="f18"/>
                    <a:pt x="f17" y="f18"/>
                  </a:cubicBezTo>
                  <a:cubicBezTo>
                    <a:pt x="f19" y="f20"/>
                    <a:pt x="f21" y="f22"/>
                    <a:pt x="f9" y="f23"/>
                  </a:cubicBezTo>
                  <a:cubicBezTo>
                    <a:pt x="f5" y="f24"/>
                    <a:pt x="f25" y="f26"/>
                    <a:pt x="f27" y="f28"/>
                  </a:cubicBezTo>
                  <a:cubicBezTo>
                    <a:pt x="f29" y="f30"/>
                    <a:pt x="f29" y="f30"/>
                    <a:pt x="f29" y="f30"/>
                  </a:cubicBezTo>
                  <a:cubicBezTo>
                    <a:pt x="f31" y="f32"/>
                    <a:pt x="f33" y="f7"/>
                    <a:pt x="f34" y="f7"/>
                  </a:cubicBezTo>
                  <a:cubicBezTo>
                    <a:pt x="f2" y="f7"/>
                    <a:pt x="f35" y="f36"/>
                    <a:pt x="f37" y="f38"/>
                  </a:cubicBezTo>
                  <a:cubicBezTo>
                    <a:pt x="f39" y="f17"/>
                    <a:pt x="f39" y="f17"/>
                    <a:pt x="f39" y="f17"/>
                  </a:cubicBezTo>
                  <a:cubicBezTo>
                    <a:pt x="f6" y="f40"/>
                    <a:pt x="f41" y="f21"/>
                    <a:pt x="f8" y="f9"/>
                  </a:cubicBezTo>
                  <a:close/>
                  <a:moveTo>
                    <a:pt x="f8" y="f9"/>
                  </a:moveTo>
                  <a:cubicBezTo>
                    <a:pt x="f8" y="f9"/>
                    <a:pt x="f8" y="f9"/>
                    <a:pt x="f8" y="f9"/>
                  </a:cubicBezTo>
                </a:path>
              </a:pathLst>
            </a:custGeom>
            <a:solidFill>
              <a:schemeClr val="bg1"/>
            </a:solidFill>
            <a:ln cap="flat">
              <a:noFill/>
              <a:prstDash val="solid"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3" name="Title 42">
            <a:extLst>
              <a:ext uri="{FF2B5EF4-FFF2-40B4-BE49-F238E27FC236}">
                <a16:creationId xmlns:a16="http://schemas.microsoft.com/office/drawing/2014/main" id="{06485FBD-3D8D-268A-7B76-68F3B7AEB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899" y="715843"/>
            <a:ext cx="3606800" cy="5639239"/>
          </a:xfrm>
        </p:spPr>
        <p:txBody>
          <a:bodyPr anchor="ctr">
            <a:normAutofit/>
          </a:bodyPr>
          <a:lstStyle/>
          <a:p>
            <a:pPr algn="ctr"/>
            <a:r>
              <a:rPr lang="en-GB" sz="4000" dirty="0">
                <a:solidFill>
                  <a:schemeClr val="accent1"/>
                </a:solidFill>
                <a:latin typeface="Arial"/>
              </a:rPr>
              <a:t>Key </a:t>
            </a:r>
            <a:r>
              <a:rPr lang="en-GB" sz="4000" dirty="0">
                <a:solidFill>
                  <a:schemeClr val="bg1"/>
                </a:solidFill>
                <a:latin typeface="Arial"/>
              </a:rPr>
              <a:t>Takeaways</a:t>
            </a:r>
            <a:endParaRPr lang="en-GB" sz="4000" dirty="0">
              <a:solidFill>
                <a:schemeClr val="bg1"/>
              </a:solidFill>
            </a:endParaRPr>
          </a:p>
        </p:txBody>
      </p:sp>
      <p:pic>
        <p:nvPicPr>
          <p:cNvPr id="18" name="Picture 2" descr="University College Cork — Regional Admissions Counselors of California">
            <a:extLst>
              <a:ext uri="{FF2B5EF4-FFF2-40B4-BE49-F238E27FC236}">
                <a16:creationId xmlns:a16="http://schemas.microsoft.com/office/drawing/2014/main" id="{33F2DAFF-A96C-B47E-6C55-5E4598260C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55769" y="162382"/>
            <a:ext cx="918410" cy="918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BCB0279A-9B6E-DFEF-DAE8-AE40283820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6478486"/>
              </p:ext>
            </p:extLst>
          </p:nvPr>
        </p:nvGraphicFramePr>
        <p:xfrm>
          <a:off x="4298413" y="1438050"/>
          <a:ext cx="7677688" cy="47028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2585161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EDCD927-4C6A-F9E6-0A50-8C2ED38F6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100" y="599040"/>
            <a:ext cx="11315700" cy="1593272"/>
          </a:xfrm>
        </p:spPr>
        <p:txBody>
          <a:bodyPr/>
          <a:lstStyle/>
          <a:p>
            <a:r>
              <a:rPr lang="en-US" dirty="0"/>
              <a:t>Thank you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B4CF415E-DF4A-7A24-87AB-57FA5DAB57B9}"/>
              </a:ext>
            </a:extLst>
          </p:cNvPr>
          <p:cNvSpPr txBox="1">
            <a:spLocks/>
          </p:cNvSpPr>
          <p:nvPr/>
        </p:nvSpPr>
        <p:spPr>
          <a:xfrm>
            <a:off x="984909" y="3886231"/>
            <a:ext cx="2628900" cy="507007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93202">
              <a:defRPr>
                <a:latin typeface="+mn-lt"/>
                <a:ea typeface="+mn-ea"/>
                <a:cs typeface="+mn-cs"/>
              </a:defRPr>
            </a:lvl2pPr>
            <a:lvl3pPr marL="586405">
              <a:defRPr>
                <a:latin typeface="+mn-lt"/>
                <a:ea typeface="+mn-ea"/>
                <a:cs typeface="+mn-cs"/>
              </a:defRPr>
            </a:lvl3pPr>
            <a:lvl4pPr marL="879607">
              <a:defRPr>
                <a:latin typeface="+mn-lt"/>
                <a:ea typeface="+mn-ea"/>
                <a:cs typeface="+mn-cs"/>
              </a:defRPr>
            </a:lvl4pPr>
            <a:lvl5pPr marL="1172809">
              <a:defRPr>
                <a:latin typeface="+mn-lt"/>
                <a:ea typeface="+mn-ea"/>
                <a:cs typeface="+mn-cs"/>
              </a:defRPr>
            </a:lvl5pPr>
            <a:lvl6pPr marL="1466012">
              <a:defRPr>
                <a:latin typeface="+mn-lt"/>
                <a:ea typeface="+mn-ea"/>
                <a:cs typeface="+mn-cs"/>
              </a:defRPr>
            </a:lvl6pPr>
            <a:lvl7pPr marL="1759214">
              <a:defRPr>
                <a:latin typeface="+mn-lt"/>
                <a:ea typeface="+mn-ea"/>
                <a:cs typeface="+mn-cs"/>
              </a:defRPr>
            </a:lvl7pPr>
            <a:lvl8pPr marL="2052417">
              <a:defRPr>
                <a:latin typeface="+mn-lt"/>
                <a:ea typeface="+mn-ea"/>
                <a:cs typeface="+mn-cs"/>
              </a:defRPr>
            </a:lvl8pPr>
            <a:lvl9pPr marL="2345619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PH" sz="1600" b="1" kern="0" dirty="0">
                <a:solidFill>
                  <a:schemeClr val="bg1"/>
                </a:solidFill>
              </a:rPr>
              <a:t>Khadija Mu’azzam</a:t>
            </a:r>
          </a:p>
          <a:p>
            <a:endParaRPr lang="en-US" sz="1600" b="1" kern="0" dirty="0">
              <a:solidFill>
                <a:schemeClr val="bg1"/>
              </a:solidFill>
            </a:endParaRP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EDD36C6C-31CB-3757-1CCA-D939D3FB8C00}"/>
              </a:ext>
            </a:extLst>
          </p:cNvPr>
          <p:cNvSpPr txBox="1">
            <a:spLocks/>
          </p:cNvSpPr>
          <p:nvPr/>
        </p:nvSpPr>
        <p:spPr>
          <a:xfrm>
            <a:off x="984909" y="4539162"/>
            <a:ext cx="2628900" cy="1525887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93202">
              <a:defRPr>
                <a:latin typeface="+mn-lt"/>
                <a:ea typeface="+mn-ea"/>
                <a:cs typeface="+mn-cs"/>
              </a:defRPr>
            </a:lvl2pPr>
            <a:lvl3pPr marL="586405">
              <a:defRPr>
                <a:latin typeface="+mn-lt"/>
                <a:ea typeface="+mn-ea"/>
                <a:cs typeface="+mn-cs"/>
              </a:defRPr>
            </a:lvl3pPr>
            <a:lvl4pPr marL="879607">
              <a:defRPr>
                <a:latin typeface="+mn-lt"/>
                <a:ea typeface="+mn-ea"/>
                <a:cs typeface="+mn-cs"/>
              </a:defRPr>
            </a:lvl4pPr>
            <a:lvl5pPr marL="1172809">
              <a:defRPr>
                <a:latin typeface="+mn-lt"/>
                <a:ea typeface="+mn-ea"/>
                <a:cs typeface="+mn-cs"/>
              </a:defRPr>
            </a:lvl5pPr>
            <a:lvl6pPr marL="1466012">
              <a:defRPr>
                <a:latin typeface="+mn-lt"/>
                <a:ea typeface="+mn-ea"/>
                <a:cs typeface="+mn-cs"/>
              </a:defRPr>
            </a:lvl6pPr>
            <a:lvl7pPr marL="1759214">
              <a:defRPr>
                <a:latin typeface="+mn-lt"/>
                <a:ea typeface="+mn-ea"/>
                <a:cs typeface="+mn-cs"/>
              </a:defRPr>
            </a:lvl7pPr>
            <a:lvl8pPr marL="2052417">
              <a:defRPr>
                <a:latin typeface="+mn-lt"/>
                <a:ea typeface="+mn-ea"/>
                <a:cs typeface="+mn-cs"/>
              </a:defRPr>
            </a:lvl8pPr>
            <a:lvl9pPr marL="2345619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PH" sz="1400" kern="0" dirty="0">
                <a:solidFill>
                  <a:schemeClr val="bg1"/>
                </a:solidFill>
              </a:rPr>
              <a:t>Senior Process Engineer</a:t>
            </a:r>
            <a:r>
              <a:rPr lang="en-US" sz="1400" kern="0" dirty="0">
                <a:solidFill>
                  <a:schemeClr val="bg1"/>
                </a:solidFill>
              </a:rPr>
              <a:t> at Arcadis | PhD research at University College Cork</a:t>
            </a:r>
            <a:endParaRPr lang="en-PH" sz="1400" kern="0" dirty="0">
              <a:solidFill>
                <a:schemeClr val="bg1"/>
              </a:solidFill>
            </a:endParaRPr>
          </a:p>
        </p:txBody>
      </p:sp>
      <p:pic>
        <p:nvPicPr>
          <p:cNvPr id="16" name="Image 4">
            <a:extLst>
              <a:ext uri="{FF2B5EF4-FFF2-40B4-BE49-F238E27FC236}">
                <a16:creationId xmlns:a16="http://schemas.microsoft.com/office/drawing/2014/main" id="{5B0422A7-3854-10CE-9E3A-56EA92324F94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3835" y="2300307"/>
            <a:ext cx="1332000" cy="144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0" name="Image 4">
            <a:extLst>
              <a:ext uri="{FF2B5EF4-FFF2-40B4-BE49-F238E27FC236}">
                <a16:creationId xmlns:a16="http://schemas.microsoft.com/office/drawing/2014/main" id="{6349ED3A-5749-559A-042B-48C6493A4BDD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26466" y="2245740"/>
            <a:ext cx="1481087" cy="144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2" name="Image 4">
            <a:extLst>
              <a:ext uri="{FF2B5EF4-FFF2-40B4-BE49-F238E27FC236}">
                <a16:creationId xmlns:a16="http://schemas.microsoft.com/office/drawing/2014/main" id="{F186E90B-8719-7F70-51AC-44804951D987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191337" y="2260548"/>
            <a:ext cx="1311563" cy="144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A1D2D198-3E5B-20D4-26C3-690E153FE482}"/>
              </a:ext>
            </a:extLst>
          </p:cNvPr>
          <p:cNvSpPr txBox="1">
            <a:spLocks/>
          </p:cNvSpPr>
          <p:nvPr/>
        </p:nvSpPr>
        <p:spPr>
          <a:xfrm>
            <a:off x="3613809" y="3886231"/>
            <a:ext cx="2628900" cy="507007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93202">
              <a:defRPr>
                <a:latin typeface="+mn-lt"/>
                <a:ea typeface="+mn-ea"/>
                <a:cs typeface="+mn-cs"/>
              </a:defRPr>
            </a:lvl2pPr>
            <a:lvl3pPr marL="586405">
              <a:defRPr>
                <a:latin typeface="+mn-lt"/>
                <a:ea typeface="+mn-ea"/>
                <a:cs typeface="+mn-cs"/>
              </a:defRPr>
            </a:lvl3pPr>
            <a:lvl4pPr marL="879607">
              <a:defRPr>
                <a:latin typeface="+mn-lt"/>
                <a:ea typeface="+mn-ea"/>
                <a:cs typeface="+mn-cs"/>
              </a:defRPr>
            </a:lvl4pPr>
            <a:lvl5pPr marL="1172809">
              <a:defRPr>
                <a:latin typeface="+mn-lt"/>
                <a:ea typeface="+mn-ea"/>
                <a:cs typeface="+mn-cs"/>
              </a:defRPr>
            </a:lvl5pPr>
            <a:lvl6pPr marL="1466012">
              <a:defRPr>
                <a:latin typeface="+mn-lt"/>
                <a:ea typeface="+mn-ea"/>
                <a:cs typeface="+mn-cs"/>
              </a:defRPr>
            </a:lvl6pPr>
            <a:lvl7pPr marL="1759214">
              <a:defRPr>
                <a:latin typeface="+mn-lt"/>
                <a:ea typeface="+mn-ea"/>
                <a:cs typeface="+mn-cs"/>
              </a:defRPr>
            </a:lvl7pPr>
            <a:lvl8pPr marL="2052417">
              <a:defRPr>
                <a:latin typeface="+mn-lt"/>
                <a:ea typeface="+mn-ea"/>
                <a:cs typeface="+mn-cs"/>
              </a:defRPr>
            </a:lvl8pPr>
            <a:lvl9pPr marL="2345619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PH" sz="1600" b="1" kern="0" dirty="0">
                <a:solidFill>
                  <a:schemeClr val="bg1"/>
                </a:solidFill>
              </a:rPr>
              <a:t>Francisco Vitor Santos Da Silva</a:t>
            </a:r>
          </a:p>
          <a:p>
            <a:endParaRPr lang="en-US" sz="1600" b="1" kern="0" dirty="0">
              <a:solidFill>
                <a:schemeClr val="bg1"/>
              </a:solidFill>
            </a:endParaRP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B6102F68-B478-801E-245B-F2739CFCF345}"/>
              </a:ext>
            </a:extLst>
          </p:cNvPr>
          <p:cNvSpPr txBox="1">
            <a:spLocks/>
          </p:cNvSpPr>
          <p:nvPr/>
        </p:nvSpPr>
        <p:spPr>
          <a:xfrm>
            <a:off x="3613809" y="4539162"/>
            <a:ext cx="2628900" cy="542632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93202">
              <a:defRPr>
                <a:latin typeface="+mn-lt"/>
                <a:ea typeface="+mn-ea"/>
                <a:cs typeface="+mn-cs"/>
              </a:defRPr>
            </a:lvl2pPr>
            <a:lvl3pPr marL="586405">
              <a:defRPr>
                <a:latin typeface="+mn-lt"/>
                <a:ea typeface="+mn-ea"/>
                <a:cs typeface="+mn-cs"/>
              </a:defRPr>
            </a:lvl3pPr>
            <a:lvl4pPr marL="879607">
              <a:defRPr>
                <a:latin typeface="+mn-lt"/>
                <a:ea typeface="+mn-ea"/>
                <a:cs typeface="+mn-cs"/>
              </a:defRPr>
            </a:lvl4pPr>
            <a:lvl5pPr marL="1172809">
              <a:defRPr>
                <a:latin typeface="+mn-lt"/>
                <a:ea typeface="+mn-ea"/>
                <a:cs typeface="+mn-cs"/>
              </a:defRPr>
            </a:lvl5pPr>
            <a:lvl6pPr marL="1466012">
              <a:defRPr>
                <a:latin typeface="+mn-lt"/>
                <a:ea typeface="+mn-ea"/>
                <a:cs typeface="+mn-cs"/>
              </a:defRPr>
            </a:lvl6pPr>
            <a:lvl7pPr marL="1759214">
              <a:defRPr>
                <a:latin typeface="+mn-lt"/>
                <a:ea typeface="+mn-ea"/>
                <a:cs typeface="+mn-cs"/>
              </a:defRPr>
            </a:lvl7pPr>
            <a:lvl8pPr marL="2052417">
              <a:defRPr>
                <a:latin typeface="+mn-lt"/>
                <a:ea typeface="+mn-ea"/>
                <a:cs typeface="+mn-cs"/>
              </a:defRPr>
            </a:lvl8pPr>
            <a:lvl9pPr marL="2345619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PH" sz="1400" kern="0" dirty="0">
                <a:solidFill>
                  <a:schemeClr val="bg1"/>
                </a:solidFill>
              </a:rPr>
              <a:t>Senior Lecturer at University College Cork </a:t>
            </a:r>
          </a:p>
          <a:p>
            <a:endParaRPr lang="en-US" sz="1400" kern="0" dirty="0">
              <a:solidFill>
                <a:schemeClr val="bg1"/>
              </a:solidFill>
            </a:endParaRP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D8F23256-B4EC-E9F6-88DD-0C4409794472}"/>
              </a:ext>
            </a:extLst>
          </p:cNvPr>
          <p:cNvSpPr txBox="1">
            <a:spLocks/>
          </p:cNvSpPr>
          <p:nvPr/>
        </p:nvSpPr>
        <p:spPr>
          <a:xfrm>
            <a:off x="6452259" y="3899297"/>
            <a:ext cx="2628900" cy="507007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93202">
              <a:defRPr>
                <a:latin typeface="+mn-lt"/>
                <a:ea typeface="+mn-ea"/>
                <a:cs typeface="+mn-cs"/>
              </a:defRPr>
            </a:lvl2pPr>
            <a:lvl3pPr marL="586405">
              <a:defRPr>
                <a:latin typeface="+mn-lt"/>
                <a:ea typeface="+mn-ea"/>
                <a:cs typeface="+mn-cs"/>
              </a:defRPr>
            </a:lvl3pPr>
            <a:lvl4pPr marL="879607">
              <a:defRPr>
                <a:latin typeface="+mn-lt"/>
                <a:ea typeface="+mn-ea"/>
                <a:cs typeface="+mn-cs"/>
              </a:defRPr>
            </a:lvl4pPr>
            <a:lvl5pPr marL="1172809">
              <a:defRPr>
                <a:latin typeface="+mn-lt"/>
                <a:ea typeface="+mn-ea"/>
                <a:cs typeface="+mn-cs"/>
              </a:defRPr>
            </a:lvl5pPr>
            <a:lvl6pPr marL="1466012">
              <a:defRPr>
                <a:latin typeface="+mn-lt"/>
                <a:ea typeface="+mn-ea"/>
                <a:cs typeface="+mn-cs"/>
              </a:defRPr>
            </a:lvl6pPr>
            <a:lvl7pPr marL="1759214">
              <a:defRPr>
                <a:latin typeface="+mn-lt"/>
                <a:ea typeface="+mn-ea"/>
                <a:cs typeface="+mn-cs"/>
              </a:defRPr>
            </a:lvl7pPr>
            <a:lvl8pPr marL="2052417">
              <a:defRPr>
                <a:latin typeface="+mn-lt"/>
                <a:ea typeface="+mn-ea"/>
                <a:cs typeface="+mn-cs"/>
              </a:defRPr>
            </a:lvl8pPr>
            <a:lvl9pPr marL="2345619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PH" sz="1600" b="1" kern="0" dirty="0">
                <a:solidFill>
                  <a:schemeClr val="bg1"/>
                </a:solidFill>
              </a:rPr>
              <a:t>Jason Murtagh</a:t>
            </a:r>
          </a:p>
          <a:p>
            <a:endParaRPr lang="en-US" sz="1600" b="1" kern="0" dirty="0">
              <a:solidFill>
                <a:schemeClr val="bg1"/>
              </a:solidFill>
            </a:endParaRPr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94EDB746-A05A-14FB-A6CC-E575FAC84E83}"/>
              </a:ext>
            </a:extLst>
          </p:cNvPr>
          <p:cNvSpPr txBox="1">
            <a:spLocks/>
          </p:cNvSpPr>
          <p:nvPr/>
        </p:nvSpPr>
        <p:spPr>
          <a:xfrm>
            <a:off x="6452259" y="4539162"/>
            <a:ext cx="2628900" cy="542632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93202">
              <a:defRPr>
                <a:latin typeface="+mn-lt"/>
                <a:ea typeface="+mn-ea"/>
                <a:cs typeface="+mn-cs"/>
              </a:defRPr>
            </a:lvl2pPr>
            <a:lvl3pPr marL="586405">
              <a:defRPr>
                <a:latin typeface="+mn-lt"/>
                <a:ea typeface="+mn-ea"/>
                <a:cs typeface="+mn-cs"/>
              </a:defRPr>
            </a:lvl3pPr>
            <a:lvl4pPr marL="879607">
              <a:defRPr>
                <a:latin typeface="+mn-lt"/>
                <a:ea typeface="+mn-ea"/>
                <a:cs typeface="+mn-cs"/>
              </a:defRPr>
            </a:lvl4pPr>
            <a:lvl5pPr marL="1172809">
              <a:defRPr>
                <a:latin typeface="+mn-lt"/>
                <a:ea typeface="+mn-ea"/>
                <a:cs typeface="+mn-cs"/>
              </a:defRPr>
            </a:lvl5pPr>
            <a:lvl6pPr marL="1466012">
              <a:defRPr>
                <a:latin typeface="+mn-lt"/>
                <a:ea typeface="+mn-ea"/>
                <a:cs typeface="+mn-cs"/>
              </a:defRPr>
            </a:lvl6pPr>
            <a:lvl7pPr marL="1759214">
              <a:defRPr>
                <a:latin typeface="+mn-lt"/>
                <a:ea typeface="+mn-ea"/>
                <a:cs typeface="+mn-cs"/>
              </a:defRPr>
            </a:lvl7pPr>
            <a:lvl8pPr marL="2052417">
              <a:defRPr>
                <a:latin typeface="+mn-lt"/>
                <a:ea typeface="+mn-ea"/>
                <a:cs typeface="+mn-cs"/>
              </a:defRPr>
            </a:lvl8pPr>
            <a:lvl9pPr marL="2345619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PH" sz="1400" kern="0" dirty="0">
                <a:solidFill>
                  <a:schemeClr val="bg1"/>
                </a:solidFill>
              </a:rPr>
              <a:t>Lead Process Engineer &amp; SME at Arcadis</a:t>
            </a:r>
          </a:p>
          <a:p>
            <a:endParaRPr lang="en-US" sz="1400" kern="0" dirty="0">
              <a:solidFill>
                <a:schemeClr val="bg1"/>
              </a:solidFill>
            </a:endParaRPr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AC25BB31-9527-0373-9EB5-BF1E9DB29608}"/>
              </a:ext>
            </a:extLst>
          </p:cNvPr>
          <p:cNvSpPr txBox="1">
            <a:spLocks/>
          </p:cNvSpPr>
          <p:nvPr/>
        </p:nvSpPr>
        <p:spPr>
          <a:xfrm>
            <a:off x="9105900" y="3886230"/>
            <a:ext cx="2628900" cy="507007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93202">
              <a:defRPr>
                <a:latin typeface="+mn-lt"/>
                <a:ea typeface="+mn-ea"/>
                <a:cs typeface="+mn-cs"/>
              </a:defRPr>
            </a:lvl2pPr>
            <a:lvl3pPr marL="586405">
              <a:defRPr>
                <a:latin typeface="+mn-lt"/>
                <a:ea typeface="+mn-ea"/>
                <a:cs typeface="+mn-cs"/>
              </a:defRPr>
            </a:lvl3pPr>
            <a:lvl4pPr marL="879607">
              <a:defRPr>
                <a:latin typeface="+mn-lt"/>
                <a:ea typeface="+mn-ea"/>
                <a:cs typeface="+mn-cs"/>
              </a:defRPr>
            </a:lvl4pPr>
            <a:lvl5pPr marL="1172809">
              <a:defRPr>
                <a:latin typeface="+mn-lt"/>
                <a:ea typeface="+mn-ea"/>
                <a:cs typeface="+mn-cs"/>
              </a:defRPr>
            </a:lvl5pPr>
            <a:lvl6pPr marL="1466012">
              <a:defRPr>
                <a:latin typeface="+mn-lt"/>
                <a:ea typeface="+mn-ea"/>
                <a:cs typeface="+mn-cs"/>
              </a:defRPr>
            </a:lvl6pPr>
            <a:lvl7pPr marL="1759214">
              <a:defRPr>
                <a:latin typeface="+mn-lt"/>
                <a:ea typeface="+mn-ea"/>
                <a:cs typeface="+mn-cs"/>
              </a:defRPr>
            </a:lvl7pPr>
            <a:lvl8pPr marL="2052417">
              <a:defRPr>
                <a:latin typeface="+mn-lt"/>
                <a:ea typeface="+mn-ea"/>
                <a:cs typeface="+mn-cs"/>
              </a:defRPr>
            </a:lvl8pPr>
            <a:lvl9pPr marL="2345619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PH" sz="1600" b="1" kern="0" dirty="0">
                <a:solidFill>
                  <a:schemeClr val="bg1"/>
                </a:solidFill>
              </a:rPr>
              <a:t>Maria Jose Sousa Gallagher</a:t>
            </a:r>
          </a:p>
          <a:p>
            <a:endParaRPr lang="en-US" sz="1600" b="1" kern="0" dirty="0">
              <a:solidFill>
                <a:schemeClr val="bg1"/>
              </a:solidFill>
            </a:endParaRPr>
          </a:p>
        </p:txBody>
      </p:sp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1EEBB0F4-5DF8-E322-0F11-4D3CAD9FD8CD}"/>
              </a:ext>
            </a:extLst>
          </p:cNvPr>
          <p:cNvSpPr txBox="1">
            <a:spLocks/>
          </p:cNvSpPr>
          <p:nvPr/>
        </p:nvSpPr>
        <p:spPr>
          <a:xfrm>
            <a:off x="9105900" y="4539162"/>
            <a:ext cx="2628900" cy="542632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93202">
              <a:defRPr>
                <a:latin typeface="+mn-lt"/>
                <a:ea typeface="+mn-ea"/>
                <a:cs typeface="+mn-cs"/>
              </a:defRPr>
            </a:lvl2pPr>
            <a:lvl3pPr marL="586405">
              <a:defRPr>
                <a:latin typeface="+mn-lt"/>
                <a:ea typeface="+mn-ea"/>
                <a:cs typeface="+mn-cs"/>
              </a:defRPr>
            </a:lvl3pPr>
            <a:lvl4pPr marL="879607">
              <a:defRPr>
                <a:latin typeface="+mn-lt"/>
                <a:ea typeface="+mn-ea"/>
                <a:cs typeface="+mn-cs"/>
              </a:defRPr>
            </a:lvl4pPr>
            <a:lvl5pPr marL="1172809">
              <a:defRPr>
                <a:latin typeface="+mn-lt"/>
                <a:ea typeface="+mn-ea"/>
                <a:cs typeface="+mn-cs"/>
              </a:defRPr>
            </a:lvl5pPr>
            <a:lvl6pPr marL="1466012">
              <a:defRPr>
                <a:latin typeface="+mn-lt"/>
                <a:ea typeface="+mn-ea"/>
                <a:cs typeface="+mn-cs"/>
              </a:defRPr>
            </a:lvl6pPr>
            <a:lvl7pPr marL="1759214">
              <a:defRPr>
                <a:latin typeface="+mn-lt"/>
                <a:ea typeface="+mn-ea"/>
                <a:cs typeface="+mn-cs"/>
              </a:defRPr>
            </a:lvl7pPr>
            <a:lvl8pPr marL="2052417">
              <a:defRPr>
                <a:latin typeface="+mn-lt"/>
                <a:ea typeface="+mn-ea"/>
                <a:cs typeface="+mn-cs"/>
              </a:defRPr>
            </a:lvl8pPr>
            <a:lvl9pPr marL="2345619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kern="0" dirty="0">
                <a:solidFill>
                  <a:schemeClr val="bg1"/>
                </a:solidFill>
              </a:rPr>
              <a:t>Professor in Process &amp; Chemical Engineering, School of Engineering at University College Cork</a:t>
            </a:r>
            <a:endParaRPr lang="en-PH" sz="1400" kern="0" dirty="0">
              <a:solidFill>
                <a:schemeClr val="bg1"/>
              </a:solidFill>
            </a:endParaRPr>
          </a:p>
        </p:txBody>
      </p:sp>
      <p:pic>
        <p:nvPicPr>
          <p:cNvPr id="3" name="Picture 2" descr="A person wearing glasses and a suit&#10;&#10;AI-generated content may be incorrect.">
            <a:extLst>
              <a:ext uri="{FF2B5EF4-FFF2-40B4-BE49-F238E27FC236}">
                <a16:creationId xmlns:a16="http://schemas.microsoft.com/office/drawing/2014/main" id="{51340892-425F-C7BF-4415-A4482617FFC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5800" y="2285454"/>
            <a:ext cx="1589499" cy="15207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35505836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Graphic 33" descr="Streetlight with solid fill">
            <a:extLst>
              <a:ext uri="{FF2B5EF4-FFF2-40B4-BE49-F238E27FC236}">
                <a16:creationId xmlns:a16="http://schemas.microsoft.com/office/drawing/2014/main" id="{BDC3BD24-93B8-9F38-0F99-B35914D4635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69865" y="3154701"/>
            <a:ext cx="594519" cy="59451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91946AA-1A47-28B2-CDAC-5AB6AB2B85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Safety Moment </a:t>
            </a:r>
            <a:r>
              <a:rPr lang="en-GB" b="0">
                <a:solidFill>
                  <a:srgbClr val="FE7138"/>
                </a:solidFill>
              </a:rPr>
              <a:t>Keeping a Safe Distance</a:t>
            </a:r>
            <a:endParaRPr lang="en-IE" b="0">
              <a:solidFill>
                <a:srgbClr val="FE7138"/>
              </a:solidFill>
              <a:cs typeface="Arial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6148D29-00A5-39B4-19FC-26BA6FEEA5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FE63AA4-120D-435A-A130-F49443AF7CBF}" type="slidenum">
              <a:rPr lang="en-US" smtClean="0"/>
              <a:pPr/>
              <a:t>3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7BD55B8-500F-1337-4E6E-56ADD5977EB0}"/>
              </a:ext>
            </a:extLst>
          </p:cNvPr>
          <p:cNvCxnSpPr>
            <a:cxnSpLocks/>
          </p:cNvCxnSpPr>
          <p:nvPr/>
        </p:nvCxnSpPr>
        <p:spPr>
          <a:xfrm>
            <a:off x="5305425" y="2247900"/>
            <a:ext cx="0" cy="2657475"/>
          </a:xfrm>
          <a:prstGeom prst="line">
            <a:avLst/>
          </a:prstGeom>
          <a:ln w="6350" cmpd="sng">
            <a:solidFill>
              <a:schemeClr val="accent1"/>
            </a:solidFill>
            <a:headEnd type="none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Graphic 10" descr="Car with solid fill">
            <a:extLst>
              <a:ext uri="{FF2B5EF4-FFF2-40B4-BE49-F238E27FC236}">
                <a16:creationId xmlns:a16="http://schemas.microsoft.com/office/drawing/2014/main" id="{66BD57B1-9553-7755-3D36-2607FCC99AB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87464" y="3686175"/>
            <a:ext cx="594518" cy="594518"/>
          </a:xfrm>
          <a:prstGeom prst="rect">
            <a:avLst/>
          </a:prstGeom>
        </p:spPr>
      </p:pic>
      <p:pic>
        <p:nvPicPr>
          <p:cNvPr id="15" name="Graphic 14" descr="Car with solid fill">
            <a:extLst>
              <a:ext uri="{FF2B5EF4-FFF2-40B4-BE49-F238E27FC236}">
                <a16:creationId xmlns:a16="http://schemas.microsoft.com/office/drawing/2014/main" id="{9F2F32F6-3343-EA5D-45DA-43537769A8A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10755" y="3686175"/>
            <a:ext cx="594518" cy="594518"/>
          </a:xfrm>
          <a:prstGeom prst="rect">
            <a:avLst/>
          </a:prstGeom>
        </p:spPr>
      </p:pic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C1B9AA6B-FB31-BBF0-D68F-547DFC8F73C7}"/>
              </a:ext>
            </a:extLst>
          </p:cNvPr>
          <p:cNvCxnSpPr>
            <a:cxnSpLocks/>
          </p:cNvCxnSpPr>
          <p:nvPr/>
        </p:nvCxnSpPr>
        <p:spPr>
          <a:xfrm flipH="1">
            <a:off x="1853407" y="4648200"/>
            <a:ext cx="1666874" cy="0"/>
          </a:xfrm>
          <a:prstGeom prst="straightConnector1">
            <a:avLst/>
          </a:prstGeom>
          <a:ln w="6350" cmpd="sng">
            <a:solidFill>
              <a:schemeClr val="tx2"/>
            </a:solidFill>
            <a:headEnd type="oval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9" name="Graphic 18" descr="Car with solid fill">
            <a:extLst>
              <a:ext uri="{FF2B5EF4-FFF2-40B4-BE49-F238E27FC236}">
                <a16:creationId xmlns:a16="http://schemas.microsoft.com/office/drawing/2014/main" id="{5140EA0D-43FD-31FC-4F45-9BDB0F7A275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32940" y="3686175"/>
            <a:ext cx="594518" cy="594518"/>
          </a:xfrm>
          <a:prstGeom prst="rect">
            <a:avLst/>
          </a:prstGeom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284F5FE4-3481-2362-C103-4040E441BF99}"/>
              </a:ext>
            </a:extLst>
          </p:cNvPr>
          <p:cNvGrpSpPr/>
          <p:nvPr/>
        </p:nvGrpSpPr>
        <p:grpSpPr>
          <a:xfrm>
            <a:off x="1853407" y="3805238"/>
            <a:ext cx="8383985" cy="842962"/>
            <a:chOff x="2339182" y="3457575"/>
            <a:chExt cx="8383985" cy="1276350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19427733-7AA8-4EB9-8F79-58DBA7B3E3A3}"/>
                </a:ext>
              </a:extLst>
            </p:cNvPr>
            <p:cNvCxnSpPr/>
            <p:nvPr/>
          </p:nvCxnSpPr>
          <p:spPr>
            <a:xfrm>
              <a:off x="4006056" y="3457575"/>
              <a:ext cx="0" cy="1276350"/>
            </a:xfrm>
            <a:prstGeom prst="line">
              <a:avLst/>
            </a:prstGeom>
            <a:ln w="6350" cmpd="sng">
              <a:solidFill>
                <a:schemeClr val="tx2"/>
              </a:solidFill>
              <a:prstDash val="dash"/>
              <a:headEnd type="none"/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9CCCF463-6CF5-9C6F-CDF2-9C035C3A50AE}"/>
                </a:ext>
              </a:extLst>
            </p:cNvPr>
            <p:cNvCxnSpPr/>
            <p:nvPr/>
          </p:nvCxnSpPr>
          <p:spPr>
            <a:xfrm>
              <a:off x="2339182" y="3457575"/>
              <a:ext cx="0" cy="1276350"/>
            </a:xfrm>
            <a:prstGeom prst="line">
              <a:avLst/>
            </a:prstGeom>
            <a:ln w="6350" cmpd="sng">
              <a:solidFill>
                <a:schemeClr val="tx2"/>
              </a:solidFill>
              <a:prstDash val="dash"/>
              <a:headEnd type="none"/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44162F57-9A00-B104-EC78-82A7D3C2630F}"/>
                </a:ext>
              </a:extLst>
            </p:cNvPr>
            <p:cNvCxnSpPr/>
            <p:nvPr/>
          </p:nvCxnSpPr>
          <p:spPr>
            <a:xfrm>
              <a:off x="10723167" y="3457575"/>
              <a:ext cx="0" cy="1276350"/>
            </a:xfrm>
            <a:prstGeom prst="line">
              <a:avLst/>
            </a:prstGeom>
            <a:ln w="6350" cmpd="sng">
              <a:solidFill>
                <a:schemeClr val="tx2"/>
              </a:solidFill>
              <a:prstDash val="dash"/>
              <a:headEnd type="none"/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351A75B7-3533-2EF4-593A-77BC149EB4CB}"/>
                </a:ext>
              </a:extLst>
            </p:cNvPr>
            <p:cNvCxnSpPr/>
            <p:nvPr/>
          </p:nvCxnSpPr>
          <p:spPr>
            <a:xfrm>
              <a:off x="7389420" y="3457575"/>
              <a:ext cx="0" cy="1276350"/>
            </a:xfrm>
            <a:prstGeom prst="line">
              <a:avLst/>
            </a:prstGeom>
            <a:ln w="6350" cmpd="sng">
              <a:solidFill>
                <a:schemeClr val="tx2"/>
              </a:solidFill>
              <a:prstDash val="dash"/>
              <a:headEnd type="none"/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2" name="Graphic 21" descr="Car with solid fill">
            <a:extLst>
              <a:ext uri="{FF2B5EF4-FFF2-40B4-BE49-F238E27FC236}">
                <a16:creationId xmlns:a16="http://schemas.microsoft.com/office/drawing/2014/main" id="{79267854-95AD-7706-3A90-0F214A96811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27866" y="3686175"/>
            <a:ext cx="594518" cy="594518"/>
          </a:xfrm>
          <a:prstGeom prst="rect">
            <a:avLst/>
          </a:prstGeom>
        </p:spPr>
      </p:pic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271052AA-089C-3528-B76B-CF2F1E28A71B}"/>
              </a:ext>
            </a:extLst>
          </p:cNvPr>
          <p:cNvCxnSpPr>
            <a:cxnSpLocks/>
          </p:cNvCxnSpPr>
          <p:nvPr/>
        </p:nvCxnSpPr>
        <p:spPr>
          <a:xfrm flipH="1">
            <a:off x="6903645" y="4648200"/>
            <a:ext cx="3333747" cy="0"/>
          </a:xfrm>
          <a:prstGeom prst="straightConnector1">
            <a:avLst/>
          </a:prstGeom>
          <a:ln w="6350" cmpd="sng">
            <a:solidFill>
              <a:schemeClr val="tx2"/>
            </a:solidFill>
            <a:headEnd type="oval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B76428B4-40D3-383D-10A6-289144705000}"/>
              </a:ext>
            </a:extLst>
          </p:cNvPr>
          <p:cNvSpPr txBox="1"/>
          <p:nvPr/>
        </p:nvSpPr>
        <p:spPr>
          <a:xfrm>
            <a:off x="2281635" y="4488541"/>
            <a:ext cx="1020761" cy="3193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1513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GB" sz="1050" b="1">
                <a:solidFill>
                  <a:srgbClr val="0C0808"/>
                </a:solidFill>
                <a:latin typeface="Arial"/>
              </a:rPr>
              <a:t>2 SECONDS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C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451513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0C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7A1E852-ED08-10D5-45AD-8407F0A1CABC}"/>
              </a:ext>
            </a:extLst>
          </p:cNvPr>
          <p:cNvSpPr txBox="1"/>
          <p:nvPr/>
        </p:nvSpPr>
        <p:spPr>
          <a:xfrm>
            <a:off x="8149035" y="4488541"/>
            <a:ext cx="1020761" cy="3193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1513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GB" sz="1050" b="1">
                <a:solidFill>
                  <a:srgbClr val="0C0808"/>
                </a:solidFill>
                <a:latin typeface="Arial"/>
              </a:rPr>
              <a:t>4 SECONDS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C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451513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0C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0" name="Graphic 29" descr="Partial sun outline">
            <a:extLst>
              <a:ext uri="{FF2B5EF4-FFF2-40B4-BE49-F238E27FC236}">
                <a16:creationId xmlns:a16="http://schemas.microsoft.com/office/drawing/2014/main" id="{4455DBBE-C892-673F-9FD8-5C2FAA31DB0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281635" y="2157412"/>
            <a:ext cx="914400" cy="914400"/>
          </a:xfrm>
          <a:prstGeom prst="rect">
            <a:avLst/>
          </a:prstGeom>
        </p:spPr>
      </p:pic>
      <p:pic>
        <p:nvPicPr>
          <p:cNvPr id="32" name="Graphic 31" descr="Rain outline">
            <a:extLst>
              <a:ext uri="{FF2B5EF4-FFF2-40B4-BE49-F238E27FC236}">
                <a16:creationId xmlns:a16="http://schemas.microsoft.com/office/drawing/2014/main" id="{6A83973E-F808-7924-D846-1262B224327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024415" y="2247900"/>
            <a:ext cx="914400" cy="914400"/>
          </a:xfrm>
          <a:prstGeom prst="rect">
            <a:avLst/>
          </a:prstGeom>
        </p:spPr>
      </p:pic>
      <p:pic>
        <p:nvPicPr>
          <p:cNvPr id="37" name="Graphic 36" descr="Streetlight with solid fill">
            <a:extLst>
              <a:ext uri="{FF2B5EF4-FFF2-40B4-BE49-F238E27FC236}">
                <a16:creationId xmlns:a16="http://schemas.microsoft.com/office/drawing/2014/main" id="{076B568F-44AB-3E9D-FD26-E81B1EC3711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4990" y="3154701"/>
            <a:ext cx="594519" cy="594519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96B1B768-E61D-4CF7-0480-6B0B1AAAEE6C}"/>
              </a:ext>
            </a:extLst>
          </p:cNvPr>
          <p:cNvSpPr txBox="1"/>
          <p:nvPr/>
        </p:nvSpPr>
        <p:spPr>
          <a:xfrm>
            <a:off x="2686844" y="5424568"/>
            <a:ext cx="5480842" cy="931024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</a:pPr>
            <a:r>
              <a:rPr lang="en-GB" sz="1100"/>
              <a:t>Two second rule: to keep a safe distance from the vehicle in front, the two second rule can be followed. For dry conditions 2 seconds should be measured from a fixed point or 4 seconds in wet road conditions (icy conditions require larger gap). </a:t>
            </a:r>
          </a:p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</a:pPr>
            <a:r>
              <a:rPr lang="en-GB" sz="1100"/>
              <a:t>2 seconds can be measured Saying</a:t>
            </a:r>
            <a:r>
              <a:rPr lang="en-GB" sz="1100" b="1"/>
              <a:t> </a:t>
            </a:r>
            <a:r>
              <a:rPr lang="en-GB" sz="1100" b="1" u="sng"/>
              <a:t>“only a fool breaks the 2-second rule” </a:t>
            </a:r>
            <a:r>
              <a:rPr lang="en-GB" sz="1100"/>
              <a:t>which takes 2 seconds to say at a normal rate.</a:t>
            </a:r>
            <a:endParaRPr lang="en-GB" sz="1100">
              <a:cs typeface="Arial"/>
            </a:endParaRPr>
          </a:p>
        </p:txBody>
      </p:sp>
      <p:pic>
        <p:nvPicPr>
          <p:cNvPr id="3" name="Picture 2" descr="University College Cork — Regional Admissions Counselors of California">
            <a:extLst>
              <a:ext uri="{FF2B5EF4-FFF2-40B4-BE49-F238E27FC236}">
                <a16:creationId xmlns:a16="http://schemas.microsoft.com/office/drawing/2014/main" id="{800F102D-A272-7102-4B91-26B76F0130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59348" y="139996"/>
            <a:ext cx="918410" cy="918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168863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1D40E7A-C50C-5233-7C32-697124F5FF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erson looking at a city&#10;&#10;Description automatically generated">
            <a:extLst>
              <a:ext uri="{FF2B5EF4-FFF2-40B4-BE49-F238E27FC236}">
                <a16:creationId xmlns:a16="http://schemas.microsoft.com/office/drawing/2014/main" id="{F4DF0826-5302-2085-4004-5E9AFA2EA8CA}"/>
              </a:ext>
            </a:extLst>
          </p:cNvPr>
          <p:cNvPicPr/>
          <p:nvPr/>
        </p:nvPicPr>
        <p:blipFill rotWithShape="1"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468" r="9775" b="-307"/>
          <a:stretch/>
        </p:blipFill>
        <p:spPr>
          <a:xfrm>
            <a:off x="1" y="-23505"/>
            <a:ext cx="12191999" cy="6858001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DECE9C83-129C-96BE-E836-4DEAA89DF6AE}"/>
              </a:ext>
            </a:extLst>
          </p:cNvPr>
          <p:cNvSpPr/>
          <p:nvPr/>
        </p:nvSpPr>
        <p:spPr>
          <a:xfrm rot="5400000">
            <a:off x="1765301" y="-1741795"/>
            <a:ext cx="6858000" cy="10388599"/>
          </a:xfrm>
          <a:prstGeom prst="rect">
            <a:avLst/>
          </a:prstGeom>
          <a:gradFill flip="none" rotWithShape="1">
            <a:gsLst>
              <a:gs pos="64000">
                <a:srgbClr val="0B0707">
                  <a:alpha val="23000"/>
                </a:srgbClr>
              </a:gs>
              <a:gs pos="0">
                <a:schemeClr val="accent1">
                  <a:lumMod val="0"/>
                  <a:alpha val="0"/>
                </a:schemeClr>
              </a:gs>
              <a:gs pos="100000">
                <a:schemeClr val="tx1">
                  <a:lumMod val="0"/>
                  <a:alpha val="66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H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object 4">
            <a:extLst>
              <a:ext uri="{FF2B5EF4-FFF2-40B4-BE49-F238E27FC236}">
                <a16:creationId xmlns:a16="http://schemas.microsoft.com/office/drawing/2014/main" id="{43D9E0E8-B80A-07E3-F1AC-FDBDFC6A3DC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 rot="16200000">
            <a:off x="-1625579" y="2843420"/>
            <a:ext cx="4283810" cy="623778"/>
          </a:xfrm>
          <a:prstGeom prst="rect">
            <a:avLst/>
          </a:prstGeom>
        </p:spPr>
        <p:txBody>
          <a:bodyPr vert="horz" wrap="square" lIns="0" tIns="8145" rIns="0" bIns="0" rtlCol="0">
            <a:spAutoFit/>
          </a:bodyPr>
          <a:lstStyle/>
          <a:p>
            <a:pPr marL="8145" algn="r">
              <a:spcBef>
                <a:spcPts val="64"/>
              </a:spcBef>
            </a:pPr>
            <a:r>
              <a:rPr lang="en-GB" sz="4000" spc="-125" dirty="0">
                <a:latin typeface="+mn-lt"/>
              </a:rPr>
              <a:t>Agenda </a:t>
            </a:r>
            <a:endParaRPr lang="en-GB" sz="4000" dirty="0">
              <a:latin typeface="+mn-lt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26C5733-6F9F-4816-3BA2-47738288C798}"/>
              </a:ext>
            </a:extLst>
          </p:cNvPr>
          <p:cNvGraphicFramePr>
            <a:graphicFrameLocks noGrp="1"/>
          </p:cNvGraphicFramePr>
          <p:nvPr/>
        </p:nvGraphicFramePr>
        <p:xfrm>
          <a:off x="1082070" y="1013404"/>
          <a:ext cx="9872274" cy="47841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0409">
                  <a:extLst>
                    <a:ext uri="{9D8B030D-6E8A-4147-A177-3AD203B41FA5}">
                      <a16:colId xmlns:a16="http://schemas.microsoft.com/office/drawing/2014/main" val="22049527"/>
                    </a:ext>
                  </a:extLst>
                </a:gridCol>
                <a:gridCol w="8811865">
                  <a:extLst>
                    <a:ext uri="{9D8B030D-6E8A-4147-A177-3AD203B41FA5}">
                      <a16:colId xmlns:a16="http://schemas.microsoft.com/office/drawing/2014/main" val="364226651"/>
                    </a:ext>
                  </a:extLst>
                </a:gridCol>
              </a:tblGrid>
              <a:tr h="792245">
                <a:tc>
                  <a:txBody>
                    <a:bodyPr/>
                    <a:lstStyle/>
                    <a:p>
                      <a:pPr marL="814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4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14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4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ealth and safety momen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8587246"/>
                  </a:ext>
                </a:extLst>
              </a:tr>
              <a:tr h="792245">
                <a:tc>
                  <a:txBody>
                    <a:bodyPr/>
                    <a:lstStyle/>
                    <a:p>
                      <a:pPr marL="814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4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2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14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4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400" b="1" i="0" u="none" strike="noStrike" kern="0" cap="none" spc="-29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Why QbD still matters </a:t>
                      </a:r>
                      <a:endParaRPr kumimoji="0" lang="en-GB" sz="2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138673"/>
                  </a:ext>
                </a:extLst>
              </a:tr>
              <a:tr h="79224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cs typeface="Arial" panose="020B0604020202020204" pitchFamily="34" charset="0"/>
                        </a:rPr>
                        <a:t>03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cs typeface="Arial" panose="020B0604020202020204" pitchFamily="34" charset="0"/>
                        </a:rPr>
                        <a:t>The modelling toolbo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9879127"/>
                  </a:ext>
                </a:extLst>
              </a:tr>
              <a:tr h="792245">
                <a:tc>
                  <a:txBody>
                    <a:bodyPr/>
                    <a:lstStyle/>
                    <a:p>
                      <a:r>
                        <a:rPr lang="en-GB" sz="2400" b="1" dirty="0">
                          <a:solidFill>
                            <a:schemeClr val="bg1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2400" b="1" dirty="0">
                          <a:solidFill>
                            <a:schemeClr val="bg1"/>
                          </a:solidFill>
                          <a:latin typeface="+mn-lt"/>
                        </a:rPr>
                        <a:t>Data infrastructure: PAT, soft sensors &amp; instrumentati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8907518"/>
                  </a:ext>
                </a:extLst>
              </a:tr>
              <a:tr h="706280">
                <a:tc>
                  <a:txBody>
                    <a:bodyPr/>
                    <a:lstStyle/>
                    <a:p>
                      <a:r>
                        <a:rPr lang="en-GB" sz="2400" b="1" dirty="0">
                          <a:solidFill>
                            <a:schemeClr val="bg1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2400" b="1" dirty="0">
                          <a:solidFill>
                            <a:schemeClr val="bg1"/>
                          </a:solidFill>
                          <a:latin typeface="+mn-lt"/>
                        </a:rPr>
                        <a:t>Digital twin readiness: model (static) → shadow (live) → twin (interactive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6050538"/>
                  </a:ext>
                </a:extLst>
              </a:tr>
              <a:tr h="792245">
                <a:tc>
                  <a:txBody>
                    <a:bodyPr/>
                    <a:lstStyle/>
                    <a:p>
                      <a:r>
                        <a:rPr lang="en-GB" sz="2400" b="1" dirty="0">
                          <a:solidFill>
                            <a:schemeClr val="bg1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2400" b="1" dirty="0">
                          <a:solidFill>
                            <a:schemeClr val="bg1"/>
                          </a:solidFill>
                          <a:latin typeface="+mn-lt"/>
                        </a:rPr>
                        <a:t>A staged roadmap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6157133"/>
                  </a:ext>
                </a:extLst>
              </a:tr>
            </a:tbl>
          </a:graphicData>
        </a:graphic>
      </p:graphicFrame>
      <p:pic>
        <p:nvPicPr>
          <p:cNvPr id="5" name="Picture 4" descr="A white letters on a black background&#10;&#10;Description automatically generated">
            <a:extLst>
              <a:ext uri="{FF2B5EF4-FFF2-40B4-BE49-F238E27FC236}">
                <a16:creationId xmlns:a16="http://schemas.microsoft.com/office/drawing/2014/main" id="{BE8E66D8-3319-C5D8-E0B6-78D36E2487B4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4223" y="460187"/>
            <a:ext cx="1626671" cy="24841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1322592B-12DF-E9DB-0A21-C44026E56925}"/>
              </a:ext>
            </a:extLst>
          </p:cNvPr>
          <p:cNvSpPr/>
          <p:nvPr/>
        </p:nvSpPr>
        <p:spPr>
          <a:xfrm>
            <a:off x="1032651" y="1672152"/>
            <a:ext cx="5710616" cy="713796"/>
          </a:xfrm>
          <a:prstGeom prst="rect">
            <a:avLst/>
          </a:prstGeom>
          <a:noFill/>
          <a:ln w="539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47542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2E81855-4A22-9EB9-2C34-673EFF5E89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6" name="object 6">
            <a:extLst>
              <a:ext uri="{FF2B5EF4-FFF2-40B4-BE49-F238E27FC236}">
                <a16:creationId xmlns:a16="http://schemas.microsoft.com/office/drawing/2014/main" id="{E3981F61-DEA1-26E0-0F6F-8C048038C0DB}"/>
              </a:ext>
            </a:extLst>
          </p:cNvPr>
          <p:cNvSpPr/>
          <p:nvPr/>
        </p:nvSpPr>
        <p:spPr>
          <a:xfrm>
            <a:off x="0" y="-3"/>
            <a:ext cx="6151218" cy="6858000"/>
          </a:xfrm>
          <a:custGeom>
            <a:avLst/>
            <a:gdLst/>
            <a:ahLst/>
            <a:cxnLst/>
            <a:rect l="l" t="t" r="r" b="b"/>
            <a:pathLst>
              <a:path w="994410" h="5148580">
                <a:moveTo>
                  <a:pt x="994117" y="0"/>
                </a:moveTo>
                <a:lnTo>
                  <a:pt x="0" y="0"/>
                </a:lnTo>
                <a:lnTo>
                  <a:pt x="0" y="5147995"/>
                </a:lnTo>
                <a:lnTo>
                  <a:pt x="994117" y="5147995"/>
                </a:lnTo>
                <a:lnTo>
                  <a:pt x="994117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object 7">
            <a:extLst>
              <a:ext uri="{FF2B5EF4-FFF2-40B4-BE49-F238E27FC236}">
                <a16:creationId xmlns:a16="http://schemas.microsoft.com/office/drawing/2014/main" id="{09600332-288B-00AB-F1AF-BAEBAD6EC8CA}"/>
              </a:ext>
            </a:extLst>
          </p:cNvPr>
          <p:cNvSpPr/>
          <p:nvPr/>
        </p:nvSpPr>
        <p:spPr>
          <a:xfrm>
            <a:off x="6151218" y="-2"/>
            <a:ext cx="679852" cy="6858000"/>
          </a:xfrm>
          <a:custGeom>
            <a:avLst/>
            <a:gdLst/>
            <a:ahLst/>
            <a:cxnLst/>
            <a:rect l="l" t="t" r="r" b="b"/>
            <a:pathLst>
              <a:path w="497205" h="5148580">
                <a:moveTo>
                  <a:pt x="497052" y="0"/>
                </a:moveTo>
                <a:lnTo>
                  <a:pt x="0" y="0"/>
                </a:lnTo>
                <a:lnTo>
                  <a:pt x="0" y="5147995"/>
                </a:lnTo>
                <a:lnTo>
                  <a:pt x="497052" y="5147995"/>
                </a:lnTo>
                <a:lnTo>
                  <a:pt x="497052" y="0"/>
                </a:lnTo>
                <a:close/>
              </a:path>
            </a:pathLst>
          </a:custGeom>
          <a:solidFill>
            <a:srgbClr val="E3610F">
              <a:alpha val="64999"/>
            </a:srgbClr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object 8">
            <a:extLst>
              <a:ext uri="{FF2B5EF4-FFF2-40B4-BE49-F238E27FC236}">
                <a16:creationId xmlns:a16="http://schemas.microsoft.com/office/drawing/2014/main" id="{D4EC6182-4AC3-2ED1-B571-5889EA85148E}"/>
              </a:ext>
            </a:extLst>
          </p:cNvPr>
          <p:cNvSpPr/>
          <p:nvPr/>
        </p:nvSpPr>
        <p:spPr>
          <a:xfrm>
            <a:off x="6758686" y="-2"/>
            <a:ext cx="694441" cy="6858000"/>
          </a:xfrm>
          <a:custGeom>
            <a:avLst/>
            <a:gdLst/>
            <a:ahLst/>
            <a:cxnLst/>
            <a:rect l="l" t="t" r="r" b="b"/>
            <a:pathLst>
              <a:path w="248919" h="5148580">
                <a:moveTo>
                  <a:pt x="248526" y="0"/>
                </a:moveTo>
                <a:lnTo>
                  <a:pt x="0" y="0"/>
                </a:lnTo>
                <a:lnTo>
                  <a:pt x="0" y="5147995"/>
                </a:lnTo>
                <a:lnTo>
                  <a:pt x="248526" y="5147995"/>
                </a:lnTo>
                <a:lnTo>
                  <a:pt x="248526" y="0"/>
                </a:lnTo>
                <a:close/>
              </a:path>
            </a:pathLst>
          </a:custGeom>
          <a:solidFill>
            <a:srgbClr val="E3610F">
              <a:alpha val="34999"/>
            </a:srgbClr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FFE9F91-2781-5127-D918-A2187E602787}"/>
              </a:ext>
            </a:extLst>
          </p:cNvPr>
          <p:cNvSpPr txBox="1"/>
          <p:nvPr/>
        </p:nvSpPr>
        <p:spPr>
          <a:xfrm>
            <a:off x="176163" y="1332271"/>
            <a:ext cx="5671321" cy="452431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342900" marR="0" lvl="0" indent="-342900" algn="just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2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Quality is embedded in the design and control rather than end-of-line testing.</a:t>
            </a:r>
          </a:p>
          <a:p>
            <a:pPr marL="342900" marR="0" lvl="0" indent="-342900" algn="just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GB" sz="2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42900" marR="0" lvl="0" indent="-342900" algn="just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2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re elements include QTPP, CQAs, design space, control strategy, and continual improvement. </a:t>
            </a:r>
          </a:p>
          <a:p>
            <a:pPr marL="342900" marR="0" lvl="0" indent="-342900" algn="just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GB" sz="2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42900" marR="0" lvl="0" indent="-342900" algn="just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2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odels link CPPs to CQAs, to explore and operate within the design space, and prioritise experiments and control actuation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A14B2DA4-6874-0C86-8FD8-14597F3AC152}"/>
              </a:ext>
            </a:extLst>
          </p:cNvPr>
          <p:cNvSpPr txBox="1">
            <a:spLocks/>
          </p:cNvSpPr>
          <p:nvPr/>
        </p:nvSpPr>
        <p:spPr>
          <a:xfrm>
            <a:off x="459755" y="383123"/>
            <a:ext cx="4828791" cy="949148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Why </a:t>
            </a:r>
            <a:r>
              <a:rPr kumimoji="0" lang="en-GB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QbD Still Matters</a:t>
            </a:r>
          </a:p>
        </p:txBody>
      </p:sp>
    </p:spTree>
    <p:extLst>
      <p:ext uri="{BB962C8B-B14F-4D97-AF65-F5344CB8AC3E}">
        <p14:creationId xmlns:p14="http://schemas.microsoft.com/office/powerpoint/2010/main" val="7966542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34946F-232A-EA0E-F891-D541F338F9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2">
            <a:extLst>
              <a:ext uri="{FF2B5EF4-FFF2-40B4-BE49-F238E27FC236}">
                <a16:creationId xmlns:a16="http://schemas.microsoft.com/office/drawing/2014/main" id="{A0A43E8D-1628-56CD-C972-65B29418346C}"/>
              </a:ext>
            </a:extLst>
          </p:cNvPr>
          <p:cNvSpPr txBox="1"/>
          <p:nvPr/>
        </p:nvSpPr>
        <p:spPr>
          <a:xfrm>
            <a:off x="506198" y="243181"/>
            <a:ext cx="666164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0411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spc="-150" dirty="0">
                <a:solidFill>
                  <a:srgbClr val="E4610F"/>
                </a:solidFill>
                <a:latin typeface="Arial" panose="020B0604020202020204"/>
              </a:rPr>
              <a:t>Design </a:t>
            </a:r>
            <a:r>
              <a:rPr lang="en-US" sz="2400" b="1" spc="-150" dirty="0">
                <a:latin typeface="Arial" panose="020B0604020202020204"/>
              </a:rPr>
              <a:t>Space &amp; Uncertainty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B8D516B1-DC3E-6A33-1529-AA22AAB3779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0111721"/>
              </p:ext>
            </p:extLst>
          </p:nvPr>
        </p:nvGraphicFramePr>
        <p:xfrm>
          <a:off x="506198" y="1276350"/>
          <a:ext cx="11179603" cy="505271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9" name="Picture 2" descr="University College Cork — Regional Admissions Counselors of California">
            <a:extLst>
              <a:ext uri="{FF2B5EF4-FFF2-40B4-BE49-F238E27FC236}">
                <a16:creationId xmlns:a16="http://schemas.microsoft.com/office/drawing/2014/main" id="{B12BACCF-80DD-C144-B68E-E24ECE35BF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9569" y="14809"/>
            <a:ext cx="918410" cy="918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AC5B840-704A-CDDD-972A-86BF78BB6CCF}"/>
              </a:ext>
            </a:extLst>
          </p:cNvPr>
          <p:cNvCxnSpPr/>
          <p:nvPr/>
        </p:nvCxnSpPr>
        <p:spPr>
          <a:xfrm>
            <a:off x="386852" y="336549"/>
            <a:ext cx="0" cy="342898"/>
          </a:xfrm>
          <a:prstGeom prst="line">
            <a:avLst/>
          </a:prstGeom>
          <a:ln w="76200" cmpd="sng">
            <a:solidFill>
              <a:schemeClr val="accent2"/>
            </a:solidFill>
            <a:headEnd type="none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6231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709F3A0-4EFD-2185-0C30-A3C88748E4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erson looking at a city&#10;&#10;Description automatically generated">
            <a:extLst>
              <a:ext uri="{FF2B5EF4-FFF2-40B4-BE49-F238E27FC236}">
                <a16:creationId xmlns:a16="http://schemas.microsoft.com/office/drawing/2014/main" id="{0F621323-599B-90A8-DDED-F3D5129CA139}"/>
              </a:ext>
            </a:extLst>
          </p:cNvPr>
          <p:cNvPicPr/>
          <p:nvPr/>
        </p:nvPicPr>
        <p:blipFill rotWithShape="1"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468" r="9775" b="-307"/>
          <a:stretch/>
        </p:blipFill>
        <p:spPr>
          <a:xfrm>
            <a:off x="1" y="-23505"/>
            <a:ext cx="12191999" cy="6858001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C17B69E3-4F54-1088-DD8E-F5D12703F3ED}"/>
              </a:ext>
            </a:extLst>
          </p:cNvPr>
          <p:cNvSpPr/>
          <p:nvPr/>
        </p:nvSpPr>
        <p:spPr>
          <a:xfrm rot="5400000">
            <a:off x="1765301" y="-1741795"/>
            <a:ext cx="6858000" cy="10388599"/>
          </a:xfrm>
          <a:prstGeom prst="rect">
            <a:avLst/>
          </a:prstGeom>
          <a:gradFill flip="none" rotWithShape="1">
            <a:gsLst>
              <a:gs pos="64000">
                <a:srgbClr val="0B0707">
                  <a:alpha val="23000"/>
                </a:srgbClr>
              </a:gs>
              <a:gs pos="0">
                <a:schemeClr val="accent1">
                  <a:lumMod val="0"/>
                  <a:alpha val="0"/>
                </a:schemeClr>
              </a:gs>
              <a:gs pos="100000">
                <a:schemeClr val="tx1">
                  <a:lumMod val="0"/>
                  <a:alpha val="66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H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object 4">
            <a:extLst>
              <a:ext uri="{FF2B5EF4-FFF2-40B4-BE49-F238E27FC236}">
                <a16:creationId xmlns:a16="http://schemas.microsoft.com/office/drawing/2014/main" id="{3281E30B-ADD4-96D3-D72C-58C3A5E4334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 rot="16200000">
            <a:off x="-1625579" y="2843420"/>
            <a:ext cx="4283810" cy="623778"/>
          </a:xfrm>
          <a:prstGeom prst="rect">
            <a:avLst/>
          </a:prstGeom>
        </p:spPr>
        <p:txBody>
          <a:bodyPr vert="horz" wrap="square" lIns="0" tIns="8145" rIns="0" bIns="0" rtlCol="0">
            <a:spAutoFit/>
          </a:bodyPr>
          <a:lstStyle/>
          <a:p>
            <a:pPr marL="8145" algn="r">
              <a:spcBef>
                <a:spcPts val="64"/>
              </a:spcBef>
            </a:pPr>
            <a:r>
              <a:rPr lang="en-GB" sz="4000" spc="-125" dirty="0">
                <a:latin typeface="+mn-lt"/>
              </a:rPr>
              <a:t>Agenda </a:t>
            </a:r>
            <a:endParaRPr lang="en-GB" sz="4000" dirty="0">
              <a:latin typeface="+mn-lt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3942D494-FAFF-9E75-4CE1-79D7AC18A7A3}"/>
              </a:ext>
            </a:extLst>
          </p:cNvPr>
          <p:cNvGraphicFramePr>
            <a:graphicFrameLocks noGrp="1"/>
          </p:cNvGraphicFramePr>
          <p:nvPr/>
        </p:nvGraphicFramePr>
        <p:xfrm>
          <a:off x="1082070" y="1013404"/>
          <a:ext cx="9872274" cy="47841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0409">
                  <a:extLst>
                    <a:ext uri="{9D8B030D-6E8A-4147-A177-3AD203B41FA5}">
                      <a16:colId xmlns:a16="http://schemas.microsoft.com/office/drawing/2014/main" val="22049527"/>
                    </a:ext>
                  </a:extLst>
                </a:gridCol>
                <a:gridCol w="8811865">
                  <a:extLst>
                    <a:ext uri="{9D8B030D-6E8A-4147-A177-3AD203B41FA5}">
                      <a16:colId xmlns:a16="http://schemas.microsoft.com/office/drawing/2014/main" val="364226651"/>
                    </a:ext>
                  </a:extLst>
                </a:gridCol>
              </a:tblGrid>
              <a:tr h="792245">
                <a:tc>
                  <a:txBody>
                    <a:bodyPr/>
                    <a:lstStyle/>
                    <a:p>
                      <a:pPr marL="814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4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14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4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ealth and safety momen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8587246"/>
                  </a:ext>
                </a:extLst>
              </a:tr>
              <a:tr h="792245">
                <a:tc>
                  <a:txBody>
                    <a:bodyPr/>
                    <a:lstStyle/>
                    <a:p>
                      <a:pPr marL="814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4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2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14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4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400" b="1" i="0" u="none" strike="noStrike" kern="0" cap="none" spc="-29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Why QbD still matters </a:t>
                      </a:r>
                      <a:endParaRPr kumimoji="0" lang="en-GB" sz="2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138673"/>
                  </a:ext>
                </a:extLst>
              </a:tr>
              <a:tr h="79224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cs typeface="Arial" panose="020B0604020202020204" pitchFamily="34" charset="0"/>
                        </a:rPr>
                        <a:t>03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cs typeface="Arial" panose="020B0604020202020204" pitchFamily="34" charset="0"/>
                        </a:rPr>
                        <a:t>The modelling toolbo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9879127"/>
                  </a:ext>
                </a:extLst>
              </a:tr>
              <a:tr h="792245">
                <a:tc>
                  <a:txBody>
                    <a:bodyPr/>
                    <a:lstStyle/>
                    <a:p>
                      <a:r>
                        <a:rPr lang="en-GB" sz="2400" b="1" dirty="0">
                          <a:solidFill>
                            <a:schemeClr val="bg1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2400" b="1" dirty="0">
                          <a:solidFill>
                            <a:schemeClr val="bg1"/>
                          </a:solidFill>
                          <a:latin typeface="+mn-lt"/>
                        </a:rPr>
                        <a:t>Data infrastructure: PAT, soft sensors &amp; instrumentati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8907518"/>
                  </a:ext>
                </a:extLst>
              </a:tr>
              <a:tr h="706280">
                <a:tc>
                  <a:txBody>
                    <a:bodyPr/>
                    <a:lstStyle/>
                    <a:p>
                      <a:r>
                        <a:rPr lang="en-GB" sz="2400" b="1" dirty="0">
                          <a:solidFill>
                            <a:schemeClr val="bg1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2400" b="1" dirty="0">
                          <a:solidFill>
                            <a:schemeClr val="bg1"/>
                          </a:solidFill>
                          <a:latin typeface="+mn-lt"/>
                        </a:rPr>
                        <a:t>Digital twin readiness: model (static) → shadow (live) → twin (interactive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6050538"/>
                  </a:ext>
                </a:extLst>
              </a:tr>
              <a:tr h="792245">
                <a:tc>
                  <a:txBody>
                    <a:bodyPr/>
                    <a:lstStyle/>
                    <a:p>
                      <a:r>
                        <a:rPr lang="en-GB" sz="2400" b="1" dirty="0">
                          <a:solidFill>
                            <a:schemeClr val="bg1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2400" b="1" dirty="0">
                          <a:solidFill>
                            <a:schemeClr val="bg1"/>
                          </a:solidFill>
                          <a:latin typeface="+mn-lt"/>
                        </a:rPr>
                        <a:t>A staged roadmap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6157133"/>
                  </a:ext>
                </a:extLst>
              </a:tr>
            </a:tbl>
          </a:graphicData>
        </a:graphic>
      </p:graphicFrame>
      <p:pic>
        <p:nvPicPr>
          <p:cNvPr id="5" name="Picture 4" descr="A white letters on a black background&#10;&#10;Description automatically generated">
            <a:extLst>
              <a:ext uri="{FF2B5EF4-FFF2-40B4-BE49-F238E27FC236}">
                <a16:creationId xmlns:a16="http://schemas.microsoft.com/office/drawing/2014/main" id="{6CA3DCB5-35A4-12EC-91C1-36E29642EF7E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4223" y="460187"/>
            <a:ext cx="1626671" cy="24841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E662FC7B-8AF2-D848-6AC5-20451C144361}"/>
              </a:ext>
            </a:extLst>
          </p:cNvPr>
          <p:cNvSpPr/>
          <p:nvPr/>
        </p:nvSpPr>
        <p:spPr>
          <a:xfrm>
            <a:off x="1032651" y="2439861"/>
            <a:ext cx="5710616" cy="713796"/>
          </a:xfrm>
          <a:prstGeom prst="rect">
            <a:avLst/>
          </a:prstGeom>
          <a:noFill/>
          <a:ln w="539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92726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9C1B14-A078-94E1-40B6-87916E5401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platzhalter 12">
            <a:extLst>
              <a:ext uri="{FF2B5EF4-FFF2-40B4-BE49-F238E27FC236}">
                <a16:creationId xmlns:a16="http://schemas.microsoft.com/office/drawing/2014/main" id="{FA473DAB-BA7A-5422-970D-BD68A40E6417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75057" y="2351557"/>
            <a:ext cx="2746768" cy="4005799"/>
          </a:xfrm>
          <a:prstGeom prst="rect">
            <a:avLst/>
          </a:prstGeom>
        </p:spPr>
      </p:pic>
      <p:sp>
        <p:nvSpPr>
          <p:cNvPr id="20" name="object 5">
            <a:extLst>
              <a:ext uri="{FF2B5EF4-FFF2-40B4-BE49-F238E27FC236}">
                <a16:creationId xmlns:a16="http://schemas.microsoft.com/office/drawing/2014/main" id="{1B03FA8D-8768-58A7-D1AB-82BD323B565C}"/>
              </a:ext>
            </a:extLst>
          </p:cNvPr>
          <p:cNvSpPr/>
          <p:nvPr/>
        </p:nvSpPr>
        <p:spPr>
          <a:xfrm>
            <a:off x="8463344" y="2351557"/>
            <a:ext cx="2770194" cy="3917134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chemeClr val="tx1">
                  <a:alpha val="0"/>
                </a:schemeClr>
              </a:gs>
            </a:gsLst>
            <a:lin ang="5400000" scaled="1"/>
          </a:gradFill>
        </p:spPr>
        <p:txBody>
          <a:bodyPr wrap="square" lIns="0" tIns="0" rIns="0" bIns="0" rtlCol="0"/>
          <a:lstStyle/>
          <a:p>
            <a:pPr marL="0" marR="0" lvl="0" indent="0" algn="l" defTabSz="4515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78" b="0" i="0" u="none" strike="noStrike" kern="1200" cap="none" spc="0" normalizeH="0" baseline="0" noProof="0">
              <a:ln>
                <a:noFill/>
              </a:ln>
              <a:solidFill>
                <a:srgbClr val="0C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2" name="Bildplatzhalter 11">
            <a:extLst>
              <a:ext uri="{FF2B5EF4-FFF2-40B4-BE49-F238E27FC236}">
                <a16:creationId xmlns:a16="http://schemas.microsoft.com/office/drawing/2014/main" id="{E0C30ED9-FD30-6F23-5E72-C828E0D6776F}"/>
              </a:ext>
            </a:extLst>
          </p:cNvPr>
          <p:cNvPicPr preferRelativeResize="0">
            <a:picLocks noGrp="1"/>
          </p:cNvPicPr>
          <p:nvPr>
            <p:ph type="pic" sz="quarter" idx="17"/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41684" y="2385145"/>
            <a:ext cx="2811076" cy="3923819"/>
          </a:xfrm>
          <a:prstGeom prst="rect">
            <a:avLst/>
          </a:prstGeom>
        </p:spPr>
      </p:pic>
      <p:sp>
        <p:nvSpPr>
          <p:cNvPr id="2" name="object 5">
            <a:extLst>
              <a:ext uri="{FF2B5EF4-FFF2-40B4-BE49-F238E27FC236}">
                <a16:creationId xmlns:a16="http://schemas.microsoft.com/office/drawing/2014/main" id="{91846A8D-29C0-4DEB-B958-F96B384FD692}"/>
              </a:ext>
            </a:extLst>
          </p:cNvPr>
          <p:cNvSpPr/>
          <p:nvPr/>
        </p:nvSpPr>
        <p:spPr>
          <a:xfrm>
            <a:off x="4440640" y="2391829"/>
            <a:ext cx="2805657" cy="3923817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chemeClr val="tx1">
                  <a:alpha val="0"/>
                </a:schemeClr>
              </a:gs>
            </a:gsLst>
            <a:lin ang="5400000" scaled="1"/>
          </a:gradFill>
        </p:spPr>
        <p:txBody>
          <a:bodyPr wrap="square" lIns="0" tIns="0" rIns="0" bIns="0" rtlCol="0"/>
          <a:lstStyle/>
          <a:p>
            <a:pPr marL="0" marR="0" lvl="0" indent="0" algn="l" defTabSz="4515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78" b="0" i="0" u="none" strike="noStrike" kern="1200" cap="none" spc="0" normalizeH="0" baseline="0" noProof="0">
              <a:ln>
                <a:noFill/>
              </a:ln>
              <a:solidFill>
                <a:srgbClr val="0C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4" name="Bildplatzhalter 13">
            <a:extLst>
              <a:ext uri="{FF2B5EF4-FFF2-40B4-BE49-F238E27FC236}">
                <a16:creationId xmlns:a16="http://schemas.microsoft.com/office/drawing/2014/main" id="{2D541921-2E26-A4DA-05ED-B88BAE7E0AA3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1225" y="2478119"/>
            <a:ext cx="2808200" cy="3923817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1F2213CF-E28A-334B-0B34-D9A827E5E053}"/>
              </a:ext>
            </a:extLst>
          </p:cNvPr>
          <p:cNvSpPr txBox="1"/>
          <p:nvPr/>
        </p:nvSpPr>
        <p:spPr>
          <a:xfrm>
            <a:off x="478824" y="1350021"/>
            <a:ext cx="184731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l" defTabSz="4515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srgbClr val="31353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object 5">
            <a:extLst>
              <a:ext uri="{FF2B5EF4-FFF2-40B4-BE49-F238E27FC236}">
                <a16:creationId xmlns:a16="http://schemas.microsoft.com/office/drawing/2014/main" id="{A2BDF0A4-BB23-C822-CC94-4C8D92E3D2EE}"/>
              </a:ext>
            </a:extLst>
          </p:cNvPr>
          <p:cNvSpPr/>
          <p:nvPr/>
        </p:nvSpPr>
        <p:spPr>
          <a:xfrm>
            <a:off x="567177" y="2398512"/>
            <a:ext cx="2805657" cy="3917134"/>
          </a:xfrm>
          <a:prstGeom prst="rect">
            <a:avLst/>
          </a:pr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4515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78" b="0" i="0" u="none" strike="noStrike" kern="1200" cap="none" spc="0" normalizeH="0" baseline="0" noProof="0">
              <a:ln>
                <a:noFill/>
              </a:ln>
              <a:solidFill>
                <a:srgbClr val="0C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object 19">
            <a:extLst>
              <a:ext uri="{FF2B5EF4-FFF2-40B4-BE49-F238E27FC236}">
                <a16:creationId xmlns:a16="http://schemas.microsoft.com/office/drawing/2014/main" id="{EC4D6C46-F509-317E-5E32-C3488BD3B47A}"/>
              </a:ext>
            </a:extLst>
          </p:cNvPr>
          <p:cNvSpPr txBox="1"/>
          <p:nvPr/>
        </p:nvSpPr>
        <p:spPr>
          <a:xfrm>
            <a:off x="625222" y="2520056"/>
            <a:ext cx="2604834" cy="1273032"/>
          </a:xfrm>
          <a:prstGeom prst="rect">
            <a:avLst/>
          </a:prstGeom>
        </p:spPr>
        <p:txBody>
          <a:bodyPr vert="horz" wrap="square" lIns="91440" tIns="72000" rIns="0" bIns="0" rtlCol="0">
            <a:spAutoFit/>
          </a:bodyPr>
          <a:lstStyle/>
          <a:p>
            <a:pPr marL="12700" marR="5080" lvl="0" indent="0" algn="l" defTabSz="4515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mpirical</a:t>
            </a:r>
          </a:p>
          <a:p>
            <a:pPr marL="12700" marR="5080" lvl="0" indent="0" algn="l" defTabSz="4515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br>
              <a:rPr kumimoji="0" lang="en-US" sz="14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ast pattern capture; limited extrapolation</a:t>
            </a:r>
            <a:endParaRPr kumimoji="0" lang="en-US" sz="1400" b="0" i="0" u="none" strike="noStrike" kern="1200" cap="none" spc="-5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7" name="object 19">
            <a:extLst>
              <a:ext uri="{FF2B5EF4-FFF2-40B4-BE49-F238E27FC236}">
                <a16:creationId xmlns:a16="http://schemas.microsoft.com/office/drawing/2014/main" id="{0E884EBD-5375-6DE2-BC73-08EE14AC3EA4}"/>
              </a:ext>
            </a:extLst>
          </p:cNvPr>
          <p:cNvSpPr txBox="1"/>
          <p:nvPr/>
        </p:nvSpPr>
        <p:spPr>
          <a:xfrm>
            <a:off x="4560301" y="2520056"/>
            <a:ext cx="2539250" cy="1457698"/>
          </a:xfrm>
          <a:prstGeom prst="rect">
            <a:avLst/>
          </a:prstGeom>
        </p:spPr>
        <p:txBody>
          <a:bodyPr vert="horz" wrap="square" lIns="91440" tIns="72000" rIns="0" bIns="0" rtlCol="0">
            <a:spAutoFit/>
          </a:bodyPr>
          <a:lstStyle/>
          <a:p>
            <a:pPr marL="12700" marR="5080" lvl="0" indent="0" algn="l" defTabSz="4515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echanistic</a:t>
            </a:r>
          </a:p>
          <a:p>
            <a:pPr marL="12700" marR="5080" lvl="0" indent="0" algn="l" defTabSz="4515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br>
              <a:rPr kumimoji="0" lang="en-US" sz="1400" b="1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sz="16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hysics-based; better generalization &amp; explainability</a:t>
            </a:r>
          </a:p>
        </p:txBody>
      </p:sp>
      <p:sp>
        <p:nvSpPr>
          <p:cNvPr id="19" name="object 19">
            <a:extLst>
              <a:ext uri="{FF2B5EF4-FFF2-40B4-BE49-F238E27FC236}">
                <a16:creationId xmlns:a16="http://schemas.microsoft.com/office/drawing/2014/main" id="{66B3AFF5-8098-4854-D794-106BAAA80CFD}"/>
              </a:ext>
            </a:extLst>
          </p:cNvPr>
          <p:cNvSpPr txBox="1"/>
          <p:nvPr/>
        </p:nvSpPr>
        <p:spPr>
          <a:xfrm>
            <a:off x="8524520" y="2474791"/>
            <a:ext cx="2310993" cy="1488475"/>
          </a:xfrm>
          <a:prstGeom prst="rect">
            <a:avLst/>
          </a:prstGeom>
        </p:spPr>
        <p:txBody>
          <a:bodyPr vert="horz" wrap="square" lIns="91440" tIns="72000" rIns="0" bIns="0" rtlCol="0">
            <a:spAutoFit/>
          </a:bodyPr>
          <a:lstStyle/>
          <a:p>
            <a:pPr marL="12700" marR="5080" lvl="0" indent="0" algn="l" defTabSz="4515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ybrid</a:t>
            </a:r>
            <a:r>
              <a:rPr kumimoji="0" lang="en-US" sz="1800" b="1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</a:p>
          <a:p>
            <a:pPr marL="12700" marR="5080" lvl="0" indent="0" algn="l" defTabSz="4515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800" b="1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GB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echanistic spine + data-driven </a:t>
            </a:r>
          </a:p>
          <a:p>
            <a:pPr marL="12700" marR="5080" lvl="0" indent="0" algn="l" defTabSz="4515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-5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1" name="ENG_Subtitle">
            <a:extLst>
              <a:ext uri="{FF2B5EF4-FFF2-40B4-BE49-F238E27FC236}">
                <a16:creationId xmlns:a16="http://schemas.microsoft.com/office/drawing/2014/main" id="{449ED432-D794-CE5B-DC21-604070517EF2}"/>
              </a:ext>
            </a:extLst>
          </p:cNvPr>
          <p:cNvSpPr txBox="1">
            <a:spLocks/>
          </p:cNvSpPr>
          <p:nvPr/>
        </p:nvSpPr>
        <p:spPr>
          <a:xfrm>
            <a:off x="478824" y="1256300"/>
            <a:ext cx="11255976" cy="780589"/>
          </a:xfrm>
        </p:spPr>
        <p:txBody>
          <a:bodyPr lIns="0" tIns="0" bIns="0">
            <a:noAutofit/>
          </a:bodyPr>
          <a:lstStyle>
            <a:lvl1pPr marL="0" indent="0" algn="l" defTabSz="98691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en-US" sz="2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86912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86912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86912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872115" algn="l"/>
              </a:tabLst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86912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14008" indent="-246728" algn="l" defTabSz="986912" rtl="0" eaLnBrk="1" latinLnBrk="0" hangingPunct="1">
              <a:lnSpc>
                <a:spcPct val="90000"/>
              </a:lnSpc>
              <a:spcBef>
                <a:spcPts val="540"/>
              </a:spcBef>
              <a:buFont typeface="Arial" panose="020B0604020202020204" pitchFamily="34" charset="0"/>
              <a:buChar char="•"/>
              <a:defRPr sz="19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7464" indent="-246728" algn="l" defTabSz="986912" rtl="0" eaLnBrk="1" latinLnBrk="0" hangingPunct="1">
              <a:lnSpc>
                <a:spcPct val="90000"/>
              </a:lnSpc>
              <a:spcBef>
                <a:spcPts val="540"/>
              </a:spcBef>
              <a:buFont typeface="Arial" panose="020B0604020202020204" pitchFamily="34" charset="0"/>
              <a:buChar char="•"/>
              <a:defRPr sz="19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00920" indent="-246728" algn="l" defTabSz="986912" rtl="0" eaLnBrk="1" latinLnBrk="0" hangingPunct="1">
              <a:lnSpc>
                <a:spcPct val="90000"/>
              </a:lnSpc>
              <a:spcBef>
                <a:spcPts val="540"/>
              </a:spcBef>
              <a:buFont typeface="Arial" panose="020B0604020202020204" pitchFamily="34" charset="0"/>
              <a:buChar char="•"/>
              <a:defRPr sz="19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94376" indent="-246728" algn="l" defTabSz="986912" rtl="0" eaLnBrk="1" latinLnBrk="0" hangingPunct="1">
              <a:lnSpc>
                <a:spcPct val="90000"/>
              </a:lnSpc>
              <a:spcBef>
                <a:spcPts val="540"/>
              </a:spcBef>
              <a:buFont typeface="Arial" panose="020B0604020202020204" pitchFamily="34" charset="0"/>
              <a:buChar char="•"/>
              <a:defRPr sz="19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8691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4610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0C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del selection should be determined by the intended application and by the level and quality of data and process understanding that can be sustained</a:t>
            </a:r>
          </a:p>
        </p:txBody>
      </p:sp>
      <p:grpSp>
        <p:nvGrpSpPr>
          <p:cNvPr id="22" name="GER_Header_GBA" hidden="1">
            <a:extLst>
              <a:ext uri="{FF2B5EF4-FFF2-40B4-BE49-F238E27FC236}">
                <a16:creationId xmlns:a16="http://schemas.microsoft.com/office/drawing/2014/main" id="{F8F07012-783B-B89B-483E-458FDAA92AD2}"/>
              </a:ext>
            </a:extLst>
          </p:cNvPr>
          <p:cNvGrpSpPr/>
          <p:nvPr/>
        </p:nvGrpSpPr>
        <p:grpSpPr>
          <a:xfrm>
            <a:off x="448194" y="1828800"/>
            <a:ext cx="11294112" cy="787273"/>
            <a:chOff x="448194" y="1828800"/>
            <a:chExt cx="11294112" cy="787273"/>
          </a:xfrm>
        </p:grpSpPr>
        <p:sp>
          <p:nvSpPr>
            <p:cNvPr id="23" name="object 19">
              <a:extLst>
                <a:ext uri="{FF2B5EF4-FFF2-40B4-BE49-F238E27FC236}">
                  <a16:creationId xmlns:a16="http://schemas.microsoft.com/office/drawing/2014/main" id="{DA8FD54B-1D84-963A-F1BA-37ACD3314E17}"/>
                </a:ext>
              </a:extLst>
            </p:cNvPr>
            <p:cNvSpPr txBox="1"/>
            <p:nvPr/>
          </p:nvSpPr>
          <p:spPr>
            <a:xfrm>
              <a:off x="448194" y="1835484"/>
              <a:ext cx="3627006" cy="780589"/>
            </a:xfrm>
            <a:prstGeom prst="rect">
              <a:avLst/>
            </a:prstGeom>
          </p:spPr>
          <p:txBody>
            <a:bodyPr vert="horz" wrap="square" lIns="91440" tIns="72000" rIns="0" bIns="0" rtlCol="0">
              <a:spAutoFit/>
            </a:bodyPr>
            <a:lstStyle/>
            <a:p>
              <a:pPr marL="12700" marR="5080" lvl="0" indent="0" algn="l" defTabSz="4515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-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Places </a:t>
              </a:r>
              <a:br>
                <a:rPr kumimoji="0" lang="en-US" sz="1400" b="0" i="0" u="none" strike="noStrike" kern="1200" cap="none" spc="-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</a:br>
              <a:r>
                <a:rPr kumimoji="0" lang="en-US" sz="1400" b="0" i="0" u="none" strike="noStrike" kern="1200" cap="none" spc="-5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Schaffung</a:t>
              </a:r>
              <a:r>
                <a:rPr kumimoji="0" lang="en-US" sz="1400" b="0" i="0" u="none" strike="noStrike" kern="1200" cap="none" spc="-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und </a:t>
              </a:r>
              <a:r>
                <a:rPr kumimoji="0" lang="en-US" sz="1400" b="0" i="0" u="none" strike="noStrike" kern="1200" cap="none" spc="-5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Erhaltung</a:t>
              </a:r>
              <a:r>
                <a:rPr kumimoji="0" lang="en-US" sz="1400" b="0" i="0" u="none" strike="noStrike" kern="1200" cap="none" spc="-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</a:t>
              </a:r>
              <a:r>
                <a:rPr kumimoji="0" lang="de-DE" sz="1400" b="0" i="0" u="none" strike="noStrike" kern="1200" cap="none" spc="-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nachhaltiger Orte, an denen Menschen leben und arbeiten</a:t>
              </a:r>
              <a:endParaRPr kumimoji="0" lang="en-US" sz="1400" b="0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4" name="object 19">
              <a:extLst>
                <a:ext uri="{FF2B5EF4-FFF2-40B4-BE49-F238E27FC236}">
                  <a16:creationId xmlns:a16="http://schemas.microsoft.com/office/drawing/2014/main" id="{2A8EAE5B-CD1E-6EF8-9BB3-E6A37E3322BC}"/>
                </a:ext>
              </a:extLst>
            </p:cNvPr>
            <p:cNvSpPr txBox="1"/>
            <p:nvPr/>
          </p:nvSpPr>
          <p:spPr>
            <a:xfrm>
              <a:off x="4285500" y="1828800"/>
              <a:ext cx="3627006" cy="780589"/>
            </a:xfrm>
            <a:prstGeom prst="rect">
              <a:avLst/>
            </a:prstGeom>
          </p:spPr>
          <p:txBody>
            <a:bodyPr vert="horz" wrap="square" lIns="91440" tIns="72000" rIns="0" bIns="0" rtlCol="0">
              <a:spAutoFit/>
            </a:bodyPr>
            <a:lstStyle/>
            <a:p>
              <a:pPr marL="12700" marR="5080" lvl="0" indent="0" algn="l" defTabSz="4515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-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Resilience </a:t>
              </a:r>
              <a:br>
                <a:rPr kumimoji="0" lang="en-US" sz="1400" b="1" i="0" u="none" strike="noStrike" kern="1200" cap="none" spc="-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</a:br>
              <a:r>
                <a:rPr kumimoji="0" lang="de-DE" sz="1400" b="0" i="0" u="none" strike="noStrike" kern="1200" cap="none" spc="-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Schutz der Umwelt &amp; Wasserressourcen, Energie für zukünftige Generationen</a:t>
              </a:r>
              <a:endParaRPr kumimoji="0" lang="en-US" sz="1400" b="0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5" name="object 19">
              <a:extLst>
                <a:ext uri="{FF2B5EF4-FFF2-40B4-BE49-F238E27FC236}">
                  <a16:creationId xmlns:a16="http://schemas.microsoft.com/office/drawing/2014/main" id="{00B4C1BC-F6EE-37A4-A875-A3F01A130103}"/>
                </a:ext>
              </a:extLst>
            </p:cNvPr>
            <p:cNvSpPr txBox="1"/>
            <p:nvPr/>
          </p:nvSpPr>
          <p:spPr>
            <a:xfrm>
              <a:off x="8115300" y="1828800"/>
              <a:ext cx="3627006" cy="780589"/>
            </a:xfrm>
            <a:prstGeom prst="rect">
              <a:avLst/>
            </a:prstGeom>
          </p:spPr>
          <p:txBody>
            <a:bodyPr vert="horz" wrap="square" lIns="91440" tIns="72000" rIns="0" bIns="0" rtlCol="0">
              <a:spAutoFit/>
            </a:bodyPr>
            <a:lstStyle/>
            <a:p>
              <a:pPr marL="12700" marR="5080" lvl="0" indent="0" algn="l" defTabSz="4515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-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Mobility </a:t>
              </a:r>
              <a:br>
                <a:rPr kumimoji="0" lang="en-US" sz="1800" b="1" i="0" u="none" strike="noStrike" kern="1200" cap="none" spc="-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</a:br>
              <a:r>
                <a:rPr kumimoji="0" lang="de-DE" sz="1400" b="0" i="0" u="none" strike="noStrike" kern="1200" cap="none" spc="-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Gestaltung florierender und vernetzter </a:t>
              </a:r>
              <a:br>
                <a:rPr kumimoji="0" lang="de-DE" sz="1400" b="0" i="0" u="none" strike="noStrike" kern="1200" cap="none" spc="-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</a:br>
              <a:r>
                <a:rPr kumimoji="0" lang="de-DE" sz="1400" b="0" i="0" u="none" strike="noStrike" kern="1200" cap="none" spc="-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Städte und Gemeinden</a:t>
              </a:r>
              <a:endParaRPr kumimoji="0" lang="en-US" sz="1400" b="0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</p:grpSp>
      <p:sp>
        <p:nvSpPr>
          <p:cNvPr id="26" name="GER_Subtitle" hidden="1">
            <a:extLst>
              <a:ext uri="{FF2B5EF4-FFF2-40B4-BE49-F238E27FC236}">
                <a16:creationId xmlns:a16="http://schemas.microsoft.com/office/drawing/2014/main" id="{B5BF8B7B-7369-568F-C6CE-A4097BC5AD9C}"/>
              </a:ext>
            </a:extLst>
          </p:cNvPr>
          <p:cNvSpPr txBox="1">
            <a:spLocks/>
          </p:cNvSpPr>
          <p:nvPr/>
        </p:nvSpPr>
        <p:spPr>
          <a:xfrm>
            <a:off x="478824" y="1350021"/>
            <a:ext cx="11255976" cy="478779"/>
          </a:xfrm>
        </p:spPr>
        <p:txBody>
          <a:bodyPr lIns="0" tIns="0" bIns="0">
            <a:noAutofit/>
          </a:bodyPr>
          <a:lstStyle>
            <a:lvl1pPr marL="0" indent="0" algn="l" defTabSz="98691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en-US" sz="2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86912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86912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86912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872115" algn="l"/>
              </a:tabLst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86912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14008" indent="-246728" algn="l" defTabSz="986912" rtl="0" eaLnBrk="1" latinLnBrk="0" hangingPunct="1">
              <a:lnSpc>
                <a:spcPct val="90000"/>
              </a:lnSpc>
              <a:spcBef>
                <a:spcPts val="540"/>
              </a:spcBef>
              <a:buFont typeface="Arial" panose="020B0604020202020204" pitchFamily="34" charset="0"/>
              <a:buChar char="•"/>
              <a:defRPr sz="19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7464" indent="-246728" algn="l" defTabSz="986912" rtl="0" eaLnBrk="1" latinLnBrk="0" hangingPunct="1">
              <a:lnSpc>
                <a:spcPct val="90000"/>
              </a:lnSpc>
              <a:spcBef>
                <a:spcPts val="540"/>
              </a:spcBef>
              <a:buFont typeface="Arial" panose="020B0604020202020204" pitchFamily="34" charset="0"/>
              <a:buChar char="•"/>
              <a:defRPr sz="19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00920" indent="-246728" algn="l" defTabSz="986912" rtl="0" eaLnBrk="1" latinLnBrk="0" hangingPunct="1">
              <a:lnSpc>
                <a:spcPct val="90000"/>
              </a:lnSpc>
              <a:spcBef>
                <a:spcPts val="540"/>
              </a:spcBef>
              <a:buFont typeface="Arial" panose="020B0604020202020204" pitchFamily="34" charset="0"/>
              <a:buChar char="•"/>
              <a:defRPr sz="19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94376" indent="-246728" algn="l" defTabSz="986912" rtl="0" eaLnBrk="1" latinLnBrk="0" hangingPunct="1">
              <a:lnSpc>
                <a:spcPct val="90000"/>
              </a:lnSpc>
              <a:spcBef>
                <a:spcPts val="540"/>
              </a:spcBef>
              <a:buFont typeface="Arial" panose="020B0604020202020204" pitchFamily="34" charset="0"/>
              <a:buChar char="•"/>
              <a:defRPr sz="19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8691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4610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100" b="0" i="0" u="none" strike="noStrike" kern="1200" cap="none" spc="0" normalizeH="0" baseline="0" noProof="0" err="1">
                <a:ln>
                  <a:noFill/>
                </a:ln>
                <a:solidFill>
                  <a:srgbClr val="0C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timaler</a:t>
            </a:r>
            <a:r>
              <a:rPr kumimoji="0" lang="en-US" sz="2100" b="0" i="0" u="none" strike="noStrike" kern="1200" cap="none" spc="0" normalizeH="0" baseline="0" noProof="0">
                <a:ln>
                  <a:noFill/>
                </a:ln>
                <a:solidFill>
                  <a:srgbClr val="0C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100" b="0" i="0" u="none" strike="noStrike" kern="1200" cap="none" spc="0" normalizeH="0" baseline="0" noProof="0" err="1">
                <a:ln>
                  <a:noFill/>
                </a:ln>
                <a:solidFill>
                  <a:srgbClr val="0C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ugang</a:t>
            </a:r>
            <a:r>
              <a:rPr kumimoji="0" lang="en-US" sz="2100" b="0" i="0" u="none" strike="noStrike" kern="1200" cap="none" spc="0" normalizeH="0" baseline="0" noProof="0">
                <a:ln>
                  <a:noFill/>
                </a:ln>
                <a:solidFill>
                  <a:srgbClr val="0C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100" b="0" i="0" u="none" strike="noStrike" kern="1200" cap="none" spc="0" normalizeH="0" baseline="0" noProof="0" err="1">
                <a:ln>
                  <a:noFill/>
                </a:ln>
                <a:solidFill>
                  <a:srgbClr val="0C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u</a:t>
            </a:r>
            <a:r>
              <a:rPr kumimoji="0" lang="en-US" sz="2100" b="0" i="0" u="none" strike="noStrike" kern="1200" cap="none" spc="0" normalizeH="0" baseline="0" noProof="0">
                <a:ln>
                  <a:noFill/>
                </a:ln>
                <a:solidFill>
                  <a:srgbClr val="0C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100" b="0" i="0" u="none" strike="noStrike" kern="1200" cap="none" spc="0" normalizeH="0" baseline="0" noProof="0" err="1">
                <a:ln>
                  <a:noFill/>
                </a:ln>
                <a:solidFill>
                  <a:srgbClr val="0C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seren</a:t>
            </a:r>
            <a:r>
              <a:rPr kumimoji="0" lang="en-US" sz="2100" b="0" i="0" u="none" strike="noStrike" kern="1200" cap="none" spc="0" normalizeH="0" baseline="0" noProof="0">
                <a:ln>
                  <a:noFill/>
                </a:ln>
                <a:solidFill>
                  <a:srgbClr val="0C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100" b="0" i="0" u="none" strike="noStrike" kern="1200" cap="none" spc="0" normalizeH="0" baseline="0" noProof="0" err="1">
                <a:ln>
                  <a:noFill/>
                </a:ln>
                <a:solidFill>
                  <a:srgbClr val="0C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ltweiten</a:t>
            </a:r>
            <a:r>
              <a:rPr kumimoji="0" lang="en-US" sz="2100" b="0" i="0" u="none" strike="noStrike" kern="1200" cap="none" spc="0" normalizeH="0" baseline="0" noProof="0">
                <a:ln>
                  <a:noFill/>
                </a:ln>
                <a:solidFill>
                  <a:srgbClr val="0C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Know-how, </a:t>
            </a:r>
            <a:r>
              <a:rPr kumimoji="0" lang="en-US" sz="2100" b="0" i="0" u="none" strike="noStrike" kern="1200" cap="none" spc="0" normalizeH="0" baseline="0" noProof="0" err="1">
                <a:ln>
                  <a:noFill/>
                </a:ln>
                <a:solidFill>
                  <a:srgbClr val="0C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ähigkeiten</a:t>
            </a:r>
            <a:r>
              <a:rPr kumimoji="0" lang="en-US" sz="2100" b="0" i="0" u="none" strike="noStrike" kern="1200" cap="none" spc="0" normalizeH="0" baseline="0" noProof="0">
                <a:ln>
                  <a:noFill/>
                </a:ln>
                <a:solidFill>
                  <a:srgbClr val="0C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und </a:t>
            </a:r>
            <a:r>
              <a:rPr kumimoji="0" lang="en-US" sz="2100" b="0" i="0" u="none" strike="noStrike" kern="1200" cap="none" spc="0" normalizeH="0" baseline="0" noProof="0" err="1">
                <a:ln>
                  <a:noFill/>
                </a:ln>
                <a:solidFill>
                  <a:srgbClr val="0C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rfahrung</a:t>
            </a:r>
            <a:endParaRPr kumimoji="0" lang="en-US" sz="2100" b="0" i="0" u="none" strike="noStrike" kern="1200" cap="none" spc="0" normalizeH="0" baseline="0" noProof="0">
              <a:ln>
                <a:noFill/>
              </a:ln>
              <a:solidFill>
                <a:srgbClr val="0C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27AC71EB-8062-2886-CD96-A0BBFA0B49C3}"/>
              </a:ext>
            </a:extLst>
          </p:cNvPr>
          <p:cNvSpPr txBox="1">
            <a:spLocks/>
          </p:cNvSpPr>
          <p:nvPr/>
        </p:nvSpPr>
        <p:spPr>
          <a:xfrm>
            <a:off x="582724" y="457202"/>
            <a:ext cx="7580200" cy="482456"/>
          </a:xfrm>
          <a:prstGeom prst="rect">
            <a:avLst/>
          </a:prstGeom>
          <a:effectLst/>
        </p:spPr>
        <p:txBody>
          <a:bodyPr vert="horz" lIns="0" tIns="0" rIns="0" bIns="0" rtlCol="0" anchor="t">
            <a:normAutofit/>
          </a:bodyPr>
          <a:lstStyle>
            <a:lvl1pPr algn="l" defTabSz="98691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64" b="1" i="0" kern="1200">
                <a:solidFill>
                  <a:srgbClr val="0B0707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0" marR="0" lvl="0" indent="0" algn="l" defTabSz="986912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4610F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The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C080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Modelling Toolbox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2B0F371E-C332-05D5-8E22-A920A68FA2E0}"/>
              </a:ext>
            </a:extLst>
          </p:cNvPr>
          <p:cNvCxnSpPr/>
          <p:nvPr/>
        </p:nvCxnSpPr>
        <p:spPr>
          <a:xfrm>
            <a:off x="387350" y="437952"/>
            <a:ext cx="0" cy="342898"/>
          </a:xfrm>
          <a:prstGeom prst="line">
            <a:avLst/>
          </a:prstGeom>
          <a:ln w="76200" cmpd="sng">
            <a:solidFill>
              <a:schemeClr val="accent1"/>
            </a:solidFill>
            <a:headEnd type="none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2" descr="University College Cork — Regional Admissions Counselors of California">
            <a:extLst>
              <a:ext uri="{FF2B5EF4-FFF2-40B4-BE49-F238E27FC236}">
                <a16:creationId xmlns:a16="http://schemas.microsoft.com/office/drawing/2014/main" id="{C099773D-F0B0-1339-631D-D1AB9D287E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8619" y="130104"/>
            <a:ext cx="918410" cy="918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40142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049133B-431D-A955-80FE-71BF715F61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large room with many silver tanks&#10;&#10;AI-generated content may be incorrect.">
            <a:extLst>
              <a:ext uri="{FF2B5EF4-FFF2-40B4-BE49-F238E27FC236}">
                <a16:creationId xmlns:a16="http://schemas.microsoft.com/office/drawing/2014/main" id="{45A79B65-B93B-4455-BD71-4AC2B8212F90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2CC3154D-63C7-E809-C830-95B80A0475E8}"/>
              </a:ext>
            </a:extLst>
          </p:cNvPr>
          <p:cNvSpPr/>
          <p:nvPr/>
        </p:nvSpPr>
        <p:spPr>
          <a:xfrm>
            <a:off x="6313714" y="0"/>
            <a:ext cx="58782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483E7DA-5E3A-4413-DAC6-A42A2C6CA486}"/>
              </a:ext>
            </a:extLst>
          </p:cNvPr>
          <p:cNvSpPr/>
          <p:nvPr/>
        </p:nvSpPr>
        <p:spPr>
          <a:xfrm rot="5400000">
            <a:off x="-272143" y="272143"/>
            <a:ext cx="6858000" cy="6313714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20000"/>
                  <a:lumOff val="80000"/>
                </a:schemeClr>
              </a:gs>
              <a:gs pos="100000">
                <a:schemeClr val="bg2">
                  <a:alpha val="0"/>
                  <a:lumMod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H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2ABA411F-F605-499B-3AD9-201D942A0F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20113" y="324903"/>
            <a:ext cx="5313695" cy="685799"/>
          </a:xfrm>
          <a:effectLst/>
        </p:spPr>
        <p:txBody>
          <a:bodyPr vert="horz" lIns="0" tIns="0" rIns="0" bIns="0" rtlCol="0" anchor="t">
            <a:normAutofit fontScale="90000"/>
          </a:bodyPr>
          <a:lstStyle/>
          <a:p>
            <a:pPr defTabSz="986912">
              <a:spcBef>
                <a:spcPts val="600"/>
              </a:spcBef>
            </a:pPr>
            <a:r>
              <a:rPr lang="en-GB" sz="2400" b="1" dirty="0">
                <a:solidFill>
                  <a:srgbClr val="E4610F"/>
                </a:solidFill>
                <a:latin typeface="Arial"/>
                <a:cs typeface="Arial"/>
              </a:rPr>
              <a:t>Design </a:t>
            </a:r>
            <a:r>
              <a:rPr lang="en-GB" sz="2400" b="1" dirty="0">
                <a:solidFill>
                  <a:schemeClr val="tx1"/>
                </a:solidFill>
                <a:latin typeface="Arial"/>
                <a:cs typeface="Arial"/>
              </a:rPr>
              <a:t>&amp; Control Across Bioproces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F40FAC8-2241-084E-BBE4-B6B97B7821C4}"/>
              </a:ext>
            </a:extLst>
          </p:cNvPr>
          <p:cNvSpPr txBox="1"/>
          <p:nvPr/>
        </p:nvSpPr>
        <p:spPr>
          <a:xfrm>
            <a:off x="6471905" y="885663"/>
            <a:ext cx="556190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043D1F3-7FB6-EDC3-444A-49E702CCA6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71905" y="1041479"/>
            <a:ext cx="5561903" cy="52014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kumimoji="0" lang="en-US" altLang="en-US" sz="2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Upstream</a:t>
            </a:r>
            <a:r>
              <a:rPr kumimoji="0" lang="en-US" altLang="en-US" sz="2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 Kinetic, population-balance models; heterogeneity → CQAs.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endParaRPr kumimoji="0" lang="en-US" altLang="en-US" sz="22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kumimoji="0" lang="en-US" altLang="en-US" sz="2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Downstream</a:t>
            </a:r>
            <a:r>
              <a:rPr kumimoji="0" lang="en-US" altLang="en-US" sz="2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 Transport limits, thermodynamic consistency; purity–yield trade-offs set separation guardrails.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endParaRPr kumimoji="0" lang="en-US" altLang="en-US" sz="22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kumimoji="0" lang="en-US" altLang="en-US" sz="2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Model Predictive Control</a:t>
            </a:r>
            <a:r>
              <a:rPr kumimoji="0" lang="en-US" altLang="en-US" sz="2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 Robust/Stochastic MPC, constraint tightening; explicit uncertainty handling → effective control.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endParaRPr kumimoji="0" lang="en-US" altLang="en-US" sz="22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kumimoji="0" lang="en-US" altLang="en-US" sz="2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Estimation</a:t>
            </a:r>
            <a:r>
              <a:rPr kumimoji="0" lang="en-US" altLang="en-US" sz="2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 State estimators (e.g., Kalman filters); noisy/missing data → soft sensing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.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B0DD67C-1504-4A31-B58C-1C10AF1AC429}"/>
              </a:ext>
            </a:extLst>
          </p:cNvPr>
          <p:cNvCxnSpPr/>
          <p:nvPr/>
        </p:nvCxnSpPr>
        <p:spPr>
          <a:xfrm>
            <a:off x="6597152" y="324903"/>
            <a:ext cx="0" cy="342898"/>
          </a:xfrm>
          <a:prstGeom prst="line">
            <a:avLst/>
          </a:prstGeom>
          <a:ln w="76200" cmpd="sng">
            <a:solidFill>
              <a:schemeClr val="accent1"/>
            </a:solidFill>
            <a:headEnd type="none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71574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Arcadis Master w Kicker">
  <a:themeElements>
    <a:clrScheme name="Arcadis">
      <a:dk1>
        <a:srgbClr val="0C0808"/>
      </a:dk1>
      <a:lt1>
        <a:srgbClr val="FFFFFF"/>
      </a:lt1>
      <a:dk2>
        <a:srgbClr val="55575A"/>
      </a:dk2>
      <a:lt2>
        <a:srgbClr val="B3B3B3"/>
      </a:lt2>
      <a:accent1>
        <a:srgbClr val="E4610F"/>
      </a:accent1>
      <a:accent2>
        <a:srgbClr val="F2B087"/>
      </a:accent2>
      <a:accent3>
        <a:srgbClr val="9C266E"/>
      </a:accent3>
      <a:accent4>
        <a:srgbClr val="F1B434"/>
      </a:accent4>
      <a:accent5>
        <a:srgbClr val="007377"/>
      </a:accent5>
      <a:accent6>
        <a:srgbClr val="326295"/>
      </a:accent6>
      <a:hlink>
        <a:srgbClr val="E4610F"/>
      </a:hlink>
      <a:folHlink>
        <a:srgbClr val="F2B087"/>
      </a:folHlink>
    </a:clrScheme>
    <a:fontScheme name="ARCADI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19050" cmpd="sng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2"/>
          </a:solidFill>
          <a:headEnd type="none"/>
          <a:tailEnd type="none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solidFill>
          <a:schemeClr val="bg1"/>
        </a:solidFill>
      </a:spPr>
      <a:bodyPr wrap="square" rtlCol="0">
        <a:spAutoFit/>
      </a:bodyPr>
      <a:lstStyle>
        <a:defPPr>
          <a:lnSpc>
            <a:spcPct val="90000"/>
          </a:lnSpc>
          <a:spcBef>
            <a:spcPts val="200"/>
          </a:spcBef>
          <a:spcAft>
            <a:spcPts val="400"/>
          </a:spcAft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D91FC128-3164-4454-B83E-3D7812B86F38}" vid="{BDAFC58B-348F-4B40-B7FB-D44AFB234A6D}"/>
    </a:ext>
  </a:extLst>
</a:theme>
</file>

<file path=ppt/theme/theme2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7_Arcadis Master w Kicker">
  <a:themeElements>
    <a:clrScheme name="Arcadis">
      <a:dk1>
        <a:srgbClr val="0C0808"/>
      </a:dk1>
      <a:lt1>
        <a:srgbClr val="FFFFFF"/>
      </a:lt1>
      <a:dk2>
        <a:srgbClr val="55575A"/>
      </a:dk2>
      <a:lt2>
        <a:srgbClr val="B3B3B3"/>
      </a:lt2>
      <a:accent1>
        <a:srgbClr val="E4610F"/>
      </a:accent1>
      <a:accent2>
        <a:srgbClr val="F2B087"/>
      </a:accent2>
      <a:accent3>
        <a:srgbClr val="9C266E"/>
      </a:accent3>
      <a:accent4>
        <a:srgbClr val="F1B434"/>
      </a:accent4>
      <a:accent5>
        <a:srgbClr val="007377"/>
      </a:accent5>
      <a:accent6>
        <a:srgbClr val="326295"/>
      </a:accent6>
      <a:hlink>
        <a:srgbClr val="E4610F"/>
      </a:hlink>
      <a:folHlink>
        <a:srgbClr val="F2B087"/>
      </a:folHlink>
    </a:clrScheme>
    <a:fontScheme name="ARCADI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19050" cmpd="sng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2"/>
          </a:solidFill>
          <a:headEnd type="none"/>
          <a:tailEnd type="none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solidFill>
          <a:schemeClr val="bg1"/>
        </a:solidFill>
      </a:spPr>
      <a:bodyPr wrap="square" rtlCol="0">
        <a:spAutoFit/>
      </a:bodyPr>
      <a:lstStyle>
        <a:defPPr>
          <a:lnSpc>
            <a:spcPct val="90000"/>
          </a:lnSpc>
          <a:spcBef>
            <a:spcPts val="200"/>
          </a:spcBef>
          <a:spcAft>
            <a:spcPts val="400"/>
          </a:spcAft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D91FC128-3164-4454-B83E-3D7812B86F38}" vid="{BDAFC58B-348F-4B40-B7FB-D44AFB234A6D}"/>
    </a:ext>
  </a:extLst>
</a:theme>
</file>

<file path=ppt/theme/theme4.xml><?xml version="1.0" encoding="utf-8"?>
<a:theme xmlns:a="http://schemas.openxmlformats.org/drawingml/2006/main" name="1_Office Theme">
  <a:themeElements>
    <a:clrScheme name="Arcadis">
      <a:dk1>
        <a:srgbClr val="0C0808"/>
      </a:dk1>
      <a:lt1>
        <a:srgbClr val="FFFFFF"/>
      </a:lt1>
      <a:dk2>
        <a:srgbClr val="494646"/>
      </a:dk2>
      <a:lt2>
        <a:srgbClr val="C2C1C1"/>
      </a:lt2>
      <a:accent1>
        <a:srgbClr val="E4610F"/>
      </a:accent1>
      <a:accent2>
        <a:srgbClr val="F2B087"/>
      </a:accent2>
      <a:accent3>
        <a:srgbClr val="9C266E"/>
      </a:accent3>
      <a:accent4>
        <a:srgbClr val="F1B434"/>
      </a:accent4>
      <a:accent5>
        <a:srgbClr val="007377"/>
      </a:accent5>
      <a:accent6>
        <a:srgbClr val="326295"/>
      </a:accent6>
      <a:hlink>
        <a:srgbClr val="E4610F"/>
      </a:hlink>
      <a:folHlink>
        <a:srgbClr val="F2B0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Custom 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E4610F"/>
      </a:accent1>
      <a:accent2>
        <a:srgbClr val="F1B087"/>
      </a:accent2>
      <a:accent3>
        <a:srgbClr val="000000"/>
      </a:accent3>
      <a:accent4>
        <a:srgbClr val="80808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4b40482-04a4-480f-b826-6548c4a2bcf1" xsi:nil="true"/>
    <lcf76f155ced4ddcb4097134ff3c332f xmlns="7604e031-f840-4ad5-97d2-0b99280ee730">
      <Terms xmlns="http://schemas.microsoft.com/office/infopath/2007/PartnerControls"/>
    </lcf76f155ced4ddcb4097134ff3c332f>
    <_Flow_SignoffStatus xmlns="7604e031-f840-4ad5-97d2-0b99280ee730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46A3490C442E41AC9620621F1F21BE" ma:contentTypeVersion="20" ma:contentTypeDescription="Create a new document." ma:contentTypeScope="" ma:versionID="bf88ce8fc137e1f93502ef6b580f970c">
  <xsd:schema xmlns:xsd="http://www.w3.org/2001/XMLSchema" xmlns:xs="http://www.w3.org/2001/XMLSchema" xmlns:p="http://schemas.microsoft.com/office/2006/metadata/properties" xmlns:ns2="7604e031-f840-4ad5-97d2-0b99280ee730" xmlns:ns3="c4b40482-04a4-480f-b826-6548c4a2bcf1" targetNamespace="http://schemas.microsoft.com/office/2006/metadata/properties" ma:root="true" ma:fieldsID="b8da741f6d2119f494e0efa0ce6f6b53" ns2:_="" ns3:_="">
    <xsd:import namespace="7604e031-f840-4ad5-97d2-0b99280ee730"/>
    <xsd:import namespace="c4b40482-04a4-480f-b826-6548c4a2bcf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_Flow_SignoffStatu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04e031-f840-4ad5-97d2-0b99280ee73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_Flow_SignoffStatus" ma:index="18" nillable="true" ma:displayName="Sign-off status" ma:internalName="Sign_x002d_off_x0020_status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456237a7-7071-4e19-8c1f-699d1949a4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7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4b40482-04a4-480f-b826-6548c4a2bcf1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956402f1-dbcc-4c60-a824-dfd545cfc5e6}" ma:internalName="TaxCatchAll" ma:showField="CatchAllData" ma:web="c4b40482-04a4-480f-b826-6548c4a2bc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8D0468E-87E1-4367-A0A6-2F8F36F4C483}">
  <ds:schemaRefs>
    <ds:schemaRef ds:uri="http://schemas.microsoft.com/office/2006/metadata/properties"/>
    <ds:schemaRef ds:uri="http://purl.org/dc/dcmitype/"/>
    <ds:schemaRef ds:uri="c5cb4deb-ae90-4ace-9265-cd80dde438d8"/>
    <ds:schemaRef ds:uri="http://schemas.microsoft.com/office/infopath/2007/PartnerControls"/>
    <ds:schemaRef ds:uri="http://purl.org/dc/elements/1.1/"/>
    <ds:schemaRef ds:uri="http://www.w3.org/XML/1998/namespace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af4ee6bd-729d-48ba-baa9-8fe5f64d14db"/>
  </ds:schemaRefs>
</ds:datastoreItem>
</file>

<file path=customXml/itemProps2.xml><?xml version="1.0" encoding="utf-8"?>
<ds:datastoreItem xmlns:ds="http://schemas.openxmlformats.org/officeDocument/2006/customXml" ds:itemID="{6A9C7425-A44E-4AC0-B003-B8B86A7269F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DE7659E-EB39-4923-9153-A0DEE71B5A6C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316</TotalTime>
  <Words>1346</Words>
  <Application>Microsoft Office PowerPoint</Application>
  <PresentationFormat>Widescreen</PresentationFormat>
  <Paragraphs>220</Paragraphs>
  <Slides>22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7" baseType="lpstr">
      <vt:lpstr>Arial</vt:lpstr>
      <vt:lpstr>Arial Black</vt:lpstr>
      <vt:lpstr>Arial Nova Light</vt:lpstr>
      <vt:lpstr>Calibri</vt:lpstr>
      <vt:lpstr>Calibri Light</vt:lpstr>
      <vt:lpstr>FS Elliot Pro</vt:lpstr>
      <vt:lpstr>FS Elliot Pro Thin</vt:lpstr>
      <vt:lpstr>Helvetica Neue</vt:lpstr>
      <vt:lpstr>Wingdings</vt:lpstr>
      <vt:lpstr>5_Arcadis Master w Kicker</vt:lpstr>
      <vt:lpstr>2_Custom Design</vt:lpstr>
      <vt:lpstr>7_Arcadis Master w Kicker</vt:lpstr>
      <vt:lpstr>1_Office Theme</vt:lpstr>
      <vt:lpstr>Office Theme</vt:lpstr>
      <vt:lpstr>think-cell Slide</vt:lpstr>
      <vt:lpstr>PowerPoint Presentation</vt:lpstr>
      <vt:lpstr>Agenda </vt:lpstr>
      <vt:lpstr>Safety Moment Keeping a Safe Distance</vt:lpstr>
      <vt:lpstr>Agenda </vt:lpstr>
      <vt:lpstr>PowerPoint Presentation</vt:lpstr>
      <vt:lpstr>PowerPoint Presentation</vt:lpstr>
      <vt:lpstr>Agenda </vt:lpstr>
      <vt:lpstr>PowerPoint Presentation</vt:lpstr>
      <vt:lpstr>Design &amp; Control Across Bioprocess</vt:lpstr>
      <vt:lpstr>Agenda </vt:lpstr>
      <vt:lpstr>PowerPoint Presentation</vt:lpstr>
      <vt:lpstr>Agenda </vt:lpstr>
      <vt:lpstr>PowerPoint Presentation</vt:lpstr>
      <vt:lpstr>PowerPoint Presentation</vt:lpstr>
      <vt:lpstr>Agenda </vt:lpstr>
      <vt:lpstr>PowerPoint Presentation</vt:lpstr>
      <vt:lpstr>Spotlight: Cell Therapy</vt:lpstr>
      <vt:lpstr>What “Good” Looks Like</vt:lpstr>
      <vt:lpstr>Risks &amp; Mitigations </vt:lpstr>
      <vt:lpstr>PowerPoint Presentation</vt:lpstr>
      <vt:lpstr>Key Takeaways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landino, Alberto</dc:creator>
  <cp:lastModifiedBy>Mu'Azzam, Khadija</cp:lastModifiedBy>
  <cp:revision>57</cp:revision>
  <dcterms:created xsi:type="dcterms:W3CDTF">2022-09-01T10:15:48Z</dcterms:created>
  <dcterms:modified xsi:type="dcterms:W3CDTF">2025-10-05T15:52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646A3490C442E41AC9620621F1F21BE</vt:lpwstr>
  </property>
  <property fmtid="{D5CDD505-2E9C-101B-9397-08002B2CF9AE}" pid="3" name="MediaServiceImageTags">
    <vt:lpwstr/>
  </property>
  <property fmtid="{D5CDD505-2E9C-101B-9397-08002B2CF9AE}" pid="4" name="_dlc_DocIdItemGuid">
    <vt:lpwstr>b076f89d-fe58-4d07-81c8-fb16a8e58ab1</vt:lpwstr>
  </property>
  <property fmtid="{D5CDD505-2E9C-101B-9397-08002B2CF9AE}" pid="5" name="PH_DocumentType">
    <vt:lpwstr/>
  </property>
</Properties>
</file>